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19.xml" ContentType="application/vnd.openxmlformats-officedocument.presentationml.tags+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88" r:id="rId6"/>
  </p:sldMasterIdLst>
  <p:notesMasterIdLst>
    <p:notesMasterId r:id="rId49"/>
  </p:notesMasterIdLst>
  <p:handoutMasterIdLst>
    <p:handoutMasterId r:id="rId50"/>
  </p:handoutMasterIdLst>
  <p:sldIdLst>
    <p:sldId id="4933" r:id="rId7"/>
    <p:sldId id="4900" r:id="rId8"/>
    <p:sldId id="4927" r:id="rId9"/>
    <p:sldId id="4934" r:id="rId10"/>
    <p:sldId id="4935" r:id="rId11"/>
    <p:sldId id="2038" r:id="rId12"/>
    <p:sldId id="2046" r:id="rId13"/>
    <p:sldId id="4928" r:id="rId14"/>
    <p:sldId id="2030" r:id="rId15"/>
    <p:sldId id="2077" r:id="rId16"/>
    <p:sldId id="4929" r:id="rId17"/>
    <p:sldId id="4908" r:id="rId18"/>
    <p:sldId id="4909" r:id="rId19"/>
    <p:sldId id="4910" r:id="rId20"/>
    <p:sldId id="4911" r:id="rId21"/>
    <p:sldId id="4931" r:id="rId22"/>
    <p:sldId id="4913" r:id="rId23"/>
    <p:sldId id="4906" r:id="rId24"/>
    <p:sldId id="4922" r:id="rId25"/>
    <p:sldId id="4932" r:id="rId26"/>
    <p:sldId id="4899" r:id="rId27"/>
    <p:sldId id="2031" r:id="rId28"/>
    <p:sldId id="2067" r:id="rId29"/>
    <p:sldId id="283" r:id="rId30"/>
    <p:sldId id="2068" r:id="rId31"/>
    <p:sldId id="2051" r:id="rId32"/>
    <p:sldId id="2052" r:id="rId33"/>
    <p:sldId id="2069" r:id="rId34"/>
    <p:sldId id="2053" r:id="rId35"/>
    <p:sldId id="2070" r:id="rId36"/>
    <p:sldId id="2055" r:id="rId37"/>
    <p:sldId id="2071" r:id="rId38"/>
    <p:sldId id="277" r:id="rId39"/>
    <p:sldId id="2057" r:id="rId40"/>
    <p:sldId id="4936" r:id="rId41"/>
    <p:sldId id="4937" r:id="rId42"/>
    <p:sldId id="4912" r:id="rId43"/>
    <p:sldId id="4941" r:id="rId44"/>
    <p:sldId id="4938" r:id="rId45"/>
    <p:sldId id="4939" r:id="rId46"/>
    <p:sldId id="4940" r:id="rId47"/>
    <p:sldId id="4896" r:id="rId48"/>
  </p:sldIdLst>
  <p:sldSz cx="12192000" cy="6858000"/>
  <p:notesSz cx="6858000" cy="9144000"/>
  <p:custDataLst>
    <p:tags r:id="rId5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1EACDD"/>
    <a:srgbClr val="FF304C"/>
    <a:srgbClr val="431060"/>
    <a:srgbClr val="42155F"/>
    <a:srgbClr val="1CA0A2"/>
    <a:srgbClr val="89BDD9"/>
    <a:srgbClr val="01D1D0"/>
    <a:srgbClr val="00C37B"/>
    <a:srgbClr val="15636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842" autoAdjust="0"/>
  </p:normalViewPr>
  <p:slideViewPr>
    <p:cSldViewPr snapToGrid="0">
      <p:cViewPr varScale="1">
        <p:scale>
          <a:sx n="59" d="100"/>
          <a:sy n="59" d="100"/>
        </p:scale>
        <p:origin x="72" y="224"/>
      </p:cViewPr>
      <p:guideLst>
        <p:guide orient="horz" pos="2341"/>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9987"/>
    </p:cViewPr>
  </p:sorterViewPr>
  <p:notesViewPr>
    <p:cSldViewPr snapToGrid="0">
      <p:cViewPr varScale="1">
        <p:scale>
          <a:sx n="63" d="100"/>
          <a:sy n="63" d="100"/>
        </p:scale>
        <p:origin x="3134" y="77"/>
      </p:cViewPr>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8" Type="http://schemas.openxmlformats.org/officeDocument/2006/relationships/slide" Target="slides/slide2.xml"/><Relationship Id="rId51" Type="http://schemas.openxmlformats.org/officeDocument/2006/relationships/tags" Target="tags/tag1.xml"/><Relationship Id="rId3" Type="http://schemas.openxmlformats.org/officeDocument/2006/relationships/customXml" Target="../customXml/item3.xml"/></Relationships>
</file>

<file path=ppt/diagrams/_rels/data11.xml.rels><?xml version="1.0" encoding="UTF-8" standalone="yes"?>
<Relationships xmlns="http://schemas.openxmlformats.org/package/2006/relationships"><Relationship Id="rId8" Type="http://schemas.openxmlformats.org/officeDocument/2006/relationships/hyperlink" Target="https://geobrava.wordpress.com/2018/03/22/it-integrated-systems-revenue-will-reach-12-3-billion/" TargetMode="External"/><Relationship Id="rId3" Type="http://schemas.openxmlformats.org/officeDocument/2006/relationships/image" Target="../media/image34.jpg"/><Relationship Id="rId7" Type="http://schemas.openxmlformats.org/officeDocument/2006/relationships/image" Target="../media/image36.jpg"/><Relationship Id="rId2" Type="http://schemas.openxmlformats.org/officeDocument/2006/relationships/hyperlink" Target="https://en.wikipedia.org/wiki/Ad_revenue" TargetMode="External"/><Relationship Id="rId1" Type="http://schemas.openxmlformats.org/officeDocument/2006/relationships/image" Target="../media/image33.png"/><Relationship Id="rId6" Type="http://schemas.openxmlformats.org/officeDocument/2006/relationships/hyperlink" Target="https://bloom-at.blogspot.com/2017/12/a-report-on-reports.html" TargetMode="External"/><Relationship Id="rId5" Type="http://schemas.openxmlformats.org/officeDocument/2006/relationships/image" Target="../media/image35.png"/><Relationship Id="rId4" Type="http://schemas.openxmlformats.org/officeDocument/2006/relationships/hyperlink" Target="http://infotradekenya.go.ke/procedure/285/" TargetMode="External"/></Relationships>
</file>

<file path=ppt/diagrams/_rels/drawing11.xml.rels><?xml version="1.0" encoding="UTF-8" standalone="yes"?>
<Relationships xmlns="http://schemas.openxmlformats.org/package/2006/relationships"><Relationship Id="rId8" Type="http://schemas.openxmlformats.org/officeDocument/2006/relationships/hyperlink" Target="https://geobrava.wordpress.com/2018/03/22/it-integrated-systems-revenue-will-reach-12-3-billion/" TargetMode="External"/><Relationship Id="rId3" Type="http://schemas.openxmlformats.org/officeDocument/2006/relationships/image" Target="../media/image34.jpg"/><Relationship Id="rId7" Type="http://schemas.openxmlformats.org/officeDocument/2006/relationships/image" Target="../media/image36.jpg"/><Relationship Id="rId2" Type="http://schemas.openxmlformats.org/officeDocument/2006/relationships/hyperlink" Target="https://en.wikipedia.org/wiki/Ad_revenue" TargetMode="External"/><Relationship Id="rId1" Type="http://schemas.openxmlformats.org/officeDocument/2006/relationships/image" Target="../media/image33.png"/><Relationship Id="rId6" Type="http://schemas.openxmlformats.org/officeDocument/2006/relationships/hyperlink" Target="https://bloom-at.blogspot.com/2017/12/a-report-on-reports.html" TargetMode="External"/><Relationship Id="rId5" Type="http://schemas.openxmlformats.org/officeDocument/2006/relationships/image" Target="../media/image35.png"/><Relationship Id="rId4" Type="http://schemas.openxmlformats.org/officeDocument/2006/relationships/hyperlink" Target="http://infotradekenya.go.ke/procedure/285/"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9DF67F0-A526-43B1-97B6-407776D45B13}" type="doc">
      <dgm:prSet loTypeId="urn:microsoft.com/office/officeart/2005/8/layout/chevron1" loCatId="process" qsTypeId="urn:microsoft.com/office/officeart/2005/8/quickstyle/simple1" qsCatId="simple" csTypeId="urn:microsoft.com/office/officeart/2005/8/colors/accent1_2" csCatId="accent1" phldr="1"/>
      <dgm:spPr/>
    </dgm:pt>
    <dgm:pt modelId="{85CAE54F-C913-4571-9706-C9930335C32E}">
      <dgm:prSet phldrT="[Text]" custT="1"/>
      <dgm:spPr>
        <a:solidFill>
          <a:srgbClr val="12ABDB"/>
        </a:solidFill>
        <a:ln w="57150">
          <a:solidFill>
            <a:srgbClr val="E6E7E7"/>
          </a:solidFill>
        </a:ln>
      </dgm:spPr>
      <dgm:t>
        <a:bodyPr/>
        <a:lstStyle/>
        <a:p>
          <a:r>
            <a:rPr lang="en-US" sz="1600" b="1" dirty="0">
              <a:solidFill>
                <a:schemeClr val="bg2"/>
              </a:solidFill>
              <a:latin typeface="+mj-lt"/>
              <a:ea typeface="+mj-ea"/>
              <a:cs typeface="+mj-cs"/>
            </a:rPr>
            <a:t>Strategy</a:t>
          </a:r>
          <a:endParaRPr lang="en-US" sz="1600" b="1" dirty="0"/>
        </a:p>
      </dgm:t>
    </dgm:pt>
    <dgm:pt modelId="{EB516B1B-6121-4389-A83D-F7F6092084D3}" type="parTrans" cxnId="{BBAE118B-82A5-499F-B362-74876FA9C7CE}">
      <dgm:prSet/>
      <dgm:spPr/>
      <dgm:t>
        <a:bodyPr/>
        <a:lstStyle/>
        <a:p>
          <a:endParaRPr lang="en-US"/>
        </a:p>
      </dgm:t>
    </dgm:pt>
    <dgm:pt modelId="{D0C867EB-F811-4643-B41F-B745ECC80B6C}" type="sibTrans" cxnId="{BBAE118B-82A5-499F-B362-74876FA9C7CE}">
      <dgm:prSet/>
      <dgm:spPr/>
      <dgm:t>
        <a:bodyPr/>
        <a:lstStyle/>
        <a:p>
          <a:endParaRPr lang="en-US"/>
        </a:p>
      </dgm:t>
    </dgm:pt>
    <dgm:pt modelId="{810FCF35-59A0-4E81-8C7A-A4B23D45DF0D}">
      <dgm:prSet phldrT="[Text]" custT="1"/>
      <dgm:spPr>
        <a:ln w="57150">
          <a:solidFill>
            <a:srgbClr val="E6E7E7"/>
          </a:solidFill>
        </a:ln>
      </dgm:spPr>
      <dgm:t>
        <a:bodyPr/>
        <a:lstStyle/>
        <a:p>
          <a:r>
            <a:rPr lang="en-US" sz="1600" b="1" dirty="0">
              <a:solidFill>
                <a:srgbClr val="EDEDED"/>
              </a:solidFill>
              <a:latin typeface="Verdana"/>
              <a:ea typeface="+mn-ea"/>
              <a:cs typeface="+mn-cs"/>
            </a:rPr>
            <a:t>Execution</a:t>
          </a:r>
          <a:endParaRPr lang="en-US" sz="1600" b="1" dirty="0"/>
        </a:p>
      </dgm:t>
    </dgm:pt>
    <dgm:pt modelId="{6BECCEC2-80F7-48CE-B6EF-F7DB702304A5}" type="parTrans" cxnId="{9E696252-CC77-4C6F-B289-E06A7FA47036}">
      <dgm:prSet/>
      <dgm:spPr/>
      <dgm:t>
        <a:bodyPr/>
        <a:lstStyle/>
        <a:p>
          <a:endParaRPr lang="en-US"/>
        </a:p>
      </dgm:t>
    </dgm:pt>
    <dgm:pt modelId="{3DC54720-E3D9-4A8D-A0C6-803A212DC7E8}" type="sibTrans" cxnId="{9E696252-CC77-4C6F-B289-E06A7FA47036}">
      <dgm:prSet/>
      <dgm:spPr/>
      <dgm:t>
        <a:bodyPr/>
        <a:lstStyle/>
        <a:p>
          <a:endParaRPr lang="en-US"/>
        </a:p>
      </dgm:t>
    </dgm:pt>
    <dgm:pt modelId="{DC952EC8-E573-44C8-9CD8-D1233DEF8802}">
      <dgm:prSet phldrT="[Text]" custT="1"/>
      <dgm:spPr>
        <a:solidFill>
          <a:srgbClr val="2C004B"/>
        </a:solidFill>
        <a:ln w="57150">
          <a:solidFill>
            <a:srgbClr val="E6E7E7"/>
          </a:solidFill>
        </a:ln>
      </dgm:spPr>
      <dgm:t>
        <a:bodyPr/>
        <a:lstStyle/>
        <a:p>
          <a:r>
            <a:rPr lang="en-US" sz="1600" b="1" dirty="0"/>
            <a:t>Result</a:t>
          </a:r>
        </a:p>
      </dgm:t>
    </dgm:pt>
    <dgm:pt modelId="{666EDF3B-5DC9-4995-8BFF-491F3D5BD6B8}" type="parTrans" cxnId="{B9A430BE-8DF0-48AF-901C-42916C945F15}">
      <dgm:prSet/>
      <dgm:spPr/>
      <dgm:t>
        <a:bodyPr/>
        <a:lstStyle/>
        <a:p>
          <a:endParaRPr lang="en-US"/>
        </a:p>
      </dgm:t>
    </dgm:pt>
    <dgm:pt modelId="{DC6D4C1D-DD93-4C55-8FE4-6489B3423EBA}" type="sibTrans" cxnId="{B9A430BE-8DF0-48AF-901C-42916C945F15}">
      <dgm:prSet/>
      <dgm:spPr/>
      <dgm:t>
        <a:bodyPr/>
        <a:lstStyle/>
        <a:p>
          <a:endParaRPr lang="en-US"/>
        </a:p>
      </dgm:t>
    </dgm:pt>
    <dgm:pt modelId="{B30FCBA3-0541-455F-84E1-1E2D01C9BDAB}" type="pres">
      <dgm:prSet presAssocID="{69DF67F0-A526-43B1-97B6-407776D45B13}" presName="Name0" presStyleCnt="0">
        <dgm:presLayoutVars>
          <dgm:dir/>
          <dgm:animLvl val="lvl"/>
          <dgm:resizeHandles val="exact"/>
        </dgm:presLayoutVars>
      </dgm:prSet>
      <dgm:spPr/>
    </dgm:pt>
    <dgm:pt modelId="{F42D2B1D-6782-4926-8B4D-91715D6319D8}" type="pres">
      <dgm:prSet presAssocID="{85CAE54F-C913-4571-9706-C9930335C32E}" presName="parTxOnly" presStyleLbl="node1" presStyleIdx="0" presStyleCnt="3">
        <dgm:presLayoutVars>
          <dgm:chMax val="0"/>
          <dgm:chPref val="0"/>
          <dgm:bulletEnabled val="1"/>
        </dgm:presLayoutVars>
      </dgm:prSet>
      <dgm:spPr/>
    </dgm:pt>
    <dgm:pt modelId="{11975B8E-6271-437F-B560-2A953DA196BC}" type="pres">
      <dgm:prSet presAssocID="{D0C867EB-F811-4643-B41F-B745ECC80B6C}" presName="parTxOnlySpace" presStyleCnt="0"/>
      <dgm:spPr/>
    </dgm:pt>
    <dgm:pt modelId="{88AEDFAE-AC01-4D9E-99B6-37B49A0545A2}" type="pres">
      <dgm:prSet presAssocID="{810FCF35-59A0-4E81-8C7A-A4B23D45DF0D}" presName="parTxOnly" presStyleLbl="node1" presStyleIdx="1" presStyleCnt="3">
        <dgm:presLayoutVars>
          <dgm:chMax val="0"/>
          <dgm:chPref val="0"/>
          <dgm:bulletEnabled val="1"/>
        </dgm:presLayoutVars>
      </dgm:prSet>
      <dgm:spPr/>
    </dgm:pt>
    <dgm:pt modelId="{C804B756-E047-4785-B8DA-DAE96F276AFA}" type="pres">
      <dgm:prSet presAssocID="{3DC54720-E3D9-4A8D-A0C6-803A212DC7E8}" presName="parTxOnlySpace" presStyleCnt="0"/>
      <dgm:spPr/>
    </dgm:pt>
    <dgm:pt modelId="{8E7ECE7A-1B71-49BA-A774-E8E037F3F7EC}" type="pres">
      <dgm:prSet presAssocID="{DC952EC8-E573-44C8-9CD8-D1233DEF8802}" presName="parTxOnly" presStyleLbl="node1" presStyleIdx="2" presStyleCnt="3">
        <dgm:presLayoutVars>
          <dgm:chMax val="0"/>
          <dgm:chPref val="0"/>
          <dgm:bulletEnabled val="1"/>
        </dgm:presLayoutVars>
      </dgm:prSet>
      <dgm:spPr/>
    </dgm:pt>
  </dgm:ptLst>
  <dgm:cxnLst>
    <dgm:cxn modelId="{9E696252-CC77-4C6F-B289-E06A7FA47036}" srcId="{69DF67F0-A526-43B1-97B6-407776D45B13}" destId="{810FCF35-59A0-4E81-8C7A-A4B23D45DF0D}" srcOrd="1" destOrd="0" parTransId="{6BECCEC2-80F7-48CE-B6EF-F7DB702304A5}" sibTransId="{3DC54720-E3D9-4A8D-A0C6-803A212DC7E8}"/>
    <dgm:cxn modelId="{662B0A53-DA22-4ECB-AA63-D094E84F1CF7}" type="presOf" srcId="{DC952EC8-E573-44C8-9CD8-D1233DEF8802}" destId="{8E7ECE7A-1B71-49BA-A774-E8E037F3F7EC}" srcOrd="0" destOrd="0" presId="urn:microsoft.com/office/officeart/2005/8/layout/chevron1"/>
    <dgm:cxn modelId="{BBAE118B-82A5-499F-B362-74876FA9C7CE}" srcId="{69DF67F0-A526-43B1-97B6-407776D45B13}" destId="{85CAE54F-C913-4571-9706-C9930335C32E}" srcOrd="0" destOrd="0" parTransId="{EB516B1B-6121-4389-A83D-F7F6092084D3}" sibTransId="{D0C867EB-F811-4643-B41F-B745ECC80B6C}"/>
    <dgm:cxn modelId="{B9A430BE-8DF0-48AF-901C-42916C945F15}" srcId="{69DF67F0-A526-43B1-97B6-407776D45B13}" destId="{DC952EC8-E573-44C8-9CD8-D1233DEF8802}" srcOrd="2" destOrd="0" parTransId="{666EDF3B-5DC9-4995-8BFF-491F3D5BD6B8}" sibTransId="{DC6D4C1D-DD93-4C55-8FE4-6489B3423EBA}"/>
    <dgm:cxn modelId="{42E116E8-96FB-4839-BC70-600DDCA8DE5D}" type="presOf" srcId="{85CAE54F-C913-4571-9706-C9930335C32E}" destId="{F42D2B1D-6782-4926-8B4D-91715D6319D8}" srcOrd="0" destOrd="0" presId="urn:microsoft.com/office/officeart/2005/8/layout/chevron1"/>
    <dgm:cxn modelId="{6D3C8DEF-8A3D-4361-88C7-6D81A5CD9816}" type="presOf" srcId="{810FCF35-59A0-4E81-8C7A-A4B23D45DF0D}" destId="{88AEDFAE-AC01-4D9E-99B6-37B49A0545A2}" srcOrd="0" destOrd="0" presId="urn:microsoft.com/office/officeart/2005/8/layout/chevron1"/>
    <dgm:cxn modelId="{2F3ABBFC-650A-47FA-9888-8CC59BF6111D}" type="presOf" srcId="{69DF67F0-A526-43B1-97B6-407776D45B13}" destId="{B30FCBA3-0541-455F-84E1-1E2D01C9BDAB}" srcOrd="0" destOrd="0" presId="urn:microsoft.com/office/officeart/2005/8/layout/chevron1"/>
    <dgm:cxn modelId="{43B13496-099B-44E4-A8EF-1C1B59330BEB}" type="presParOf" srcId="{B30FCBA3-0541-455F-84E1-1E2D01C9BDAB}" destId="{F42D2B1D-6782-4926-8B4D-91715D6319D8}" srcOrd="0" destOrd="0" presId="urn:microsoft.com/office/officeart/2005/8/layout/chevron1"/>
    <dgm:cxn modelId="{A604DAA0-81BF-47A0-A8F4-3A577A0A734F}" type="presParOf" srcId="{B30FCBA3-0541-455F-84E1-1E2D01C9BDAB}" destId="{11975B8E-6271-437F-B560-2A953DA196BC}" srcOrd="1" destOrd="0" presId="urn:microsoft.com/office/officeart/2005/8/layout/chevron1"/>
    <dgm:cxn modelId="{7A20C53E-6D05-43C0-AA42-E52F54D1026B}" type="presParOf" srcId="{B30FCBA3-0541-455F-84E1-1E2D01C9BDAB}" destId="{88AEDFAE-AC01-4D9E-99B6-37B49A0545A2}" srcOrd="2" destOrd="0" presId="urn:microsoft.com/office/officeart/2005/8/layout/chevron1"/>
    <dgm:cxn modelId="{AA12F7E3-5CA6-477C-A84A-481C0CF332D8}" type="presParOf" srcId="{B30FCBA3-0541-455F-84E1-1E2D01C9BDAB}" destId="{C804B756-E047-4785-B8DA-DAE96F276AFA}" srcOrd="3" destOrd="0" presId="urn:microsoft.com/office/officeart/2005/8/layout/chevron1"/>
    <dgm:cxn modelId="{3741BA44-AF64-4F5E-A9F9-7F106D0D2B35}" type="presParOf" srcId="{B30FCBA3-0541-455F-84E1-1E2D01C9BDAB}" destId="{8E7ECE7A-1B71-49BA-A774-E8E037F3F7EC}"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29BBC754-5A30-422D-B04F-B3DD1263FBF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nl-NL"/>
        </a:p>
      </dgm:t>
    </dgm:pt>
    <dgm:pt modelId="{0E25E048-1F98-47F2-A089-3F4475B00A68}">
      <dgm:prSet/>
      <dgm:spPr>
        <a:gradFill rotWithShape="0">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gradFill>
        <a:effectLst/>
      </dgm:spPr>
      <dgm:t>
        <a:bodyPr/>
        <a:lstStyle/>
        <a:p>
          <a:r>
            <a:rPr lang="en-US" dirty="0"/>
            <a:t>• Registration and key credentialing</a:t>
          </a:r>
          <a:endParaRPr lang="nl-NL" dirty="0"/>
        </a:p>
      </dgm:t>
    </dgm:pt>
    <dgm:pt modelId="{19F5C2AD-867D-414B-9C0A-209E577A1D9B}" type="parTrans" cxnId="{C6FFA4C1-ADA5-48D8-A8A9-75051908C3E1}">
      <dgm:prSet/>
      <dgm:spPr/>
      <dgm:t>
        <a:bodyPr/>
        <a:lstStyle/>
        <a:p>
          <a:endParaRPr lang="nl-NL"/>
        </a:p>
      </dgm:t>
    </dgm:pt>
    <dgm:pt modelId="{B7A7167C-E1A6-472F-B5D8-5649D4D3E179}" type="sibTrans" cxnId="{C6FFA4C1-ADA5-48D8-A8A9-75051908C3E1}">
      <dgm:prSet/>
      <dgm:spPr/>
      <dgm:t>
        <a:bodyPr/>
        <a:lstStyle/>
        <a:p>
          <a:endParaRPr lang="nl-NL"/>
        </a:p>
      </dgm:t>
    </dgm:pt>
    <dgm:pt modelId="{3C80B8B1-0F7C-4595-82E8-4A7C685F0F35}">
      <dgm:prSet/>
      <dgm:spPr>
        <a:gradFill rotWithShape="0">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gradFill>
      </dgm:spPr>
      <dgm:t>
        <a:bodyPr/>
        <a:lstStyle/>
        <a:p>
          <a:r>
            <a:rPr lang="en-US"/>
            <a:t>• Documentation</a:t>
          </a:r>
          <a:endParaRPr lang="nl-NL"/>
        </a:p>
      </dgm:t>
    </dgm:pt>
    <dgm:pt modelId="{7EDEA4E7-32BD-496E-ACE4-F68C297B084B}" type="parTrans" cxnId="{DACB44F8-0821-47DE-9E83-AD71323FCF16}">
      <dgm:prSet/>
      <dgm:spPr/>
      <dgm:t>
        <a:bodyPr/>
        <a:lstStyle/>
        <a:p>
          <a:endParaRPr lang="nl-NL"/>
        </a:p>
      </dgm:t>
    </dgm:pt>
    <dgm:pt modelId="{E765BF10-26CB-4057-B9DB-1C1D5235E42B}" type="sibTrans" cxnId="{DACB44F8-0821-47DE-9E83-AD71323FCF16}">
      <dgm:prSet/>
      <dgm:spPr/>
      <dgm:t>
        <a:bodyPr/>
        <a:lstStyle/>
        <a:p>
          <a:endParaRPr lang="nl-NL"/>
        </a:p>
      </dgm:t>
    </dgm:pt>
    <dgm:pt modelId="{09452BB7-B7BC-4E4E-A935-ADCD598A88C4}">
      <dgm:prSet/>
      <dgm:spPr>
        <a:gradFill rotWithShape="0">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gradFill>
      </dgm:spPr>
      <dgm:t>
        <a:bodyPr/>
        <a:lstStyle/>
        <a:p>
          <a:r>
            <a:rPr lang="en-US"/>
            <a:t>• Support channels</a:t>
          </a:r>
          <a:endParaRPr lang="nl-NL"/>
        </a:p>
      </dgm:t>
    </dgm:pt>
    <dgm:pt modelId="{07E4AB9A-5B6F-4058-8005-DA767BFF2164}" type="parTrans" cxnId="{DBD1BE8F-F3CC-4826-AE1A-535ADBDA1E74}">
      <dgm:prSet/>
      <dgm:spPr/>
      <dgm:t>
        <a:bodyPr/>
        <a:lstStyle/>
        <a:p>
          <a:endParaRPr lang="nl-NL"/>
        </a:p>
      </dgm:t>
    </dgm:pt>
    <dgm:pt modelId="{7D094972-08B8-433A-ACA6-3E97F3B40542}" type="sibTrans" cxnId="{DBD1BE8F-F3CC-4826-AE1A-535ADBDA1E74}">
      <dgm:prSet/>
      <dgm:spPr/>
      <dgm:t>
        <a:bodyPr/>
        <a:lstStyle/>
        <a:p>
          <a:endParaRPr lang="nl-NL"/>
        </a:p>
      </dgm:t>
    </dgm:pt>
    <dgm:pt modelId="{55A71806-6EEF-41F1-93CA-96268D0A09E8}">
      <dgm:prSet/>
      <dgm:spPr>
        <a:gradFill rotWithShape="0">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gradFill>
      </dgm:spPr>
      <dgm:t>
        <a:bodyPr/>
        <a:lstStyle/>
        <a:p>
          <a:r>
            <a:rPr lang="en-US"/>
            <a:t>• Blogs and forums</a:t>
          </a:r>
          <a:endParaRPr lang="nl-NL"/>
        </a:p>
      </dgm:t>
    </dgm:pt>
    <dgm:pt modelId="{EEFF6D75-6653-4553-B6DF-83E64CBC1E20}" type="parTrans" cxnId="{4C05B718-D635-49B4-97F8-59EB4DBE76BE}">
      <dgm:prSet/>
      <dgm:spPr/>
      <dgm:t>
        <a:bodyPr/>
        <a:lstStyle/>
        <a:p>
          <a:endParaRPr lang="nl-NL"/>
        </a:p>
      </dgm:t>
    </dgm:pt>
    <dgm:pt modelId="{5DA98C28-FCEF-49A9-89BD-B8D69047254B}" type="sibTrans" cxnId="{4C05B718-D635-49B4-97F8-59EB4DBE76BE}">
      <dgm:prSet/>
      <dgm:spPr/>
      <dgm:t>
        <a:bodyPr/>
        <a:lstStyle/>
        <a:p>
          <a:endParaRPr lang="nl-NL"/>
        </a:p>
      </dgm:t>
    </dgm:pt>
    <dgm:pt modelId="{1C92B1F4-9E98-462F-A4FD-418CA1EEF857}">
      <dgm:prSet/>
      <dgm:spPr>
        <a:gradFill rotWithShape="0">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gradFill>
      </dgm:spPr>
      <dgm:t>
        <a:bodyPr/>
        <a:lstStyle/>
        <a:p>
          <a:r>
            <a:rPr lang="en-US" dirty="0"/>
            <a:t>• SDKs and other resources</a:t>
          </a:r>
          <a:endParaRPr lang="nl-NL" dirty="0"/>
        </a:p>
      </dgm:t>
    </dgm:pt>
    <dgm:pt modelId="{E205C78D-E6C9-4793-80AF-7AC3DAFD2FD2}" type="parTrans" cxnId="{ED2F71D9-5A08-40B9-8FC6-7E7DBBF16613}">
      <dgm:prSet/>
      <dgm:spPr/>
      <dgm:t>
        <a:bodyPr/>
        <a:lstStyle/>
        <a:p>
          <a:endParaRPr lang="nl-NL"/>
        </a:p>
      </dgm:t>
    </dgm:pt>
    <dgm:pt modelId="{6532A9E5-E0F6-4803-A472-227D689B1901}" type="sibTrans" cxnId="{ED2F71D9-5A08-40B9-8FC6-7E7DBBF16613}">
      <dgm:prSet/>
      <dgm:spPr/>
      <dgm:t>
        <a:bodyPr/>
        <a:lstStyle/>
        <a:p>
          <a:endParaRPr lang="nl-NL"/>
        </a:p>
      </dgm:t>
    </dgm:pt>
    <dgm:pt modelId="{B7F3EB4A-B8BB-4F23-B663-953173512785}">
      <dgm:prSet/>
      <dgm:spPr>
        <a:gradFill rotWithShape="0">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gradFill>
      </dgm:spPr>
      <dgm:t>
        <a:bodyPr/>
        <a:lstStyle/>
        <a:p>
          <a:r>
            <a:rPr lang="en-US" dirty="0"/>
            <a:t>• App Gallery for inspiration</a:t>
          </a:r>
          <a:endParaRPr lang="nl-NL" dirty="0"/>
        </a:p>
      </dgm:t>
    </dgm:pt>
    <dgm:pt modelId="{A8C412EB-0023-4B55-A300-6E645441BCC6}" type="parTrans" cxnId="{708E394B-C378-4833-94DC-343801F482ED}">
      <dgm:prSet/>
      <dgm:spPr/>
      <dgm:t>
        <a:bodyPr/>
        <a:lstStyle/>
        <a:p>
          <a:endParaRPr lang="nl-NL"/>
        </a:p>
      </dgm:t>
    </dgm:pt>
    <dgm:pt modelId="{4898CF3D-CA3D-43E1-AA88-027708283507}" type="sibTrans" cxnId="{708E394B-C378-4833-94DC-343801F482ED}">
      <dgm:prSet/>
      <dgm:spPr/>
      <dgm:t>
        <a:bodyPr/>
        <a:lstStyle/>
        <a:p>
          <a:endParaRPr lang="nl-NL"/>
        </a:p>
      </dgm:t>
    </dgm:pt>
    <dgm:pt modelId="{72538719-903C-4563-AFAE-185F85C62FB9}">
      <dgm:prSet/>
      <dgm:spPr>
        <a:gradFill rotWithShape="0">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gradFill>
      </dgm:spPr>
      <dgm:t>
        <a:bodyPr/>
        <a:lstStyle/>
        <a:p>
          <a:r>
            <a:rPr lang="en-US" dirty="0"/>
            <a:t>• Value Prop and Terms of Service</a:t>
          </a:r>
          <a:endParaRPr lang="nl-NL" dirty="0"/>
        </a:p>
      </dgm:t>
    </dgm:pt>
    <dgm:pt modelId="{2441045C-CFDE-4CC3-A281-85D4787727E5}" type="parTrans" cxnId="{9C7485FA-B668-47EA-BC1B-662CD653CD6F}">
      <dgm:prSet/>
      <dgm:spPr/>
      <dgm:t>
        <a:bodyPr/>
        <a:lstStyle/>
        <a:p>
          <a:endParaRPr lang="nl-NL"/>
        </a:p>
      </dgm:t>
    </dgm:pt>
    <dgm:pt modelId="{0BE14E49-8304-4C49-8365-D2955CCE3918}" type="sibTrans" cxnId="{9C7485FA-B668-47EA-BC1B-662CD653CD6F}">
      <dgm:prSet/>
      <dgm:spPr/>
      <dgm:t>
        <a:bodyPr/>
        <a:lstStyle/>
        <a:p>
          <a:endParaRPr lang="nl-NL"/>
        </a:p>
      </dgm:t>
    </dgm:pt>
    <dgm:pt modelId="{C16DE0D9-D6B4-4525-A454-3D16EC33A7FD}" type="pres">
      <dgm:prSet presAssocID="{29BBC754-5A30-422D-B04F-B3DD1263FBF0}" presName="linear" presStyleCnt="0">
        <dgm:presLayoutVars>
          <dgm:animLvl val="lvl"/>
          <dgm:resizeHandles val="exact"/>
        </dgm:presLayoutVars>
      </dgm:prSet>
      <dgm:spPr/>
    </dgm:pt>
    <dgm:pt modelId="{FA1386DA-8A23-452D-8A5E-3DD90D8CD059}" type="pres">
      <dgm:prSet presAssocID="{0E25E048-1F98-47F2-A089-3F4475B00A68}" presName="parentText" presStyleLbl="node1" presStyleIdx="0" presStyleCnt="7">
        <dgm:presLayoutVars>
          <dgm:chMax val="0"/>
          <dgm:bulletEnabled val="1"/>
        </dgm:presLayoutVars>
      </dgm:prSet>
      <dgm:spPr/>
    </dgm:pt>
    <dgm:pt modelId="{30CA470E-1938-417C-AA66-A1E45CD88ECE}" type="pres">
      <dgm:prSet presAssocID="{B7A7167C-E1A6-472F-B5D8-5649D4D3E179}" presName="spacer" presStyleCnt="0"/>
      <dgm:spPr/>
    </dgm:pt>
    <dgm:pt modelId="{067B2DE9-9561-48D6-82A4-42240981F27C}" type="pres">
      <dgm:prSet presAssocID="{3C80B8B1-0F7C-4595-82E8-4A7C685F0F35}" presName="parentText" presStyleLbl="node1" presStyleIdx="1" presStyleCnt="7">
        <dgm:presLayoutVars>
          <dgm:chMax val="0"/>
          <dgm:bulletEnabled val="1"/>
        </dgm:presLayoutVars>
      </dgm:prSet>
      <dgm:spPr/>
    </dgm:pt>
    <dgm:pt modelId="{C1206BF6-ECB4-4304-BD7F-8C04B50A9E13}" type="pres">
      <dgm:prSet presAssocID="{E765BF10-26CB-4057-B9DB-1C1D5235E42B}" presName="spacer" presStyleCnt="0"/>
      <dgm:spPr/>
    </dgm:pt>
    <dgm:pt modelId="{E5C528E8-A989-4B76-A36A-101D4D060DDF}" type="pres">
      <dgm:prSet presAssocID="{09452BB7-B7BC-4E4E-A935-ADCD598A88C4}" presName="parentText" presStyleLbl="node1" presStyleIdx="2" presStyleCnt="7">
        <dgm:presLayoutVars>
          <dgm:chMax val="0"/>
          <dgm:bulletEnabled val="1"/>
        </dgm:presLayoutVars>
      </dgm:prSet>
      <dgm:spPr/>
    </dgm:pt>
    <dgm:pt modelId="{F63BF65B-8029-4BFD-BF39-C94A985BA5A6}" type="pres">
      <dgm:prSet presAssocID="{7D094972-08B8-433A-ACA6-3E97F3B40542}" presName="spacer" presStyleCnt="0"/>
      <dgm:spPr/>
    </dgm:pt>
    <dgm:pt modelId="{AD67FD2C-A564-47F0-A7C4-AF2AB1A34845}" type="pres">
      <dgm:prSet presAssocID="{55A71806-6EEF-41F1-93CA-96268D0A09E8}" presName="parentText" presStyleLbl="node1" presStyleIdx="3" presStyleCnt="7">
        <dgm:presLayoutVars>
          <dgm:chMax val="0"/>
          <dgm:bulletEnabled val="1"/>
        </dgm:presLayoutVars>
      </dgm:prSet>
      <dgm:spPr/>
    </dgm:pt>
    <dgm:pt modelId="{0E64294A-A80D-4507-9BE4-65C75B766D29}" type="pres">
      <dgm:prSet presAssocID="{5DA98C28-FCEF-49A9-89BD-B8D69047254B}" presName="spacer" presStyleCnt="0"/>
      <dgm:spPr/>
    </dgm:pt>
    <dgm:pt modelId="{14782738-1DF3-4F35-AC4C-62399F3D7AC7}" type="pres">
      <dgm:prSet presAssocID="{1C92B1F4-9E98-462F-A4FD-418CA1EEF857}" presName="parentText" presStyleLbl="node1" presStyleIdx="4" presStyleCnt="7">
        <dgm:presLayoutVars>
          <dgm:chMax val="0"/>
          <dgm:bulletEnabled val="1"/>
        </dgm:presLayoutVars>
      </dgm:prSet>
      <dgm:spPr/>
    </dgm:pt>
    <dgm:pt modelId="{19132D5F-00EF-47FD-B262-97E00243594F}" type="pres">
      <dgm:prSet presAssocID="{6532A9E5-E0F6-4803-A472-227D689B1901}" presName="spacer" presStyleCnt="0"/>
      <dgm:spPr/>
    </dgm:pt>
    <dgm:pt modelId="{F81A71FA-8424-47C9-8A4B-47A1E1BBFA7E}" type="pres">
      <dgm:prSet presAssocID="{B7F3EB4A-B8BB-4F23-B663-953173512785}" presName="parentText" presStyleLbl="node1" presStyleIdx="5" presStyleCnt="7">
        <dgm:presLayoutVars>
          <dgm:chMax val="0"/>
          <dgm:bulletEnabled val="1"/>
        </dgm:presLayoutVars>
      </dgm:prSet>
      <dgm:spPr/>
    </dgm:pt>
    <dgm:pt modelId="{01B65D8B-CBC1-4387-A199-C910D945C4B9}" type="pres">
      <dgm:prSet presAssocID="{4898CF3D-CA3D-43E1-AA88-027708283507}" presName="spacer" presStyleCnt="0"/>
      <dgm:spPr/>
    </dgm:pt>
    <dgm:pt modelId="{CE398D62-3FD0-4256-91A8-5F5B092D1DC0}" type="pres">
      <dgm:prSet presAssocID="{72538719-903C-4563-AFAE-185F85C62FB9}" presName="parentText" presStyleLbl="node1" presStyleIdx="6" presStyleCnt="7">
        <dgm:presLayoutVars>
          <dgm:chMax val="0"/>
          <dgm:bulletEnabled val="1"/>
        </dgm:presLayoutVars>
      </dgm:prSet>
      <dgm:spPr/>
    </dgm:pt>
  </dgm:ptLst>
  <dgm:cxnLst>
    <dgm:cxn modelId="{4C05B718-D635-49B4-97F8-59EB4DBE76BE}" srcId="{29BBC754-5A30-422D-B04F-B3DD1263FBF0}" destId="{55A71806-6EEF-41F1-93CA-96268D0A09E8}" srcOrd="3" destOrd="0" parTransId="{EEFF6D75-6653-4553-B6DF-83E64CBC1E20}" sibTransId="{5DA98C28-FCEF-49A9-89BD-B8D69047254B}"/>
    <dgm:cxn modelId="{D9E1F220-F038-449B-8DAF-760849C2698E}" type="presOf" srcId="{72538719-903C-4563-AFAE-185F85C62FB9}" destId="{CE398D62-3FD0-4256-91A8-5F5B092D1DC0}" srcOrd="0" destOrd="0" presId="urn:microsoft.com/office/officeart/2005/8/layout/vList2"/>
    <dgm:cxn modelId="{708E394B-C378-4833-94DC-343801F482ED}" srcId="{29BBC754-5A30-422D-B04F-B3DD1263FBF0}" destId="{B7F3EB4A-B8BB-4F23-B663-953173512785}" srcOrd="5" destOrd="0" parTransId="{A8C412EB-0023-4B55-A300-6E645441BCC6}" sibTransId="{4898CF3D-CA3D-43E1-AA88-027708283507}"/>
    <dgm:cxn modelId="{598D8A75-1972-4855-84EC-2C830DC84679}" type="presOf" srcId="{B7F3EB4A-B8BB-4F23-B663-953173512785}" destId="{F81A71FA-8424-47C9-8A4B-47A1E1BBFA7E}" srcOrd="0" destOrd="0" presId="urn:microsoft.com/office/officeart/2005/8/layout/vList2"/>
    <dgm:cxn modelId="{CC088288-887C-4941-AC2A-C765F5D17DC0}" type="presOf" srcId="{1C92B1F4-9E98-462F-A4FD-418CA1EEF857}" destId="{14782738-1DF3-4F35-AC4C-62399F3D7AC7}" srcOrd="0" destOrd="0" presId="urn:microsoft.com/office/officeart/2005/8/layout/vList2"/>
    <dgm:cxn modelId="{DBD1BE8F-F3CC-4826-AE1A-535ADBDA1E74}" srcId="{29BBC754-5A30-422D-B04F-B3DD1263FBF0}" destId="{09452BB7-B7BC-4E4E-A935-ADCD598A88C4}" srcOrd="2" destOrd="0" parTransId="{07E4AB9A-5B6F-4058-8005-DA767BFF2164}" sibTransId="{7D094972-08B8-433A-ACA6-3E97F3B40542}"/>
    <dgm:cxn modelId="{DB7D7E98-A78D-4FE5-A10B-512E7CD1D7CB}" type="presOf" srcId="{09452BB7-B7BC-4E4E-A935-ADCD598A88C4}" destId="{E5C528E8-A989-4B76-A36A-101D4D060DDF}" srcOrd="0" destOrd="0" presId="urn:microsoft.com/office/officeart/2005/8/layout/vList2"/>
    <dgm:cxn modelId="{B4A1359C-07D2-4CB9-885E-E3194FC47F9A}" type="presOf" srcId="{29BBC754-5A30-422D-B04F-B3DD1263FBF0}" destId="{C16DE0D9-D6B4-4525-A454-3D16EC33A7FD}" srcOrd="0" destOrd="0" presId="urn:microsoft.com/office/officeart/2005/8/layout/vList2"/>
    <dgm:cxn modelId="{D61A39B3-C51E-46DB-AE67-2D5549BB665C}" type="presOf" srcId="{55A71806-6EEF-41F1-93CA-96268D0A09E8}" destId="{AD67FD2C-A564-47F0-A7C4-AF2AB1A34845}" srcOrd="0" destOrd="0" presId="urn:microsoft.com/office/officeart/2005/8/layout/vList2"/>
    <dgm:cxn modelId="{C6FFA4C1-ADA5-48D8-A8A9-75051908C3E1}" srcId="{29BBC754-5A30-422D-B04F-B3DD1263FBF0}" destId="{0E25E048-1F98-47F2-A089-3F4475B00A68}" srcOrd="0" destOrd="0" parTransId="{19F5C2AD-867D-414B-9C0A-209E577A1D9B}" sibTransId="{B7A7167C-E1A6-472F-B5D8-5649D4D3E179}"/>
    <dgm:cxn modelId="{ED2F71D9-5A08-40B9-8FC6-7E7DBBF16613}" srcId="{29BBC754-5A30-422D-B04F-B3DD1263FBF0}" destId="{1C92B1F4-9E98-462F-A4FD-418CA1EEF857}" srcOrd="4" destOrd="0" parTransId="{E205C78D-E6C9-4793-80AF-7AC3DAFD2FD2}" sibTransId="{6532A9E5-E0F6-4803-A472-227D689B1901}"/>
    <dgm:cxn modelId="{C20B01DF-F5CE-4F0C-8BEC-62278FB616B7}" type="presOf" srcId="{0E25E048-1F98-47F2-A089-3F4475B00A68}" destId="{FA1386DA-8A23-452D-8A5E-3DD90D8CD059}" srcOrd="0" destOrd="0" presId="urn:microsoft.com/office/officeart/2005/8/layout/vList2"/>
    <dgm:cxn modelId="{DACB44F8-0821-47DE-9E83-AD71323FCF16}" srcId="{29BBC754-5A30-422D-B04F-B3DD1263FBF0}" destId="{3C80B8B1-0F7C-4595-82E8-4A7C685F0F35}" srcOrd="1" destOrd="0" parTransId="{7EDEA4E7-32BD-496E-ACE4-F68C297B084B}" sibTransId="{E765BF10-26CB-4057-B9DB-1C1D5235E42B}"/>
    <dgm:cxn modelId="{9C7485FA-B668-47EA-BC1B-662CD653CD6F}" srcId="{29BBC754-5A30-422D-B04F-B3DD1263FBF0}" destId="{72538719-903C-4563-AFAE-185F85C62FB9}" srcOrd="6" destOrd="0" parTransId="{2441045C-CFDE-4CC3-A281-85D4787727E5}" sibTransId="{0BE14E49-8304-4C49-8365-D2955CCE3918}"/>
    <dgm:cxn modelId="{045F80FE-0B3C-4562-9AE9-B19FD47777B6}" type="presOf" srcId="{3C80B8B1-0F7C-4595-82E8-4A7C685F0F35}" destId="{067B2DE9-9561-48D6-82A4-42240981F27C}" srcOrd="0" destOrd="0" presId="urn:microsoft.com/office/officeart/2005/8/layout/vList2"/>
    <dgm:cxn modelId="{F73229B2-9F33-454F-9A70-B938416BAE9E}" type="presParOf" srcId="{C16DE0D9-D6B4-4525-A454-3D16EC33A7FD}" destId="{FA1386DA-8A23-452D-8A5E-3DD90D8CD059}" srcOrd="0" destOrd="0" presId="urn:microsoft.com/office/officeart/2005/8/layout/vList2"/>
    <dgm:cxn modelId="{50652A93-8683-4E78-B5BC-8F1BE2EDA1D1}" type="presParOf" srcId="{C16DE0D9-D6B4-4525-A454-3D16EC33A7FD}" destId="{30CA470E-1938-417C-AA66-A1E45CD88ECE}" srcOrd="1" destOrd="0" presId="urn:microsoft.com/office/officeart/2005/8/layout/vList2"/>
    <dgm:cxn modelId="{5ABD6379-8703-487E-9071-331F916B4C2A}" type="presParOf" srcId="{C16DE0D9-D6B4-4525-A454-3D16EC33A7FD}" destId="{067B2DE9-9561-48D6-82A4-42240981F27C}" srcOrd="2" destOrd="0" presId="urn:microsoft.com/office/officeart/2005/8/layout/vList2"/>
    <dgm:cxn modelId="{260B1C68-9782-4004-99C9-A1AE1D0DC0C5}" type="presParOf" srcId="{C16DE0D9-D6B4-4525-A454-3D16EC33A7FD}" destId="{C1206BF6-ECB4-4304-BD7F-8C04B50A9E13}" srcOrd="3" destOrd="0" presId="urn:microsoft.com/office/officeart/2005/8/layout/vList2"/>
    <dgm:cxn modelId="{48A89B0B-E3B7-4731-8CB2-BE66930519FD}" type="presParOf" srcId="{C16DE0D9-D6B4-4525-A454-3D16EC33A7FD}" destId="{E5C528E8-A989-4B76-A36A-101D4D060DDF}" srcOrd="4" destOrd="0" presId="urn:microsoft.com/office/officeart/2005/8/layout/vList2"/>
    <dgm:cxn modelId="{1298BDC9-A99B-4756-9289-9811DD82CB32}" type="presParOf" srcId="{C16DE0D9-D6B4-4525-A454-3D16EC33A7FD}" destId="{F63BF65B-8029-4BFD-BF39-C94A985BA5A6}" srcOrd="5" destOrd="0" presId="urn:microsoft.com/office/officeart/2005/8/layout/vList2"/>
    <dgm:cxn modelId="{A3B2C564-E5E1-4F61-AB4E-70D06C633002}" type="presParOf" srcId="{C16DE0D9-D6B4-4525-A454-3D16EC33A7FD}" destId="{AD67FD2C-A564-47F0-A7C4-AF2AB1A34845}" srcOrd="6" destOrd="0" presId="urn:microsoft.com/office/officeart/2005/8/layout/vList2"/>
    <dgm:cxn modelId="{B8986635-B40B-43CC-AAB6-CE9E0A8D7DEA}" type="presParOf" srcId="{C16DE0D9-D6B4-4525-A454-3D16EC33A7FD}" destId="{0E64294A-A80D-4507-9BE4-65C75B766D29}" srcOrd="7" destOrd="0" presId="urn:microsoft.com/office/officeart/2005/8/layout/vList2"/>
    <dgm:cxn modelId="{D8EDCFF3-C88E-44A7-ABE9-9631F0D5C61E}" type="presParOf" srcId="{C16DE0D9-D6B4-4525-A454-3D16EC33A7FD}" destId="{14782738-1DF3-4F35-AC4C-62399F3D7AC7}" srcOrd="8" destOrd="0" presId="urn:microsoft.com/office/officeart/2005/8/layout/vList2"/>
    <dgm:cxn modelId="{0F77162C-BC80-4ED9-8990-6EF61FBC234C}" type="presParOf" srcId="{C16DE0D9-D6B4-4525-A454-3D16EC33A7FD}" destId="{19132D5F-00EF-47FD-B262-97E00243594F}" srcOrd="9" destOrd="0" presId="urn:microsoft.com/office/officeart/2005/8/layout/vList2"/>
    <dgm:cxn modelId="{56D7B407-DCBE-4BAF-B7BB-5E7F36746FA1}" type="presParOf" srcId="{C16DE0D9-D6B4-4525-A454-3D16EC33A7FD}" destId="{F81A71FA-8424-47C9-8A4B-47A1E1BBFA7E}" srcOrd="10" destOrd="0" presId="urn:microsoft.com/office/officeart/2005/8/layout/vList2"/>
    <dgm:cxn modelId="{0132D63B-3F7E-42B9-9737-B2C940DD96EA}" type="presParOf" srcId="{C16DE0D9-D6B4-4525-A454-3D16EC33A7FD}" destId="{01B65D8B-CBC1-4387-A199-C910D945C4B9}" srcOrd="11" destOrd="0" presId="urn:microsoft.com/office/officeart/2005/8/layout/vList2"/>
    <dgm:cxn modelId="{0D03A531-E503-4898-9221-CCEA394D29EF}" type="presParOf" srcId="{C16DE0D9-D6B4-4525-A454-3D16EC33A7FD}" destId="{CE398D62-3FD0-4256-91A8-5F5B092D1DC0}" srcOrd="1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76D03C6-BD78-432C-B17C-04167A928BBC}" type="doc">
      <dgm:prSet loTypeId="urn:microsoft.com/office/officeart/2005/8/layout/hList7" loCatId="list" qsTypeId="urn:microsoft.com/office/officeart/2005/8/quickstyle/simple1" qsCatId="simple" csTypeId="urn:microsoft.com/office/officeart/2005/8/colors/accent2_2" csCatId="accent2" phldr="1"/>
      <dgm:spPr/>
      <dgm:t>
        <a:bodyPr/>
        <a:lstStyle/>
        <a:p>
          <a:endParaRPr lang="nl-NL"/>
        </a:p>
      </dgm:t>
    </dgm:pt>
    <dgm:pt modelId="{CC3262CA-ACF2-45D3-81A6-79DBDA8D3074}">
      <dgm:prSet/>
      <dgm:spPr/>
      <dgm:t>
        <a:bodyPr/>
        <a:lstStyle/>
        <a:p>
          <a:r>
            <a:rPr lang="en-US"/>
            <a:t>Various revenue models</a:t>
          </a:r>
          <a:endParaRPr lang="nl-NL"/>
        </a:p>
      </dgm:t>
    </dgm:pt>
    <dgm:pt modelId="{44A5BA3D-8580-4F33-8F68-52B3F918731B}" type="parTrans" cxnId="{1BEF0961-35D1-47B3-977B-E5975C28A243}">
      <dgm:prSet/>
      <dgm:spPr/>
      <dgm:t>
        <a:bodyPr/>
        <a:lstStyle/>
        <a:p>
          <a:endParaRPr lang="nl-NL"/>
        </a:p>
      </dgm:t>
    </dgm:pt>
    <dgm:pt modelId="{1C5844C3-EB60-4714-8079-9D3637C92507}" type="sibTrans" cxnId="{1BEF0961-35D1-47B3-977B-E5975C28A243}">
      <dgm:prSet/>
      <dgm:spPr/>
      <dgm:t>
        <a:bodyPr/>
        <a:lstStyle/>
        <a:p>
          <a:endParaRPr lang="nl-NL"/>
        </a:p>
      </dgm:t>
    </dgm:pt>
    <dgm:pt modelId="{BB8D9A76-B1B1-4BC4-8569-51AEAAEAD570}">
      <dgm:prSet/>
      <dgm:spPr/>
      <dgm:t>
        <a:bodyPr/>
        <a:lstStyle/>
        <a:p>
          <a:r>
            <a:rPr lang="en-US"/>
            <a:t>Payment and billing capabilities</a:t>
          </a:r>
          <a:endParaRPr lang="nl-NL"/>
        </a:p>
      </dgm:t>
    </dgm:pt>
    <dgm:pt modelId="{3F91F244-FE19-4136-8C52-CAC73D16FA52}" type="parTrans" cxnId="{76C473C2-2B19-4C27-9958-1667E97CD613}">
      <dgm:prSet/>
      <dgm:spPr/>
      <dgm:t>
        <a:bodyPr/>
        <a:lstStyle/>
        <a:p>
          <a:endParaRPr lang="nl-NL"/>
        </a:p>
      </dgm:t>
    </dgm:pt>
    <dgm:pt modelId="{1304DD36-B90C-48CB-9941-4057D8C8D140}" type="sibTrans" cxnId="{76C473C2-2B19-4C27-9958-1667E97CD613}">
      <dgm:prSet/>
      <dgm:spPr/>
      <dgm:t>
        <a:bodyPr/>
        <a:lstStyle/>
        <a:p>
          <a:endParaRPr lang="nl-NL"/>
        </a:p>
      </dgm:t>
    </dgm:pt>
    <dgm:pt modelId="{D7C443D3-CE58-4E41-B310-C173C57FFE64}">
      <dgm:prSet/>
      <dgm:spPr/>
      <dgm:t>
        <a:bodyPr/>
        <a:lstStyle/>
        <a:p>
          <a:r>
            <a:rPr lang="en-US"/>
            <a:t>Flexible reporting </a:t>
          </a:r>
          <a:endParaRPr lang="nl-NL"/>
        </a:p>
      </dgm:t>
    </dgm:pt>
    <dgm:pt modelId="{034382D5-D538-4ABE-9BE8-330487071AFA}" type="parTrans" cxnId="{093025C7-AA62-4FF1-B44D-399A4050EE72}">
      <dgm:prSet/>
      <dgm:spPr/>
      <dgm:t>
        <a:bodyPr/>
        <a:lstStyle/>
        <a:p>
          <a:endParaRPr lang="nl-NL"/>
        </a:p>
      </dgm:t>
    </dgm:pt>
    <dgm:pt modelId="{3A3F5127-5959-48CC-AA8E-95CFB2F59E35}" type="sibTrans" cxnId="{093025C7-AA62-4FF1-B44D-399A4050EE72}">
      <dgm:prSet/>
      <dgm:spPr/>
      <dgm:t>
        <a:bodyPr/>
        <a:lstStyle/>
        <a:p>
          <a:endParaRPr lang="nl-NL"/>
        </a:p>
      </dgm:t>
    </dgm:pt>
    <dgm:pt modelId="{397DC52D-80C4-4F1F-A7C9-D8844050C918}">
      <dgm:prSet/>
      <dgm:spPr/>
      <dgm:t>
        <a:bodyPr/>
        <a:lstStyle/>
        <a:p>
          <a:r>
            <a:rPr lang="en-US"/>
            <a:t>Developer portal Integration</a:t>
          </a:r>
          <a:endParaRPr lang="nl-NL"/>
        </a:p>
      </dgm:t>
    </dgm:pt>
    <dgm:pt modelId="{8E9F59D3-03ED-42AB-8795-9CDEE15DEC11}" type="parTrans" cxnId="{3DF182DF-D9C2-4D1D-8B36-DBEA3F58C504}">
      <dgm:prSet/>
      <dgm:spPr/>
      <dgm:t>
        <a:bodyPr/>
        <a:lstStyle/>
        <a:p>
          <a:endParaRPr lang="nl-NL"/>
        </a:p>
      </dgm:t>
    </dgm:pt>
    <dgm:pt modelId="{1ACAFE15-0462-4D08-8F98-A8A57DDD4445}" type="sibTrans" cxnId="{3DF182DF-D9C2-4D1D-8B36-DBEA3F58C504}">
      <dgm:prSet/>
      <dgm:spPr/>
      <dgm:t>
        <a:bodyPr/>
        <a:lstStyle/>
        <a:p>
          <a:endParaRPr lang="nl-NL"/>
        </a:p>
      </dgm:t>
    </dgm:pt>
    <dgm:pt modelId="{61B1E9B3-D183-4281-A76B-D0580087679F}" type="pres">
      <dgm:prSet presAssocID="{476D03C6-BD78-432C-B17C-04167A928BBC}" presName="Name0" presStyleCnt="0">
        <dgm:presLayoutVars>
          <dgm:dir/>
          <dgm:resizeHandles val="exact"/>
        </dgm:presLayoutVars>
      </dgm:prSet>
      <dgm:spPr/>
    </dgm:pt>
    <dgm:pt modelId="{050A4D1D-23BA-4573-B669-E3C10A618319}" type="pres">
      <dgm:prSet presAssocID="{476D03C6-BD78-432C-B17C-04167A928BBC}" presName="fgShape" presStyleLbl="fgShp" presStyleIdx="0" presStyleCnt="1"/>
      <dgm:spPr/>
    </dgm:pt>
    <dgm:pt modelId="{4DAF061B-F07E-4BF6-926F-BDBF70B30CD2}" type="pres">
      <dgm:prSet presAssocID="{476D03C6-BD78-432C-B17C-04167A928BBC}" presName="linComp" presStyleCnt="0"/>
      <dgm:spPr/>
    </dgm:pt>
    <dgm:pt modelId="{BB687556-2753-40E5-8142-4C8851FE5FE9}" type="pres">
      <dgm:prSet presAssocID="{CC3262CA-ACF2-45D3-81A6-79DBDA8D3074}" presName="compNode" presStyleCnt="0"/>
      <dgm:spPr/>
    </dgm:pt>
    <dgm:pt modelId="{96FFD16A-0F7A-487C-8243-5ECAB2F6721B}" type="pres">
      <dgm:prSet presAssocID="{CC3262CA-ACF2-45D3-81A6-79DBDA8D3074}" presName="bkgdShape" presStyleLbl="node1" presStyleIdx="0" presStyleCnt="4"/>
      <dgm:spPr/>
    </dgm:pt>
    <dgm:pt modelId="{DBD9202A-2698-47AF-B484-E3C039BFC632}" type="pres">
      <dgm:prSet presAssocID="{CC3262CA-ACF2-45D3-81A6-79DBDA8D3074}" presName="nodeTx" presStyleLbl="node1" presStyleIdx="0" presStyleCnt="4">
        <dgm:presLayoutVars>
          <dgm:bulletEnabled val="1"/>
        </dgm:presLayoutVars>
      </dgm:prSet>
      <dgm:spPr/>
    </dgm:pt>
    <dgm:pt modelId="{EBD3E675-E57C-4C82-A52A-A5AB3D577BC2}" type="pres">
      <dgm:prSet presAssocID="{CC3262CA-ACF2-45D3-81A6-79DBDA8D3074}" presName="invisiNode" presStyleLbl="node1" presStyleIdx="0" presStyleCnt="4"/>
      <dgm:spPr/>
    </dgm:pt>
    <dgm:pt modelId="{5027FE3B-B09F-499E-9961-FC8E756117F2}" type="pres">
      <dgm:prSet presAssocID="{CC3262CA-ACF2-45D3-81A6-79DBDA8D3074}" presName="imagNode" presStyleLbl="fgImgPlace1" presStyleIdx="0" presStyleCnt="4"/>
      <dgm:spPr>
        <a:blipFill>
          <a:blip xmlns:r="http://schemas.openxmlformats.org/officeDocument/2006/relationships" r:embed="rId1">
            <a:extLst>
              <a:ext uri="{28A0092B-C50C-407E-A947-70E740481C1C}">
                <a14:useLocalDpi xmlns:a14="http://schemas.microsoft.com/office/drawing/2010/main" val="0"/>
              </a:ext>
              <a:ext uri="{837473B0-CC2E-450A-ABE3-18F120FF3D39}">
                <a1611:picAttrSrcUrl xmlns:a1611="http://schemas.microsoft.com/office/drawing/2016/11/main" r:id="rId2"/>
              </a:ext>
            </a:extLst>
          </a:blip>
          <a:srcRect/>
          <a:stretch>
            <a:fillRect/>
          </a:stretch>
        </a:blipFill>
      </dgm:spPr>
    </dgm:pt>
    <dgm:pt modelId="{BDC941E5-1423-4145-83A6-0E823C10167D}" type="pres">
      <dgm:prSet presAssocID="{1C5844C3-EB60-4714-8079-9D3637C92507}" presName="sibTrans" presStyleLbl="sibTrans2D1" presStyleIdx="0" presStyleCnt="0"/>
      <dgm:spPr/>
    </dgm:pt>
    <dgm:pt modelId="{B11F2AE2-0C05-4D5F-BE53-EC9B04923757}" type="pres">
      <dgm:prSet presAssocID="{BB8D9A76-B1B1-4BC4-8569-51AEAAEAD570}" presName="compNode" presStyleCnt="0"/>
      <dgm:spPr/>
    </dgm:pt>
    <dgm:pt modelId="{8AF6809C-A090-482B-ABD4-6DFC3020B87C}" type="pres">
      <dgm:prSet presAssocID="{BB8D9A76-B1B1-4BC4-8569-51AEAAEAD570}" presName="bkgdShape" presStyleLbl="node1" presStyleIdx="1" presStyleCnt="4"/>
      <dgm:spPr/>
    </dgm:pt>
    <dgm:pt modelId="{F74B5C78-2D57-48F5-9C11-079934594C76}" type="pres">
      <dgm:prSet presAssocID="{BB8D9A76-B1B1-4BC4-8569-51AEAAEAD570}" presName="nodeTx" presStyleLbl="node1" presStyleIdx="1" presStyleCnt="4">
        <dgm:presLayoutVars>
          <dgm:bulletEnabled val="1"/>
        </dgm:presLayoutVars>
      </dgm:prSet>
      <dgm:spPr/>
    </dgm:pt>
    <dgm:pt modelId="{09E769DA-AB84-4669-A776-8FAE7EE34142}" type="pres">
      <dgm:prSet presAssocID="{BB8D9A76-B1B1-4BC4-8569-51AEAAEAD570}" presName="invisiNode" presStyleLbl="node1" presStyleIdx="1" presStyleCnt="4"/>
      <dgm:spPr/>
    </dgm:pt>
    <dgm:pt modelId="{9112257A-5429-4CF6-95E9-ED60954212DF}" type="pres">
      <dgm:prSet presAssocID="{BB8D9A76-B1B1-4BC4-8569-51AEAAEAD570}" presName="imagNode" presStyleLbl="fgImgPlace1" presStyleIdx="1" presStyleCnt="4"/>
      <dgm:spPr>
        <a:blipFill>
          <a:blip xmlns:r="http://schemas.openxmlformats.org/officeDocument/2006/relationships"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a:stretch>
            <a:fillRect l="-4000" r="-4000"/>
          </a:stretch>
        </a:blipFill>
      </dgm:spPr>
    </dgm:pt>
    <dgm:pt modelId="{4CD977F4-9B17-4D68-A1BF-9BB775C84ABF}" type="pres">
      <dgm:prSet presAssocID="{1304DD36-B90C-48CB-9941-4057D8C8D140}" presName="sibTrans" presStyleLbl="sibTrans2D1" presStyleIdx="0" presStyleCnt="0"/>
      <dgm:spPr/>
    </dgm:pt>
    <dgm:pt modelId="{83BAA9EF-8CBD-4537-AA97-68DDC0172459}" type="pres">
      <dgm:prSet presAssocID="{D7C443D3-CE58-4E41-B310-C173C57FFE64}" presName="compNode" presStyleCnt="0"/>
      <dgm:spPr/>
    </dgm:pt>
    <dgm:pt modelId="{7B3759C5-C2BB-462E-A1FB-CA198969D634}" type="pres">
      <dgm:prSet presAssocID="{D7C443D3-CE58-4E41-B310-C173C57FFE64}" presName="bkgdShape" presStyleLbl="node1" presStyleIdx="2" presStyleCnt="4"/>
      <dgm:spPr/>
    </dgm:pt>
    <dgm:pt modelId="{87BA1665-F3B6-4868-8B21-9C0355C4E4CC}" type="pres">
      <dgm:prSet presAssocID="{D7C443D3-CE58-4E41-B310-C173C57FFE64}" presName="nodeTx" presStyleLbl="node1" presStyleIdx="2" presStyleCnt="4">
        <dgm:presLayoutVars>
          <dgm:bulletEnabled val="1"/>
        </dgm:presLayoutVars>
      </dgm:prSet>
      <dgm:spPr/>
    </dgm:pt>
    <dgm:pt modelId="{3121AD90-C443-4BA0-B88C-5FFA25FCF9BD}" type="pres">
      <dgm:prSet presAssocID="{D7C443D3-CE58-4E41-B310-C173C57FFE64}" presName="invisiNode" presStyleLbl="node1" presStyleIdx="2" presStyleCnt="4"/>
      <dgm:spPr/>
    </dgm:pt>
    <dgm:pt modelId="{A1E3E9B6-F773-4896-8244-6B138003BDA4}" type="pres">
      <dgm:prSet presAssocID="{D7C443D3-CE58-4E41-B310-C173C57FFE64}" presName="imagNode" presStyleLbl="fgImgPlace1" presStyleIdx="2" presStyleCnt="4"/>
      <dgm:spPr>
        <a:blipFill>
          <a:blip xmlns:r="http://schemas.openxmlformats.org/officeDocument/2006/relationships"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a:stretch>
            <a:fillRect l="-14000" r="-14000"/>
          </a:stretch>
        </a:blipFill>
      </dgm:spPr>
    </dgm:pt>
    <dgm:pt modelId="{8DA5A2F9-7BD6-4A89-865F-EDE84F6F09A2}" type="pres">
      <dgm:prSet presAssocID="{3A3F5127-5959-48CC-AA8E-95CFB2F59E35}" presName="sibTrans" presStyleLbl="sibTrans2D1" presStyleIdx="0" presStyleCnt="0"/>
      <dgm:spPr/>
    </dgm:pt>
    <dgm:pt modelId="{6706AC8A-D5E3-4980-9758-B7F855CC39FC}" type="pres">
      <dgm:prSet presAssocID="{397DC52D-80C4-4F1F-A7C9-D8844050C918}" presName="compNode" presStyleCnt="0"/>
      <dgm:spPr/>
    </dgm:pt>
    <dgm:pt modelId="{CCAB7BC0-C059-48FC-920D-22B72179EC61}" type="pres">
      <dgm:prSet presAssocID="{397DC52D-80C4-4F1F-A7C9-D8844050C918}" presName="bkgdShape" presStyleLbl="node1" presStyleIdx="3" presStyleCnt="4"/>
      <dgm:spPr/>
    </dgm:pt>
    <dgm:pt modelId="{E2E1F8BA-D8E6-4E58-BA5A-90E22E25431D}" type="pres">
      <dgm:prSet presAssocID="{397DC52D-80C4-4F1F-A7C9-D8844050C918}" presName="nodeTx" presStyleLbl="node1" presStyleIdx="3" presStyleCnt="4">
        <dgm:presLayoutVars>
          <dgm:bulletEnabled val="1"/>
        </dgm:presLayoutVars>
      </dgm:prSet>
      <dgm:spPr/>
    </dgm:pt>
    <dgm:pt modelId="{F79BDD4F-C6E8-470A-8EB9-4F8A80460818}" type="pres">
      <dgm:prSet presAssocID="{397DC52D-80C4-4F1F-A7C9-D8844050C918}" presName="invisiNode" presStyleLbl="node1" presStyleIdx="3" presStyleCnt="4"/>
      <dgm:spPr/>
    </dgm:pt>
    <dgm:pt modelId="{C1F125AF-A4C9-4ECA-8273-EC2F304C15E1}" type="pres">
      <dgm:prSet presAssocID="{397DC52D-80C4-4F1F-A7C9-D8844050C918}" presName="imagNode" presStyleLbl="fgImgPlace1" presStyleIdx="3" presStyleCnt="4"/>
      <dgm:spPr>
        <a:blipFill>
          <a:blip xmlns:r="http://schemas.openxmlformats.org/officeDocument/2006/relationships"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a:stretch>
            <a:fillRect l="-17000" r="-17000"/>
          </a:stretch>
        </a:blipFill>
      </dgm:spPr>
    </dgm:pt>
  </dgm:ptLst>
  <dgm:cxnLst>
    <dgm:cxn modelId="{D0DCA901-8E7E-42ED-9107-39F827466DA1}" type="presOf" srcId="{1C5844C3-EB60-4714-8079-9D3637C92507}" destId="{BDC941E5-1423-4145-83A6-0E823C10167D}" srcOrd="0" destOrd="0" presId="urn:microsoft.com/office/officeart/2005/8/layout/hList7"/>
    <dgm:cxn modelId="{D18A9923-B5C3-44CA-AD18-1D3D4A5F607F}" type="presOf" srcId="{CC3262CA-ACF2-45D3-81A6-79DBDA8D3074}" destId="{96FFD16A-0F7A-487C-8243-5ECAB2F6721B}" srcOrd="0" destOrd="0" presId="urn:microsoft.com/office/officeart/2005/8/layout/hList7"/>
    <dgm:cxn modelId="{72A18C2A-B5CF-4CC1-9F5F-B1D4C52DC467}" type="presOf" srcId="{397DC52D-80C4-4F1F-A7C9-D8844050C918}" destId="{CCAB7BC0-C059-48FC-920D-22B72179EC61}" srcOrd="0" destOrd="0" presId="urn:microsoft.com/office/officeart/2005/8/layout/hList7"/>
    <dgm:cxn modelId="{0B8EA52C-2DC8-4AFA-9861-35DD9FF53A53}" type="presOf" srcId="{BB8D9A76-B1B1-4BC4-8569-51AEAAEAD570}" destId="{F74B5C78-2D57-48F5-9C11-079934594C76}" srcOrd="1" destOrd="0" presId="urn:microsoft.com/office/officeart/2005/8/layout/hList7"/>
    <dgm:cxn modelId="{EBA5F230-62C6-4836-A12B-C3FA36D087F4}" type="presOf" srcId="{BB8D9A76-B1B1-4BC4-8569-51AEAAEAD570}" destId="{8AF6809C-A090-482B-ABD4-6DFC3020B87C}" srcOrd="0" destOrd="0" presId="urn:microsoft.com/office/officeart/2005/8/layout/hList7"/>
    <dgm:cxn modelId="{1A697A3D-3B02-4A2E-906F-D5A701FDC0B4}" type="presOf" srcId="{CC3262CA-ACF2-45D3-81A6-79DBDA8D3074}" destId="{DBD9202A-2698-47AF-B484-E3C039BFC632}" srcOrd="1" destOrd="0" presId="urn:microsoft.com/office/officeart/2005/8/layout/hList7"/>
    <dgm:cxn modelId="{1BEF0961-35D1-47B3-977B-E5975C28A243}" srcId="{476D03C6-BD78-432C-B17C-04167A928BBC}" destId="{CC3262CA-ACF2-45D3-81A6-79DBDA8D3074}" srcOrd="0" destOrd="0" parTransId="{44A5BA3D-8580-4F33-8F68-52B3F918731B}" sibTransId="{1C5844C3-EB60-4714-8079-9D3637C92507}"/>
    <dgm:cxn modelId="{F4D6BD66-DE47-4ED6-9495-9FA0FBB1F8B0}" type="presOf" srcId="{476D03C6-BD78-432C-B17C-04167A928BBC}" destId="{61B1E9B3-D183-4281-A76B-D0580087679F}" srcOrd="0" destOrd="0" presId="urn:microsoft.com/office/officeart/2005/8/layout/hList7"/>
    <dgm:cxn modelId="{4CCBF872-E414-4052-B569-0C4DD43A288E}" type="presOf" srcId="{3A3F5127-5959-48CC-AA8E-95CFB2F59E35}" destId="{8DA5A2F9-7BD6-4A89-865F-EDE84F6F09A2}" srcOrd="0" destOrd="0" presId="urn:microsoft.com/office/officeart/2005/8/layout/hList7"/>
    <dgm:cxn modelId="{EAE93684-D820-4EB3-ABE8-244CE85565BA}" type="presOf" srcId="{397DC52D-80C4-4F1F-A7C9-D8844050C918}" destId="{E2E1F8BA-D8E6-4E58-BA5A-90E22E25431D}" srcOrd="1" destOrd="0" presId="urn:microsoft.com/office/officeart/2005/8/layout/hList7"/>
    <dgm:cxn modelId="{CFFD9491-F662-476C-9D4E-23AD1708EB88}" type="presOf" srcId="{D7C443D3-CE58-4E41-B310-C173C57FFE64}" destId="{7B3759C5-C2BB-462E-A1FB-CA198969D634}" srcOrd="0" destOrd="0" presId="urn:microsoft.com/office/officeart/2005/8/layout/hList7"/>
    <dgm:cxn modelId="{76C473C2-2B19-4C27-9958-1667E97CD613}" srcId="{476D03C6-BD78-432C-B17C-04167A928BBC}" destId="{BB8D9A76-B1B1-4BC4-8569-51AEAAEAD570}" srcOrd="1" destOrd="0" parTransId="{3F91F244-FE19-4136-8C52-CAC73D16FA52}" sibTransId="{1304DD36-B90C-48CB-9941-4057D8C8D140}"/>
    <dgm:cxn modelId="{19CAB7C5-F292-49A5-B3FE-7B744C2A6779}" type="presOf" srcId="{D7C443D3-CE58-4E41-B310-C173C57FFE64}" destId="{87BA1665-F3B6-4868-8B21-9C0355C4E4CC}" srcOrd="1" destOrd="0" presId="urn:microsoft.com/office/officeart/2005/8/layout/hList7"/>
    <dgm:cxn modelId="{093025C7-AA62-4FF1-B44D-399A4050EE72}" srcId="{476D03C6-BD78-432C-B17C-04167A928BBC}" destId="{D7C443D3-CE58-4E41-B310-C173C57FFE64}" srcOrd="2" destOrd="0" parTransId="{034382D5-D538-4ABE-9BE8-330487071AFA}" sibTransId="{3A3F5127-5959-48CC-AA8E-95CFB2F59E35}"/>
    <dgm:cxn modelId="{3DF182DF-D9C2-4D1D-8B36-DBEA3F58C504}" srcId="{476D03C6-BD78-432C-B17C-04167A928BBC}" destId="{397DC52D-80C4-4F1F-A7C9-D8844050C918}" srcOrd="3" destOrd="0" parTransId="{8E9F59D3-03ED-42AB-8795-9CDEE15DEC11}" sibTransId="{1ACAFE15-0462-4D08-8F98-A8A57DDD4445}"/>
    <dgm:cxn modelId="{83284DE4-4C13-47C6-BEC8-636800CA0F42}" type="presOf" srcId="{1304DD36-B90C-48CB-9941-4057D8C8D140}" destId="{4CD977F4-9B17-4D68-A1BF-9BB775C84ABF}" srcOrd="0" destOrd="0" presId="urn:microsoft.com/office/officeart/2005/8/layout/hList7"/>
    <dgm:cxn modelId="{D6F9455F-ECBB-4AC9-B3AB-596A14613DB4}" type="presParOf" srcId="{61B1E9B3-D183-4281-A76B-D0580087679F}" destId="{050A4D1D-23BA-4573-B669-E3C10A618319}" srcOrd="0" destOrd="0" presId="urn:microsoft.com/office/officeart/2005/8/layout/hList7"/>
    <dgm:cxn modelId="{BEE808D1-7667-41DF-B605-E10978056F33}" type="presParOf" srcId="{61B1E9B3-D183-4281-A76B-D0580087679F}" destId="{4DAF061B-F07E-4BF6-926F-BDBF70B30CD2}" srcOrd="1" destOrd="0" presId="urn:microsoft.com/office/officeart/2005/8/layout/hList7"/>
    <dgm:cxn modelId="{4BA104E0-21F1-4243-B84B-B66604A0CACD}" type="presParOf" srcId="{4DAF061B-F07E-4BF6-926F-BDBF70B30CD2}" destId="{BB687556-2753-40E5-8142-4C8851FE5FE9}" srcOrd="0" destOrd="0" presId="urn:microsoft.com/office/officeart/2005/8/layout/hList7"/>
    <dgm:cxn modelId="{46628F75-FF22-4A8A-B87F-978A385E282D}" type="presParOf" srcId="{BB687556-2753-40E5-8142-4C8851FE5FE9}" destId="{96FFD16A-0F7A-487C-8243-5ECAB2F6721B}" srcOrd="0" destOrd="0" presId="urn:microsoft.com/office/officeart/2005/8/layout/hList7"/>
    <dgm:cxn modelId="{6E289203-07D1-4F20-A797-4340949284D0}" type="presParOf" srcId="{BB687556-2753-40E5-8142-4C8851FE5FE9}" destId="{DBD9202A-2698-47AF-B484-E3C039BFC632}" srcOrd="1" destOrd="0" presId="urn:microsoft.com/office/officeart/2005/8/layout/hList7"/>
    <dgm:cxn modelId="{5322276F-DA5C-4726-895E-87E331FF3BD6}" type="presParOf" srcId="{BB687556-2753-40E5-8142-4C8851FE5FE9}" destId="{EBD3E675-E57C-4C82-A52A-A5AB3D577BC2}" srcOrd="2" destOrd="0" presId="urn:microsoft.com/office/officeart/2005/8/layout/hList7"/>
    <dgm:cxn modelId="{67FC4172-98DF-4A36-9EA8-5B8521F88DA7}" type="presParOf" srcId="{BB687556-2753-40E5-8142-4C8851FE5FE9}" destId="{5027FE3B-B09F-499E-9961-FC8E756117F2}" srcOrd="3" destOrd="0" presId="urn:microsoft.com/office/officeart/2005/8/layout/hList7"/>
    <dgm:cxn modelId="{66F69C88-5ED7-45F8-8495-A4D6812CB0C0}" type="presParOf" srcId="{4DAF061B-F07E-4BF6-926F-BDBF70B30CD2}" destId="{BDC941E5-1423-4145-83A6-0E823C10167D}" srcOrd="1" destOrd="0" presId="urn:microsoft.com/office/officeart/2005/8/layout/hList7"/>
    <dgm:cxn modelId="{5448CF44-494C-43CF-B1D9-8056399EA1F8}" type="presParOf" srcId="{4DAF061B-F07E-4BF6-926F-BDBF70B30CD2}" destId="{B11F2AE2-0C05-4D5F-BE53-EC9B04923757}" srcOrd="2" destOrd="0" presId="urn:microsoft.com/office/officeart/2005/8/layout/hList7"/>
    <dgm:cxn modelId="{A1204752-2EB1-4C15-BB8A-7D8F16BE14C6}" type="presParOf" srcId="{B11F2AE2-0C05-4D5F-BE53-EC9B04923757}" destId="{8AF6809C-A090-482B-ABD4-6DFC3020B87C}" srcOrd="0" destOrd="0" presId="urn:microsoft.com/office/officeart/2005/8/layout/hList7"/>
    <dgm:cxn modelId="{F7CEFD27-2A99-4AA6-8FAA-AF631B79487C}" type="presParOf" srcId="{B11F2AE2-0C05-4D5F-BE53-EC9B04923757}" destId="{F74B5C78-2D57-48F5-9C11-079934594C76}" srcOrd="1" destOrd="0" presId="urn:microsoft.com/office/officeart/2005/8/layout/hList7"/>
    <dgm:cxn modelId="{783B4174-4136-4A36-ACE5-D53E673F2B5B}" type="presParOf" srcId="{B11F2AE2-0C05-4D5F-BE53-EC9B04923757}" destId="{09E769DA-AB84-4669-A776-8FAE7EE34142}" srcOrd="2" destOrd="0" presId="urn:microsoft.com/office/officeart/2005/8/layout/hList7"/>
    <dgm:cxn modelId="{5DEDC555-5ECF-4B49-9CD5-81A6F2BB4BCD}" type="presParOf" srcId="{B11F2AE2-0C05-4D5F-BE53-EC9B04923757}" destId="{9112257A-5429-4CF6-95E9-ED60954212DF}" srcOrd="3" destOrd="0" presId="urn:microsoft.com/office/officeart/2005/8/layout/hList7"/>
    <dgm:cxn modelId="{A44604AE-D224-4FFE-A2C2-793217D56A76}" type="presParOf" srcId="{4DAF061B-F07E-4BF6-926F-BDBF70B30CD2}" destId="{4CD977F4-9B17-4D68-A1BF-9BB775C84ABF}" srcOrd="3" destOrd="0" presId="urn:microsoft.com/office/officeart/2005/8/layout/hList7"/>
    <dgm:cxn modelId="{9DB3D970-982E-46D7-93A3-274FA5ADEF8F}" type="presParOf" srcId="{4DAF061B-F07E-4BF6-926F-BDBF70B30CD2}" destId="{83BAA9EF-8CBD-4537-AA97-68DDC0172459}" srcOrd="4" destOrd="0" presId="urn:microsoft.com/office/officeart/2005/8/layout/hList7"/>
    <dgm:cxn modelId="{A2D26E5C-7B92-4FB9-95C4-6F8C63BFE496}" type="presParOf" srcId="{83BAA9EF-8CBD-4537-AA97-68DDC0172459}" destId="{7B3759C5-C2BB-462E-A1FB-CA198969D634}" srcOrd="0" destOrd="0" presId="urn:microsoft.com/office/officeart/2005/8/layout/hList7"/>
    <dgm:cxn modelId="{376D77F7-F630-4CD5-97D0-72B6070FCD06}" type="presParOf" srcId="{83BAA9EF-8CBD-4537-AA97-68DDC0172459}" destId="{87BA1665-F3B6-4868-8B21-9C0355C4E4CC}" srcOrd="1" destOrd="0" presId="urn:microsoft.com/office/officeart/2005/8/layout/hList7"/>
    <dgm:cxn modelId="{7BB36376-EF75-4B79-8344-15AD22A6F2BE}" type="presParOf" srcId="{83BAA9EF-8CBD-4537-AA97-68DDC0172459}" destId="{3121AD90-C443-4BA0-B88C-5FFA25FCF9BD}" srcOrd="2" destOrd="0" presId="urn:microsoft.com/office/officeart/2005/8/layout/hList7"/>
    <dgm:cxn modelId="{F31E17C5-4F4C-4D47-8BD8-9EDE2CFB9582}" type="presParOf" srcId="{83BAA9EF-8CBD-4537-AA97-68DDC0172459}" destId="{A1E3E9B6-F773-4896-8244-6B138003BDA4}" srcOrd="3" destOrd="0" presId="urn:microsoft.com/office/officeart/2005/8/layout/hList7"/>
    <dgm:cxn modelId="{048C4699-D7AE-4EDB-9549-2FD5D8726452}" type="presParOf" srcId="{4DAF061B-F07E-4BF6-926F-BDBF70B30CD2}" destId="{8DA5A2F9-7BD6-4A89-865F-EDE84F6F09A2}" srcOrd="5" destOrd="0" presId="urn:microsoft.com/office/officeart/2005/8/layout/hList7"/>
    <dgm:cxn modelId="{C8366F67-E318-4BAA-88FA-CD63454E72AD}" type="presParOf" srcId="{4DAF061B-F07E-4BF6-926F-BDBF70B30CD2}" destId="{6706AC8A-D5E3-4980-9758-B7F855CC39FC}" srcOrd="6" destOrd="0" presId="urn:microsoft.com/office/officeart/2005/8/layout/hList7"/>
    <dgm:cxn modelId="{EE8F83A5-A710-4E2D-B833-7BCD80B7F5BE}" type="presParOf" srcId="{6706AC8A-D5E3-4980-9758-B7F855CC39FC}" destId="{CCAB7BC0-C059-48FC-920D-22B72179EC61}" srcOrd="0" destOrd="0" presId="urn:microsoft.com/office/officeart/2005/8/layout/hList7"/>
    <dgm:cxn modelId="{FC9395B6-EEFB-4305-A6B8-5E36AAF0E4D2}" type="presParOf" srcId="{6706AC8A-D5E3-4980-9758-B7F855CC39FC}" destId="{E2E1F8BA-D8E6-4E58-BA5A-90E22E25431D}" srcOrd="1" destOrd="0" presId="urn:microsoft.com/office/officeart/2005/8/layout/hList7"/>
    <dgm:cxn modelId="{EEB668B4-5B58-4925-A713-C09493D652F3}" type="presParOf" srcId="{6706AC8A-D5E3-4980-9758-B7F855CC39FC}" destId="{F79BDD4F-C6E8-470A-8EB9-4F8A80460818}" srcOrd="2" destOrd="0" presId="urn:microsoft.com/office/officeart/2005/8/layout/hList7"/>
    <dgm:cxn modelId="{514D3D85-EECA-48DE-A325-4D4CFEB15453}" type="presParOf" srcId="{6706AC8A-D5E3-4980-9758-B7F855CC39FC}" destId="{C1F125AF-A4C9-4ECA-8273-EC2F304C15E1}"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136C4C7A-4EDF-4B71-A2F2-CA092757910E}" type="doc">
      <dgm:prSet loTypeId="urn:microsoft.com/office/officeart/2005/8/layout/pyramid2" loCatId="pyramid" qsTypeId="urn:microsoft.com/office/officeart/2005/8/quickstyle/simple1" qsCatId="simple" csTypeId="urn:microsoft.com/office/officeart/2005/8/colors/colorful1" csCatId="colorful" phldr="1"/>
      <dgm:spPr/>
      <dgm:t>
        <a:bodyPr/>
        <a:lstStyle/>
        <a:p>
          <a:endParaRPr lang="nl-NL"/>
        </a:p>
      </dgm:t>
    </dgm:pt>
    <dgm:pt modelId="{EB425D40-EB54-4DBA-A65E-C23D6F051913}">
      <dgm:prSet custT="1"/>
      <dgm:spPr/>
      <dgm:t>
        <a:bodyPr/>
        <a:lstStyle/>
        <a:p>
          <a:r>
            <a:rPr lang="en-US" sz="1400" kern="1200" dirty="0">
              <a:solidFill>
                <a:srgbClr val="000000">
                  <a:hueOff val="0"/>
                  <a:satOff val="0"/>
                  <a:lumOff val="0"/>
                  <a:alphaOff val="0"/>
                </a:srgbClr>
              </a:solidFill>
              <a:latin typeface="Verdana"/>
              <a:ea typeface="+mn-ea"/>
              <a:cs typeface="+mn-cs"/>
            </a:rPr>
            <a:t>API Name</a:t>
          </a:r>
          <a:endParaRPr lang="nl-NL" sz="1400" kern="1200" dirty="0">
            <a:solidFill>
              <a:srgbClr val="000000">
                <a:hueOff val="0"/>
                <a:satOff val="0"/>
                <a:lumOff val="0"/>
                <a:alphaOff val="0"/>
              </a:srgbClr>
            </a:solidFill>
            <a:latin typeface="Verdana"/>
            <a:ea typeface="+mn-ea"/>
            <a:cs typeface="+mn-cs"/>
          </a:endParaRPr>
        </a:p>
      </dgm:t>
    </dgm:pt>
    <dgm:pt modelId="{A8CD0161-AEDF-4CCD-97C2-5B695DC9EE1D}" type="parTrans" cxnId="{92AA1AE0-79D4-4FD3-BC21-7DC3F9B048D0}">
      <dgm:prSet/>
      <dgm:spPr/>
      <dgm:t>
        <a:bodyPr/>
        <a:lstStyle/>
        <a:p>
          <a:endParaRPr lang="nl-NL"/>
        </a:p>
      </dgm:t>
    </dgm:pt>
    <dgm:pt modelId="{7E9C0C4D-AC9D-48A3-8EC3-C3BF4D09DA96}" type="sibTrans" cxnId="{92AA1AE0-79D4-4FD3-BC21-7DC3F9B048D0}">
      <dgm:prSet/>
      <dgm:spPr/>
      <dgm:t>
        <a:bodyPr/>
        <a:lstStyle/>
        <a:p>
          <a:endParaRPr lang="nl-NL"/>
        </a:p>
      </dgm:t>
    </dgm:pt>
    <dgm:pt modelId="{83185D2E-0CD7-4E2E-AA1F-39FDDAE6A21D}">
      <dgm:prSet custT="1"/>
      <dgm:spPr/>
      <dgm:t>
        <a:bodyPr/>
        <a:lstStyle/>
        <a:p>
          <a:r>
            <a:rPr lang="en-US" sz="1400" dirty="0"/>
            <a:t>Proxy revision </a:t>
          </a:r>
          <a:endParaRPr lang="nl-NL" sz="1400" dirty="0"/>
        </a:p>
      </dgm:t>
    </dgm:pt>
    <dgm:pt modelId="{621CFBE9-7F08-4BB8-8A4E-399005C1231F}" type="parTrans" cxnId="{A66C4E6C-D832-47B1-A570-E9FDAB7A7645}">
      <dgm:prSet/>
      <dgm:spPr/>
      <dgm:t>
        <a:bodyPr/>
        <a:lstStyle/>
        <a:p>
          <a:endParaRPr lang="nl-NL"/>
        </a:p>
      </dgm:t>
    </dgm:pt>
    <dgm:pt modelId="{A5C5FD5E-F610-458D-BA0D-2DDB78F9E06C}" type="sibTrans" cxnId="{A66C4E6C-D832-47B1-A570-E9FDAB7A7645}">
      <dgm:prSet/>
      <dgm:spPr/>
      <dgm:t>
        <a:bodyPr/>
        <a:lstStyle/>
        <a:p>
          <a:endParaRPr lang="nl-NL"/>
        </a:p>
      </dgm:t>
    </dgm:pt>
    <dgm:pt modelId="{96013BD5-2AF8-4C75-9339-21211B3C3775}">
      <dgm:prSet custT="1"/>
      <dgm:spPr/>
      <dgm:t>
        <a:bodyPr/>
        <a:lstStyle/>
        <a:p>
          <a:r>
            <a:rPr lang="en-US" sz="1400" dirty="0"/>
            <a:t>The inbound and outbound target path</a:t>
          </a:r>
          <a:endParaRPr lang="nl-NL" sz="1400" dirty="0"/>
        </a:p>
      </dgm:t>
    </dgm:pt>
    <dgm:pt modelId="{525722BF-D898-46D3-B13C-3B856B56A534}" type="parTrans" cxnId="{1CB10FC5-78FC-4576-A245-8F6BC08BBDC1}">
      <dgm:prSet/>
      <dgm:spPr/>
      <dgm:t>
        <a:bodyPr/>
        <a:lstStyle/>
        <a:p>
          <a:endParaRPr lang="nl-NL"/>
        </a:p>
      </dgm:t>
    </dgm:pt>
    <dgm:pt modelId="{79AEA88D-0571-482A-9241-98BBCE908CDB}" type="sibTrans" cxnId="{1CB10FC5-78FC-4576-A245-8F6BC08BBDC1}">
      <dgm:prSet/>
      <dgm:spPr/>
      <dgm:t>
        <a:bodyPr/>
        <a:lstStyle/>
        <a:p>
          <a:endParaRPr lang="nl-NL"/>
        </a:p>
      </dgm:t>
    </dgm:pt>
    <dgm:pt modelId="{2CDE5A01-42FB-4D61-AD72-CEF567A07C34}">
      <dgm:prSet custT="1"/>
      <dgm:spPr/>
      <dgm:t>
        <a:bodyPr/>
        <a:lstStyle/>
        <a:p>
          <a:r>
            <a:rPr lang="en-US" sz="1400" dirty="0"/>
            <a:t>HTTP Operations</a:t>
          </a:r>
          <a:endParaRPr lang="nl-NL" sz="1400" dirty="0"/>
        </a:p>
      </dgm:t>
    </dgm:pt>
    <dgm:pt modelId="{1229B9D0-0BF5-4D6E-9F1E-73BF2EB02A01}" type="parTrans" cxnId="{9C7D82A9-81A1-41FD-A9EC-108D50CA8D9B}">
      <dgm:prSet/>
      <dgm:spPr/>
      <dgm:t>
        <a:bodyPr/>
        <a:lstStyle/>
        <a:p>
          <a:endParaRPr lang="nl-NL"/>
        </a:p>
      </dgm:t>
    </dgm:pt>
    <dgm:pt modelId="{B719208F-F147-46F5-AA19-E3844102F12D}" type="sibTrans" cxnId="{9C7D82A9-81A1-41FD-A9EC-108D50CA8D9B}">
      <dgm:prSet/>
      <dgm:spPr/>
      <dgm:t>
        <a:bodyPr/>
        <a:lstStyle/>
        <a:p>
          <a:endParaRPr lang="nl-NL"/>
        </a:p>
      </dgm:t>
    </dgm:pt>
    <dgm:pt modelId="{626DB419-E9CD-4CEB-B563-8A6ABA4CFC62}">
      <dgm:prSet custT="1"/>
      <dgm:spPr/>
      <dgm:t>
        <a:bodyPr/>
        <a:lstStyle/>
        <a:p>
          <a:r>
            <a:rPr lang="en-US" sz="1400" dirty="0"/>
            <a:t>Security Details</a:t>
          </a:r>
          <a:endParaRPr lang="nl-NL" sz="1400" dirty="0"/>
        </a:p>
      </dgm:t>
    </dgm:pt>
    <dgm:pt modelId="{414BD716-549C-4FB6-A877-256081ADEAC8}" type="parTrans" cxnId="{0E540181-9E32-4A0A-8191-59ED67369D09}">
      <dgm:prSet/>
      <dgm:spPr/>
      <dgm:t>
        <a:bodyPr/>
        <a:lstStyle/>
        <a:p>
          <a:endParaRPr lang="nl-NL"/>
        </a:p>
      </dgm:t>
    </dgm:pt>
    <dgm:pt modelId="{22AA6B27-27F1-4662-8E89-7B136F6E456A}" type="sibTrans" cxnId="{0E540181-9E32-4A0A-8191-59ED67369D09}">
      <dgm:prSet/>
      <dgm:spPr/>
      <dgm:t>
        <a:bodyPr/>
        <a:lstStyle/>
        <a:p>
          <a:endParaRPr lang="nl-NL"/>
        </a:p>
      </dgm:t>
    </dgm:pt>
    <dgm:pt modelId="{35C9449D-8AD7-449E-8211-9E21EA3BC227}">
      <dgm:prSet custT="1"/>
      <dgm:spPr/>
      <dgm:t>
        <a:bodyPr/>
        <a:lstStyle/>
        <a:p>
          <a:r>
            <a:rPr lang="en-US" sz="1400" dirty="0"/>
            <a:t>CROS configuration</a:t>
          </a:r>
          <a:endParaRPr lang="nl-NL" sz="1400" dirty="0"/>
        </a:p>
      </dgm:t>
    </dgm:pt>
    <dgm:pt modelId="{88978F35-D97B-4942-B674-5CC66DDB7A97}" type="parTrans" cxnId="{6A7EEF96-3C9A-44A6-810A-49DDE6C3C83D}">
      <dgm:prSet/>
      <dgm:spPr/>
      <dgm:t>
        <a:bodyPr/>
        <a:lstStyle/>
        <a:p>
          <a:endParaRPr lang="nl-NL"/>
        </a:p>
      </dgm:t>
    </dgm:pt>
    <dgm:pt modelId="{A83163BE-BE4B-4F35-8DA0-D009E6140177}" type="sibTrans" cxnId="{6A7EEF96-3C9A-44A6-810A-49DDE6C3C83D}">
      <dgm:prSet/>
      <dgm:spPr/>
      <dgm:t>
        <a:bodyPr/>
        <a:lstStyle/>
        <a:p>
          <a:endParaRPr lang="nl-NL"/>
        </a:p>
      </dgm:t>
    </dgm:pt>
    <dgm:pt modelId="{18092A41-D3A6-417D-9F84-C52860EBA6D8}">
      <dgm:prSet custT="1"/>
      <dgm:spPr/>
      <dgm:t>
        <a:bodyPr/>
        <a:lstStyle/>
        <a:p>
          <a:r>
            <a:rPr lang="en-US" sz="1400" dirty="0"/>
            <a:t>Traffic management policies </a:t>
          </a:r>
          <a:endParaRPr lang="nl-NL" sz="1400" dirty="0"/>
        </a:p>
      </dgm:t>
    </dgm:pt>
    <dgm:pt modelId="{488D50F7-67D1-4007-89F2-F764329B99B7}" type="parTrans" cxnId="{75C45E60-A6A4-4E4B-887F-D90D8B4BC589}">
      <dgm:prSet/>
      <dgm:spPr/>
      <dgm:t>
        <a:bodyPr/>
        <a:lstStyle/>
        <a:p>
          <a:endParaRPr lang="nl-NL"/>
        </a:p>
      </dgm:t>
    </dgm:pt>
    <dgm:pt modelId="{FD76E62B-C544-4285-9170-32C2EB2F8B16}" type="sibTrans" cxnId="{75C45E60-A6A4-4E4B-887F-D90D8B4BC589}">
      <dgm:prSet/>
      <dgm:spPr/>
      <dgm:t>
        <a:bodyPr/>
        <a:lstStyle/>
        <a:p>
          <a:endParaRPr lang="nl-NL"/>
        </a:p>
      </dgm:t>
    </dgm:pt>
    <dgm:pt modelId="{86A63665-3D89-412D-AB58-8467245586B3}">
      <dgm:prSet custT="1"/>
      <dgm:spPr/>
      <dgm:t>
        <a:bodyPr/>
        <a:lstStyle/>
        <a:p>
          <a:r>
            <a:rPr lang="en-US" sz="1400" dirty="0"/>
            <a:t>Transformation policies </a:t>
          </a:r>
          <a:endParaRPr lang="nl-NL" sz="1400" dirty="0"/>
        </a:p>
      </dgm:t>
    </dgm:pt>
    <dgm:pt modelId="{74A5402A-8FB1-485A-9E87-9C2EA691CE56}" type="parTrans" cxnId="{9195AFB1-0228-4AE9-8EDA-E59BF5F06994}">
      <dgm:prSet/>
      <dgm:spPr/>
      <dgm:t>
        <a:bodyPr/>
        <a:lstStyle/>
        <a:p>
          <a:endParaRPr lang="nl-NL"/>
        </a:p>
      </dgm:t>
    </dgm:pt>
    <dgm:pt modelId="{7E557A6D-3BDA-4971-BEF4-95C2C1E71C46}" type="sibTrans" cxnId="{9195AFB1-0228-4AE9-8EDA-E59BF5F06994}">
      <dgm:prSet/>
      <dgm:spPr/>
      <dgm:t>
        <a:bodyPr/>
        <a:lstStyle/>
        <a:p>
          <a:endParaRPr lang="nl-NL"/>
        </a:p>
      </dgm:t>
    </dgm:pt>
    <dgm:pt modelId="{CE27996D-88BC-4916-88B4-CAFE02FFE867}">
      <dgm:prSet custT="1"/>
      <dgm:spPr/>
      <dgm:t>
        <a:bodyPr/>
        <a:lstStyle/>
        <a:p>
          <a:r>
            <a:rPr lang="en-US" sz="1400" dirty="0"/>
            <a:t>Mediation policies </a:t>
          </a:r>
          <a:endParaRPr lang="nl-NL" sz="1400" dirty="0"/>
        </a:p>
      </dgm:t>
    </dgm:pt>
    <dgm:pt modelId="{E3AD6F46-3A89-4D95-B381-82517E5C363F}" type="parTrans" cxnId="{5F68FCC5-8B60-486C-B130-1F0754B1E523}">
      <dgm:prSet/>
      <dgm:spPr/>
      <dgm:t>
        <a:bodyPr/>
        <a:lstStyle/>
        <a:p>
          <a:endParaRPr lang="nl-NL"/>
        </a:p>
      </dgm:t>
    </dgm:pt>
    <dgm:pt modelId="{71130981-221A-4616-AC8C-CB9BAF197533}" type="sibTrans" cxnId="{5F68FCC5-8B60-486C-B130-1F0754B1E523}">
      <dgm:prSet/>
      <dgm:spPr/>
      <dgm:t>
        <a:bodyPr/>
        <a:lstStyle/>
        <a:p>
          <a:endParaRPr lang="nl-NL"/>
        </a:p>
      </dgm:t>
    </dgm:pt>
    <dgm:pt modelId="{CF20F969-1796-4BA9-82DD-68DD1B0BBF2F}">
      <dgm:prSet custT="1"/>
      <dgm:spPr/>
      <dgm:t>
        <a:bodyPr/>
        <a:lstStyle/>
        <a:p>
          <a:r>
            <a:rPr lang="en-US" sz="1400" dirty="0"/>
            <a:t>Cache policies</a:t>
          </a:r>
          <a:endParaRPr lang="nl-NL" sz="1400" dirty="0"/>
        </a:p>
      </dgm:t>
    </dgm:pt>
    <dgm:pt modelId="{D6F43BC0-8381-4F05-B4C0-B7AD524686FD}" type="parTrans" cxnId="{65DE0D68-9855-4B78-80F6-F9662726387E}">
      <dgm:prSet/>
      <dgm:spPr/>
      <dgm:t>
        <a:bodyPr/>
        <a:lstStyle/>
        <a:p>
          <a:endParaRPr lang="nl-NL"/>
        </a:p>
      </dgm:t>
    </dgm:pt>
    <dgm:pt modelId="{ED7C3510-CD79-487D-BAF8-55F64769DF5F}" type="sibTrans" cxnId="{65DE0D68-9855-4B78-80F6-F9662726387E}">
      <dgm:prSet/>
      <dgm:spPr/>
      <dgm:t>
        <a:bodyPr/>
        <a:lstStyle/>
        <a:p>
          <a:endParaRPr lang="nl-NL"/>
        </a:p>
      </dgm:t>
    </dgm:pt>
    <dgm:pt modelId="{52E6773E-5919-41CA-A4F2-07F5332CA17C}">
      <dgm:prSet custT="1"/>
      <dgm:spPr/>
      <dgm:t>
        <a:bodyPr/>
        <a:lstStyle/>
        <a:p>
          <a:r>
            <a:rPr lang="en-US" sz="1400" dirty="0"/>
            <a:t>Extension policies </a:t>
          </a:r>
          <a:endParaRPr lang="nl-NL" sz="1400" dirty="0"/>
        </a:p>
      </dgm:t>
    </dgm:pt>
    <dgm:pt modelId="{90236DBB-1EEC-4EB7-8004-3FE17B0D553A}" type="parTrans" cxnId="{6E4B1654-CC08-49F5-B23B-869D62DEF8AE}">
      <dgm:prSet/>
      <dgm:spPr/>
      <dgm:t>
        <a:bodyPr/>
        <a:lstStyle/>
        <a:p>
          <a:endParaRPr lang="nl-NL"/>
        </a:p>
      </dgm:t>
    </dgm:pt>
    <dgm:pt modelId="{076AB88C-538A-4974-8F17-2CB257D27193}" type="sibTrans" cxnId="{6E4B1654-CC08-49F5-B23B-869D62DEF8AE}">
      <dgm:prSet/>
      <dgm:spPr/>
      <dgm:t>
        <a:bodyPr/>
        <a:lstStyle/>
        <a:p>
          <a:endParaRPr lang="nl-NL"/>
        </a:p>
      </dgm:t>
    </dgm:pt>
    <dgm:pt modelId="{6944ABCC-9756-42B4-A6A0-37148A7DF9C0}">
      <dgm:prSet custT="1"/>
      <dgm:spPr/>
      <dgm:t>
        <a:bodyPr/>
        <a:lstStyle/>
        <a:p>
          <a:pPr marL="0" lvl="0" indent="0" algn="ctr" defTabSz="622300">
            <a:lnSpc>
              <a:spcPct val="90000"/>
            </a:lnSpc>
            <a:spcBef>
              <a:spcPct val="0"/>
            </a:spcBef>
            <a:spcAft>
              <a:spcPct val="35000"/>
            </a:spcAft>
            <a:buNone/>
          </a:pPr>
          <a:r>
            <a:rPr lang="en-US" sz="1400" kern="1200" dirty="0">
              <a:solidFill>
                <a:srgbClr val="000000">
                  <a:hueOff val="0"/>
                  <a:satOff val="0"/>
                  <a:lumOff val="0"/>
                  <a:alphaOff val="0"/>
                </a:srgbClr>
              </a:solidFill>
              <a:latin typeface="Verdana"/>
              <a:ea typeface="+mn-ea"/>
              <a:cs typeface="+mn-cs"/>
            </a:rPr>
            <a:t>Plan Name and their associated services </a:t>
          </a:r>
          <a:endParaRPr lang="nl-NL" sz="1400" kern="1200" dirty="0">
            <a:solidFill>
              <a:srgbClr val="000000">
                <a:hueOff val="0"/>
                <a:satOff val="0"/>
                <a:lumOff val="0"/>
                <a:alphaOff val="0"/>
              </a:srgbClr>
            </a:solidFill>
            <a:latin typeface="Verdana"/>
            <a:ea typeface="+mn-ea"/>
            <a:cs typeface="+mn-cs"/>
          </a:endParaRPr>
        </a:p>
      </dgm:t>
    </dgm:pt>
    <dgm:pt modelId="{13FD93B4-70EE-41F8-A701-B865EF7B518B}" type="parTrans" cxnId="{FB4A85ED-51CE-4269-BD53-326F63194BCF}">
      <dgm:prSet/>
      <dgm:spPr/>
      <dgm:t>
        <a:bodyPr/>
        <a:lstStyle/>
        <a:p>
          <a:endParaRPr lang="nl-NL"/>
        </a:p>
      </dgm:t>
    </dgm:pt>
    <dgm:pt modelId="{760A90D1-73A7-475B-8251-80038A476439}" type="sibTrans" cxnId="{FB4A85ED-51CE-4269-BD53-326F63194BCF}">
      <dgm:prSet/>
      <dgm:spPr/>
      <dgm:t>
        <a:bodyPr/>
        <a:lstStyle/>
        <a:p>
          <a:endParaRPr lang="nl-NL"/>
        </a:p>
      </dgm:t>
    </dgm:pt>
    <dgm:pt modelId="{3B83E703-A2E8-4078-9F59-A425829357BF}">
      <dgm:prSet custT="1"/>
      <dgm:spPr/>
      <dgm:t>
        <a:bodyPr/>
        <a:lstStyle/>
        <a:p>
          <a:r>
            <a:rPr lang="en-US" sz="1400" dirty="0"/>
            <a:t>Communication details </a:t>
          </a:r>
          <a:endParaRPr lang="nl-NL" sz="1400" dirty="0"/>
        </a:p>
      </dgm:t>
    </dgm:pt>
    <dgm:pt modelId="{52E205A0-022D-47C0-A2C3-5C94DE714D7B}" type="parTrans" cxnId="{38712347-80FC-4A9F-A81F-4371AFD78791}">
      <dgm:prSet/>
      <dgm:spPr/>
      <dgm:t>
        <a:bodyPr/>
        <a:lstStyle/>
        <a:p>
          <a:endParaRPr lang="nl-NL"/>
        </a:p>
      </dgm:t>
    </dgm:pt>
    <dgm:pt modelId="{C84DE0DE-E3BA-4714-BF37-D615856924C0}" type="sibTrans" cxnId="{38712347-80FC-4A9F-A81F-4371AFD78791}">
      <dgm:prSet/>
      <dgm:spPr/>
      <dgm:t>
        <a:bodyPr/>
        <a:lstStyle/>
        <a:p>
          <a:endParaRPr lang="nl-NL"/>
        </a:p>
      </dgm:t>
    </dgm:pt>
    <dgm:pt modelId="{8E27DC54-93A8-46B6-B85A-BB32D47E66AB}" type="pres">
      <dgm:prSet presAssocID="{136C4C7A-4EDF-4B71-A2F2-CA092757910E}" presName="compositeShape" presStyleCnt="0">
        <dgm:presLayoutVars>
          <dgm:dir/>
          <dgm:resizeHandles/>
        </dgm:presLayoutVars>
      </dgm:prSet>
      <dgm:spPr/>
    </dgm:pt>
    <dgm:pt modelId="{EA4D9623-4BBA-46EA-B48C-EFACCA8974E8}" type="pres">
      <dgm:prSet presAssocID="{136C4C7A-4EDF-4B71-A2F2-CA092757910E}" presName="pyramid" presStyleLbl="node1" presStyleIdx="0" presStyleCnt="1"/>
      <dgm:spPr/>
    </dgm:pt>
    <dgm:pt modelId="{F0CEB83E-3856-46AD-A3C6-3538BD1DF38C}" type="pres">
      <dgm:prSet presAssocID="{136C4C7A-4EDF-4B71-A2F2-CA092757910E}" presName="theList" presStyleCnt="0"/>
      <dgm:spPr/>
    </dgm:pt>
    <dgm:pt modelId="{CD09D773-E1C6-44BB-BF20-A4035836B0CE}" type="pres">
      <dgm:prSet presAssocID="{EB425D40-EB54-4DBA-A65E-C23D6F051913}" presName="aNode" presStyleLbl="fgAcc1" presStyleIdx="0" presStyleCnt="13">
        <dgm:presLayoutVars>
          <dgm:bulletEnabled val="1"/>
        </dgm:presLayoutVars>
      </dgm:prSet>
      <dgm:spPr/>
    </dgm:pt>
    <dgm:pt modelId="{7F4A2D41-CCAB-482A-9153-6614EEC4AC69}" type="pres">
      <dgm:prSet presAssocID="{EB425D40-EB54-4DBA-A65E-C23D6F051913}" presName="aSpace" presStyleCnt="0"/>
      <dgm:spPr/>
    </dgm:pt>
    <dgm:pt modelId="{BC57E02B-AB42-4FAD-9D35-1BC6D0AC9BBF}" type="pres">
      <dgm:prSet presAssocID="{83185D2E-0CD7-4E2E-AA1F-39FDDAE6A21D}" presName="aNode" presStyleLbl="fgAcc1" presStyleIdx="1" presStyleCnt="13">
        <dgm:presLayoutVars>
          <dgm:bulletEnabled val="1"/>
        </dgm:presLayoutVars>
      </dgm:prSet>
      <dgm:spPr/>
    </dgm:pt>
    <dgm:pt modelId="{27601F08-2FDC-4FD5-9C41-64934778C351}" type="pres">
      <dgm:prSet presAssocID="{83185D2E-0CD7-4E2E-AA1F-39FDDAE6A21D}" presName="aSpace" presStyleCnt="0"/>
      <dgm:spPr/>
    </dgm:pt>
    <dgm:pt modelId="{B061420B-5117-44FC-9F03-D147F889CE71}" type="pres">
      <dgm:prSet presAssocID="{96013BD5-2AF8-4C75-9339-21211B3C3775}" presName="aNode" presStyleLbl="fgAcc1" presStyleIdx="2" presStyleCnt="13" custScaleY="175511">
        <dgm:presLayoutVars>
          <dgm:bulletEnabled val="1"/>
        </dgm:presLayoutVars>
      </dgm:prSet>
      <dgm:spPr/>
    </dgm:pt>
    <dgm:pt modelId="{81368A22-435A-4D3E-8820-5332F6BA7139}" type="pres">
      <dgm:prSet presAssocID="{96013BD5-2AF8-4C75-9339-21211B3C3775}" presName="aSpace" presStyleCnt="0"/>
      <dgm:spPr/>
    </dgm:pt>
    <dgm:pt modelId="{B56BDB53-C19D-4173-8546-7462AB8F8AE1}" type="pres">
      <dgm:prSet presAssocID="{2CDE5A01-42FB-4D61-AD72-CEF567A07C34}" presName="aNode" presStyleLbl="fgAcc1" presStyleIdx="3" presStyleCnt="13">
        <dgm:presLayoutVars>
          <dgm:bulletEnabled val="1"/>
        </dgm:presLayoutVars>
      </dgm:prSet>
      <dgm:spPr/>
    </dgm:pt>
    <dgm:pt modelId="{A2D56CD7-59BB-467F-87DE-8A50210DB785}" type="pres">
      <dgm:prSet presAssocID="{2CDE5A01-42FB-4D61-AD72-CEF567A07C34}" presName="aSpace" presStyleCnt="0"/>
      <dgm:spPr/>
    </dgm:pt>
    <dgm:pt modelId="{38BCF966-0A01-4AD8-9735-29A6A5C54DD1}" type="pres">
      <dgm:prSet presAssocID="{626DB419-E9CD-4CEB-B563-8A6ABA4CFC62}" presName="aNode" presStyleLbl="fgAcc1" presStyleIdx="4" presStyleCnt="13">
        <dgm:presLayoutVars>
          <dgm:bulletEnabled val="1"/>
        </dgm:presLayoutVars>
      </dgm:prSet>
      <dgm:spPr/>
    </dgm:pt>
    <dgm:pt modelId="{184AC06C-9CC0-4CDA-9220-16D608644D39}" type="pres">
      <dgm:prSet presAssocID="{626DB419-E9CD-4CEB-B563-8A6ABA4CFC62}" presName="aSpace" presStyleCnt="0"/>
      <dgm:spPr/>
    </dgm:pt>
    <dgm:pt modelId="{88BC8BC4-1645-4D77-877E-3AB40DB50BBA}" type="pres">
      <dgm:prSet presAssocID="{35C9449D-8AD7-449E-8211-9E21EA3BC227}" presName="aNode" presStyleLbl="fgAcc1" presStyleIdx="5" presStyleCnt="13">
        <dgm:presLayoutVars>
          <dgm:bulletEnabled val="1"/>
        </dgm:presLayoutVars>
      </dgm:prSet>
      <dgm:spPr/>
    </dgm:pt>
    <dgm:pt modelId="{BE4B0412-C230-4401-99CA-1D00963F482B}" type="pres">
      <dgm:prSet presAssocID="{35C9449D-8AD7-449E-8211-9E21EA3BC227}" presName="aSpace" presStyleCnt="0"/>
      <dgm:spPr/>
    </dgm:pt>
    <dgm:pt modelId="{D229F20F-5A3E-4247-A1B7-9DCEB770CB3B}" type="pres">
      <dgm:prSet presAssocID="{18092A41-D3A6-417D-9F84-C52860EBA6D8}" presName="aNode" presStyleLbl="fgAcc1" presStyleIdx="6" presStyleCnt="13">
        <dgm:presLayoutVars>
          <dgm:bulletEnabled val="1"/>
        </dgm:presLayoutVars>
      </dgm:prSet>
      <dgm:spPr/>
    </dgm:pt>
    <dgm:pt modelId="{A4A401A5-A8D6-4D94-8AD1-96F2D5937F5D}" type="pres">
      <dgm:prSet presAssocID="{18092A41-D3A6-417D-9F84-C52860EBA6D8}" presName="aSpace" presStyleCnt="0"/>
      <dgm:spPr/>
    </dgm:pt>
    <dgm:pt modelId="{CDB906D3-FD2D-4C15-8D73-D9DF21E10FE8}" type="pres">
      <dgm:prSet presAssocID="{86A63665-3D89-412D-AB58-8467245586B3}" presName="aNode" presStyleLbl="fgAcc1" presStyleIdx="7" presStyleCnt="13">
        <dgm:presLayoutVars>
          <dgm:bulletEnabled val="1"/>
        </dgm:presLayoutVars>
      </dgm:prSet>
      <dgm:spPr/>
    </dgm:pt>
    <dgm:pt modelId="{45C9C0D5-5E38-4451-9355-D9D832B2D546}" type="pres">
      <dgm:prSet presAssocID="{86A63665-3D89-412D-AB58-8467245586B3}" presName="aSpace" presStyleCnt="0"/>
      <dgm:spPr/>
    </dgm:pt>
    <dgm:pt modelId="{2B0F27DD-8647-4B08-938E-53EB7FA9AAAB}" type="pres">
      <dgm:prSet presAssocID="{CE27996D-88BC-4916-88B4-CAFE02FFE867}" presName="aNode" presStyleLbl="fgAcc1" presStyleIdx="8" presStyleCnt="13">
        <dgm:presLayoutVars>
          <dgm:bulletEnabled val="1"/>
        </dgm:presLayoutVars>
      </dgm:prSet>
      <dgm:spPr/>
    </dgm:pt>
    <dgm:pt modelId="{BD1D3A7B-F540-4172-92E7-835F6A2EA2BF}" type="pres">
      <dgm:prSet presAssocID="{CE27996D-88BC-4916-88B4-CAFE02FFE867}" presName="aSpace" presStyleCnt="0"/>
      <dgm:spPr/>
    </dgm:pt>
    <dgm:pt modelId="{BB3F5436-BABD-4CA6-A757-44EF22F155D4}" type="pres">
      <dgm:prSet presAssocID="{CF20F969-1796-4BA9-82DD-68DD1B0BBF2F}" presName="aNode" presStyleLbl="fgAcc1" presStyleIdx="9" presStyleCnt="13">
        <dgm:presLayoutVars>
          <dgm:bulletEnabled val="1"/>
        </dgm:presLayoutVars>
      </dgm:prSet>
      <dgm:spPr/>
    </dgm:pt>
    <dgm:pt modelId="{04E3940F-B285-4BBD-91A1-D2F1E9727D27}" type="pres">
      <dgm:prSet presAssocID="{CF20F969-1796-4BA9-82DD-68DD1B0BBF2F}" presName="aSpace" presStyleCnt="0"/>
      <dgm:spPr/>
    </dgm:pt>
    <dgm:pt modelId="{D046C90A-FEF3-476F-9558-1DA5FDDC4A78}" type="pres">
      <dgm:prSet presAssocID="{52E6773E-5919-41CA-A4F2-07F5332CA17C}" presName="aNode" presStyleLbl="fgAcc1" presStyleIdx="10" presStyleCnt="13">
        <dgm:presLayoutVars>
          <dgm:bulletEnabled val="1"/>
        </dgm:presLayoutVars>
      </dgm:prSet>
      <dgm:spPr/>
    </dgm:pt>
    <dgm:pt modelId="{FFB1AAAE-606F-4728-B533-08DB4C6BA80B}" type="pres">
      <dgm:prSet presAssocID="{52E6773E-5919-41CA-A4F2-07F5332CA17C}" presName="aSpace" presStyleCnt="0"/>
      <dgm:spPr/>
    </dgm:pt>
    <dgm:pt modelId="{D2CA4251-EEAB-4120-A3CD-0C432FF32573}" type="pres">
      <dgm:prSet presAssocID="{6944ABCC-9756-42B4-A6A0-37148A7DF9C0}" presName="aNode" presStyleLbl="fgAcc1" presStyleIdx="11" presStyleCnt="13" custScaleY="202401">
        <dgm:presLayoutVars>
          <dgm:bulletEnabled val="1"/>
        </dgm:presLayoutVars>
      </dgm:prSet>
      <dgm:spPr/>
    </dgm:pt>
    <dgm:pt modelId="{ED52E114-AD90-47E5-B1EE-9FAD33035A28}" type="pres">
      <dgm:prSet presAssocID="{6944ABCC-9756-42B4-A6A0-37148A7DF9C0}" presName="aSpace" presStyleCnt="0"/>
      <dgm:spPr/>
    </dgm:pt>
    <dgm:pt modelId="{B729C06F-8002-4EDD-AD88-32CD38B91497}" type="pres">
      <dgm:prSet presAssocID="{3B83E703-A2E8-4078-9F59-A425829357BF}" presName="aNode" presStyleLbl="fgAcc1" presStyleIdx="12" presStyleCnt="13">
        <dgm:presLayoutVars>
          <dgm:bulletEnabled val="1"/>
        </dgm:presLayoutVars>
      </dgm:prSet>
      <dgm:spPr/>
    </dgm:pt>
    <dgm:pt modelId="{5BFCFC1F-78DA-455E-9B97-65584DB91C64}" type="pres">
      <dgm:prSet presAssocID="{3B83E703-A2E8-4078-9F59-A425829357BF}" presName="aSpace" presStyleCnt="0"/>
      <dgm:spPr/>
    </dgm:pt>
  </dgm:ptLst>
  <dgm:cxnLst>
    <dgm:cxn modelId="{79D1C51D-1CC7-4E2F-814A-42BA6027E871}" type="presOf" srcId="{18092A41-D3A6-417D-9F84-C52860EBA6D8}" destId="{D229F20F-5A3E-4247-A1B7-9DCEB770CB3B}" srcOrd="0" destOrd="0" presId="urn:microsoft.com/office/officeart/2005/8/layout/pyramid2"/>
    <dgm:cxn modelId="{D2414B20-DF5C-4E99-B587-BDAFF46EF98E}" type="presOf" srcId="{CE27996D-88BC-4916-88B4-CAFE02FFE867}" destId="{2B0F27DD-8647-4B08-938E-53EB7FA9AAAB}" srcOrd="0" destOrd="0" presId="urn:microsoft.com/office/officeart/2005/8/layout/pyramid2"/>
    <dgm:cxn modelId="{75C45E60-A6A4-4E4B-887F-D90D8B4BC589}" srcId="{136C4C7A-4EDF-4B71-A2F2-CA092757910E}" destId="{18092A41-D3A6-417D-9F84-C52860EBA6D8}" srcOrd="6" destOrd="0" parTransId="{488D50F7-67D1-4007-89F2-F764329B99B7}" sibTransId="{FD76E62B-C544-4285-9170-32C2EB2F8B16}"/>
    <dgm:cxn modelId="{38712347-80FC-4A9F-A81F-4371AFD78791}" srcId="{136C4C7A-4EDF-4B71-A2F2-CA092757910E}" destId="{3B83E703-A2E8-4078-9F59-A425829357BF}" srcOrd="12" destOrd="0" parTransId="{52E205A0-022D-47C0-A2C3-5C94DE714D7B}" sibTransId="{C84DE0DE-E3BA-4714-BF37-D615856924C0}"/>
    <dgm:cxn modelId="{65DE0D68-9855-4B78-80F6-F9662726387E}" srcId="{136C4C7A-4EDF-4B71-A2F2-CA092757910E}" destId="{CF20F969-1796-4BA9-82DD-68DD1B0BBF2F}" srcOrd="9" destOrd="0" parTransId="{D6F43BC0-8381-4F05-B4C0-B7AD524686FD}" sibTransId="{ED7C3510-CD79-487D-BAF8-55F64769DF5F}"/>
    <dgm:cxn modelId="{A66C4E6C-D832-47B1-A570-E9FDAB7A7645}" srcId="{136C4C7A-4EDF-4B71-A2F2-CA092757910E}" destId="{83185D2E-0CD7-4E2E-AA1F-39FDDAE6A21D}" srcOrd="1" destOrd="0" parTransId="{621CFBE9-7F08-4BB8-8A4E-399005C1231F}" sibTransId="{A5C5FD5E-F610-458D-BA0D-2DDB78F9E06C}"/>
    <dgm:cxn modelId="{0883D84D-5E0C-445F-9488-CC904D37BC49}" type="presOf" srcId="{83185D2E-0CD7-4E2E-AA1F-39FDDAE6A21D}" destId="{BC57E02B-AB42-4FAD-9D35-1BC6D0AC9BBF}" srcOrd="0" destOrd="0" presId="urn:microsoft.com/office/officeart/2005/8/layout/pyramid2"/>
    <dgm:cxn modelId="{6E4B1654-CC08-49F5-B23B-869D62DEF8AE}" srcId="{136C4C7A-4EDF-4B71-A2F2-CA092757910E}" destId="{52E6773E-5919-41CA-A4F2-07F5332CA17C}" srcOrd="10" destOrd="0" parTransId="{90236DBB-1EEC-4EB7-8004-3FE17B0D553A}" sibTransId="{076AB88C-538A-4974-8F17-2CB257D27193}"/>
    <dgm:cxn modelId="{A8B90D56-9B64-44BE-98D0-30A3D8A73352}" type="presOf" srcId="{6944ABCC-9756-42B4-A6A0-37148A7DF9C0}" destId="{D2CA4251-EEAB-4120-A3CD-0C432FF32573}" srcOrd="0" destOrd="0" presId="urn:microsoft.com/office/officeart/2005/8/layout/pyramid2"/>
    <dgm:cxn modelId="{54B1ED59-B5AA-40F0-92D2-DE671EFFCEFA}" type="presOf" srcId="{CF20F969-1796-4BA9-82DD-68DD1B0BBF2F}" destId="{BB3F5436-BABD-4CA6-A757-44EF22F155D4}" srcOrd="0" destOrd="0" presId="urn:microsoft.com/office/officeart/2005/8/layout/pyramid2"/>
    <dgm:cxn modelId="{0E540181-9E32-4A0A-8191-59ED67369D09}" srcId="{136C4C7A-4EDF-4B71-A2F2-CA092757910E}" destId="{626DB419-E9CD-4CEB-B563-8A6ABA4CFC62}" srcOrd="4" destOrd="0" parTransId="{414BD716-549C-4FB6-A877-256081ADEAC8}" sibTransId="{22AA6B27-27F1-4662-8E89-7B136F6E456A}"/>
    <dgm:cxn modelId="{6A7EEF96-3C9A-44A6-810A-49DDE6C3C83D}" srcId="{136C4C7A-4EDF-4B71-A2F2-CA092757910E}" destId="{35C9449D-8AD7-449E-8211-9E21EA3BC227}" srcOrd="5" destOrd="0" parTransId="{88978F35-D97B-4942-B674-5CC66DDB7A97}" sibTransId="{A83163BE-BE4B-4F35-8DA0-D009E6140177}"/>
    <dgm:cxn modelId="{DCA46B9A-568E-4456-9A84-6E492B4EB0D2}" type="presOf" srcId="{86A63665-3D89-412D-AB58-8467245586B3}" destId="{CDB906D3-FD2D-4C15-8D73-D9DF21E10FE8}" srcOrd="0" destOrd="0" presId="urn:microsoft.com/office/officeart/2005/8/layout/pyramid2"/>
    <dgm:cxn modelId="{E35A6E9E-1B26-42EE-81E0-A7B171DD0F92}" type="presOf" srcId="{3B83E703-A2E8-4078-9F59-A425829357BF}" destId="{B729C06F-8002-4EDD-AD88-32CD38B91497}" srcOrd="0" destOrd="0" presId="urn:microsoft.com/office/officeart/2005/8/layout/pyramid2"/>
    <dgm:cxn modelId="{87816EA4-B2CE-4116-9F4C-CA274A711DFC}" type="presOf" srcId="{2CDE5A01-42FB-4D61-AD72-CEF567A07C34}" destId="{B56BDB53-C19D-4173-8546-7462AB8F8AE1}" srcOrd="0" destOrd="0" presId="urn:microsoft.com/office/officeart/2005/8/layout/pyramid2"/>
    <dgm:cxn modelId="{9C7D82A9-81A1-41FD-A9EC-108D50CA8D9B}" srcId="{136C4C7A-4EDF-4B71-A2F2-CA092757910E}" destId="{2CDE5A01-42FB-4D61-AD72-CEF567A07C34}" srcOrd="3" destOrd="0" parTransId="{1229B9D0-0BF5-4D6E-9F1E-73BF2EB02A01}" sibTransId="{B719208F-F147-46F5-AA19-E3844102F12D}"/>
    <dgm:cxn modelId="{9195AFB1-0228-4AE9-8EDA-E59BF5F06994}" srcId="{136C4C7A-4EDF-4B71-A2F2-CA092757910E}" destId="{86A63665-3D89-412D-AB58-8467245586B3}" srcOrd="7" destOrd="0" parTransId="{74A5402A-8FB1-485A-9E87-9C2EA691CE56}" sibTransId="{7E557A6D-3BDA-4971-BEF4-95C2C1E71C46}"/>
    <dgm:cxn modelId="{379453B3-1FF4-4427-BFBF-BE66B791549E}" type="presOf" srcId="{96013BD5-2AF8-4C75-9339-21211B3C3775}" destId="{B061420B-5117-44FC-9F03-D147F889CE71}" srcOrd="0" destOrd="0" presId="urn:microsoft.com/office/officeart/2005/8/layout/pyramid2"/>
    <dgm:cxn modelId="{E4EE97C2-E2F0-49A9-9CB6-FE41FC26A365}" type="presOf" srcId="{136C4C7A-4EDF-4B71-A2F2-CA092757910E}" destId="{8E27DC54-93A8-46B6-B85A-BB32D47E66AB}" srcOrd="0" destOrd="0" presId="urn:microsoft.com/office/officeart/2005/8/layout/pyramid2"/>
    <dgm:cxn modelId="{1CB10FC5-78FC-4576-A245-8F6BC08BBDC1}" srcId="{136C4C7A-4EDF-4B71-A2F2-CA092757910E}" destId="{96013BD5-2AF8-4C75-9339-21211B3C3775}" srcOrd="2" destOrd="0" parTransId="{525722BF-D898-46D3-B13C-3B856B56A534}" sibTransId="{79AEA88D-0571-482A-9241-98BBCE908CDB}"/>
    <dgm:cxn modelId="{5F68FCC5-8B60-486C-B130-1F0754B1E523}" srcId="{136C4C7A-4EDF-4B71-A2F2-CA092757910E}" destId="{CE27996D-88BC-4916-88B4-CAFE02FFE867}" srcOrd="8" destOrd="0" parTransId="{E3AD6F46-3A89-4D95-B381-82517E5C363F}" sibTransId="{71130981-221A-4616-AC8C-CB9BAF197533}"/>
    <dgm:cxn modelId="{87B19FC7-4B74-4EEA-A73F-F3B9F2F8E9AD}" type="presOf" srcId="{626DB419-E9CD-4CEB-B563-8A6ABA4CFC62}" destId="{38BCF966-0A01-4AD8-9735-29A6A5C54DD1}" srcOrd="0" destOrd="0" presId="urn:microsoft.com/office/officeart/2005/8/layout/pyramid2"/>
    <dgm:cxn modelId="{D3334ADC-5854-4971-BC9C-A515A3B6B2AD}" type="presOf" srcId="{EB425D40-EB54-4DBA-A65E-C23D6F051913}" destId="{CD09D773-E1C6-44BB-BF20-A4035836B0CE}" srcOrd="0" destOrd="0" presId="urn:microsoft.com/office/officeart/2005/8/layout/pyramid2"/>
    <dgm:cxn modelId="{92AA1AE0-79D4-4FD3-BC21-7DC3F9B048D0}" srcId="{136C4C7A-4EDF-4B71-A2F2-CA092757910E}" destId="{EB425D40-EB54-4DBA-A65E-C23D6F051913}" srcOrd="0" destOrd="0" parTransId="{A8CD0161-AEDF-4CCD-97C2-5B695DC9EE1D}" sibTransId="{7E9C0C4D-AC9D-48A3-8EC3-C3BF4D09DA96}"/>
    <dgm:cxn modelId="{FB4A85ED-51CE-4269-BD53-326F63194BCF}" srcId="{136C4C7A-4EDF-4B71-A2F2-CA092757910E}" destId="{6944ABCC-9756-42B4-A6A0-37148A7DF9C0}" srcOrd="11" destOrd="0" parTransId="{13FD93B4-70EE-41F8-A701-B865EF7B518B}" sibTransId="{760A90D1-73A7-475B-8251-80038A476439}"/>
    <dgm:cxn modelId="{5D67C4EF-CCA9-4E43-9A14-471C3C07DE2F}" type="presOf" srcId="{35C9449D-8AD7-449E-8211-9E21EA3BC227}" destId="{88BC8BC4-1645-4D77-877E-3AB40DB50BBA}" srcOrd="0" destOrd="0" presId="urn:microsoft.com/office/officeart/2005/8/layout/pyramid2"/>
    <dgm:cxn modelId="{2BC899FE-3D16-4310-8201-398EC960DBAB}" type="presOf" srcId="{52E6773E-5919-41CA-A4F2-07F5332CA17C}" destId="{D046C90A-FEF3-476F-9558-1DA5FDDC4A78}" srcOrd="0" destOrd="0" presId="urn:microsoft.com/office/officeart/2005/8/layout/pyramid2"/>
    <dgm:cxn modelId="{9DC7B8BE-54CB-4E25-A6F3-B0D02A92F613}" type="presParOf" srcId="{8E27DC54-93A8-46B6-B85A-BB32D47E66AB}" destId="{EA4D9623-4BBA-46EA-B48C-EFACCA8974E8}" srcOrd="0" destOrd="0" presId="urn:microsoft.com/office/officeart/2005/8/layout/pyramid2"/>
    <dgm:cxn modelId="{E02F7DDE-F6B5-4F6F-8DBF-770052EC9F9D}" type="presParOf" srcId="{8E27DC54-93A8-46B6-B85A-BB32D47E66AB}" destId="{F0CEB83E-3856-46AD-A3C6-3538BD1DF38C}" srcOrd="1" destOrd="0" presId="urn:microsoft.com/office/officeart/2005/8/layout/pyramid2"/>
    <dgm:cxn modelId="{DC90763B-BF12-428A-9A2D-61F3FC9F449E}" type="presParOf" srcId="{F0CEB83E-3856-46AD-A3C6-3538BD1DF38C}" destId="{CD09D773-E1C6-44BB-BF20-A4035836B0CE}" srcOrd="0" destOrd="0" presId="urn:microsoft.com/office/officeart/2005/8/layout/pyramid2"/>
    <dgm:cxn modelId="{2452159B-9C8C-4E60-AB01-5CCA8250FF47}" type="presParOf" srcId="{F0CEB83E-3856-46AD-A3C6-3538BD1DF38C}" destId="{7F4A2D41-CCAB-482A-9153-6614EEC4AC69}" srcOrd="1" destOrd="0" presId="urn:microsoft.com/office/officeart/2005/8/layout/pyramid2"/>
    <dgm:cxn modelId="{4D3D261F-EFFC-4ACA-969F-5E4C202674AE}" type="presParOf" srcId="{F0CEB83E-3856-46AD-A3C6-3538BD1DF38C}" destId="{BC57E02B-AB42-4FAD-9D35-1BC6D0AC9BBF}" srcOrd="2" destOrd="0" presId="urn:microsoft.com/office/officeart/2005/8/layout/pyramid2"/>
    <dgm:cxn modelId="{333E1B01-819C-4CB4-AAC4-330CD0C1740A}" type="presParOf" srcId="{F0CEB83E-3856-46AD-A3C6-3538BD1DF38C}" destId="{27601F08-2FDC-4FD5-9C41-64934778C351}" srcOrd="3" destOrd="0" presId="urn:microsoft.com/office/officeart/2005/8/layout/pyramid2"/>
    <dgm:cxn modelId="{27D95005-12A3-416F-A8BD-A20AC2775F7A}" type="presParOf" srcId="{F0CEB83E-3856-46AD-A3C6-3538BD1DF38C}" destId="{B061420B-5117-44FC-9F03-D147F889CE71}" srcOrd="4" destOrd="0" presId="urn:microsoft.com/office/officeart/2005/8/layout/pyramid2"/>
    <dgm:cxn modelId="{990C789B-1ABD-437D-8668-13C3D83C8056}" type="presParOf" srcId="{F0CEB83E-3856-46AD-A3C6-3538BD1DF38C}" destId="{81368A22-435A-4D3E-8820-5332F6BA7139}" srcOrd="5" destOrd="0" presId="urn:microsoft.com/office/officeart/2005/8/layout/pyramid2"/>
    <dgm:cxn modelId="{BAD94BD8-5E5F-4282-9F70-D3A4FE8A289B}" type="presParOf" srcId="{F0CEB83E-3856-46AD-A3C6-3538BD1DF38C}" destId="{B56BDB53-C19D-4173-8546-7462AB8F8AE1}" srcOrd="6" destOrd="0" presId="urn:microsoft.com/office/officeart/2005/8/layout/pyramid2"/>
    <dgm:cxn modelId="{DA902A2F-5884-4AF5-B47C-1188F5A1D0BE}" type="presParOf" srcId="{F0CEB83E-3856-46AD-A3C6-3538BD1DF38C}" destId="{A2D56CD7-59BB-467F-87DE-8A50210DB785}" srcOrd="7" destOrd="0" presId="urn:microsoft.com/office/officeart/2005/8/layout/pyramid2"/>
    <dgm:cxn modelId="{4C4C5FA0-E457-4FEA-A663-63134630985E}" type="presParOf" srcId="{F0CEB83E-3856-46AD-A3C6-3538BD1DF38C}" destId="{38BCF966-0A01-4AD8-9735-29A6A5C54DD1}" srcOrd="8" destOrd="0" presId="urn:microsoft.com/office/officeart/2005/8/layout/pyramid2"/>
    <dgm:cxn modelId="{B899DD9B-5804-47EE-A3B7-D72418FF9DED}" type="presParOf" srcId="{F0CEB83E-3856-46AD-A3C6-3538BD1DF38C}" destId="{184AC06C-9CC0-4CDA-9220-16D608644D39}" srcOrd="9" destOrd="0" presId="urn:microsoft.com/office/officeart/2005/8/layout/pyramid2"/>
    <dgm:cxn modelId="{C98E1BB2-E717-42D4-93BA-FF2E039797B4}" type="presParOf" srcId="{F0CEB83E-3856-46AD-A3C6-3538BD1DF38C}" destId="{88BC8BC4-1645-4D77-877E-3AB40DB50BBA}" srcOrd="10" destOrd="0" presId="urn:microsoft.com/office/officeart/2005/8/layout/pyramid2"/>
    <dgm:cxn modelId="{006C8721-4AF4-4AC1-A3B5-CA7607B97B9E}" type="presParOf" srcId="{F0CEB83E-3856-46AD-A3C6-3538BD1DF38C}" destId="{BE4B0412-C230-4401-99CA-1D00963F482B}" srcOrd="11" destOrd="0" presId="urn:microsoft.com/office/officeart/2005/8/layout/pyramid2"/>
    <dgm:cxn modelId="{AD16062D-8CDE-457B-BB66-BC99D998DEF5}" type="presParOf" srcId="{F0CEB83E-3856-46AD-A3C6-3538BD1DF38C}" destId="{D229F20F-5A3E-4247-A1B7-9DCEB770CB3B}" srcOrd="12" destOrd="0" presId="urn:microsoft.com/office/officeart/2005/8/layout/pyramid2"/>
    <dgm:cxn modelId="{D573FD17-127A-4693-B48E-62C52BCF9989}" type="presParOf" srcId="{F0CEB83E-3856-46AD-A3C6-3538BD1DF38C}" destId="{A4A401A5-A8D6-4D94-8AD1-96F2D5937F5D}" srcOrd="13" destOrd="0" presId="urn:microsoft.com/office/officeart/2005/8/layout/pyramid2"/>
    <dgm:cxn modelId="{690ED010-9211-48CA-B10A-273C30E7E0BF}" type="presParOf" srcId="{F0CEB83E-3856-46AD-A3C6-3538BD1DF38C}" destId="{CDB906D3-FD2D-4C15-8D73-D9DF21E10FE8}" srcOrd="14" destOrd="0" presId="urn:microsoft.com/office/officeart/2005/8/layout/pyramid2"/>
    <dgm:cxn modelId="{2FF59E67-FFAA-44E7-BB9B-4E7CECCB50AF}" type="presParOf" srcId="{F0CEB83E-3856-46AD-A3C6-3538BD1DF38C}" destId="{45C9C0D5-5E38-4451-9355-D9D832B2D546}" srcOrd="15" destOrd="0" presId="urn:microsoft.com/office/officeart/2005/8/layout/pyramid2"/>
    <dgm:cxn modelId="{E4141B66-AEEB-4775-B17B-C9027FCC2C5D}" type="presParOf" srcId="{F0CEB83E-3856-46AD-A3C6-3538BD1DF38C}" destId="{2B0F27DD-8647-4B08-938E-53EB7FA9AAAB}" srcOrd="16" destOrd="0" presId="urn:microsoft.com/office/officeart/2005/8/layout/pyramid2"/>
    <dgm:cxn modelId="{B346F134-562C-4C50-B147-2D7A2F7DA782}" type="presParOf" srcId="{F0CEB83E-3856-46AD-A3C6-3538BD1DF38C}" destId="{BD1D3A7B-F540-4172-92E7-835F6A2EA2BF}" srcOrd="17" destOrd="0" presId="urn:microsoft.com/office/officeart/2005/8/layout/pyramid2"/>
    <dgm:cxn modelId="{BFF8C720-F455-47D0-8958-D191E394B6BD}" type="presParOf" srcId="{F0CEB83E-3856-46AD-A3C6-3538BD1DF38C}" destId="{BB3F5436-BABD-4CA6-A757-44EF22F155D4}" srcOrd="18" destOrd="0" presId="urn:microsoft.com/office/officeart/2005/8/layout/pyramid2"/>
    <dgm:cxn modelId="{4E492563-4CEC-4273-8F1F-65A63C2A3C4B}" type="presParOf" srcId="{F0CEB83E-3856-46AD-A3C6-3538BD1DF38C}" destId="{04E3940F-B285-4BBD-91A1-D2F1E9727D27}" srcOrd="19" destOrd="0" presId="urn:microsoft.com/office/officeart/2005/8/layout/pyramid2"/>
    <dgm:cxn modelId="{D7DA36AF-7466-45FD-93EB-312B86C548FF}" type="presParOf" srcId="{F0CEB83E-3856-46AD-A3C6-3538BD1DF38C}" destId="{D046C90A-FEF3-476F-9558-1DA5FDDC4A78}" srcOrd="20" destOrd="0" presId="urn:microsoft.com/office/officeart/2005/8/layout/pyramid2"/>
    <dgm:cxn modelId="{22493447-9AD2-474C-AF88-2DEB99B1B6FA}" type="presParOf" srcId="{F0CEB83E-3856-46AD-A3C6-3538BD1DF38C}" destId="{FFB1AAAE-606F-4728-B533-08DB4C6BA80B}" srcOrd="21" destOrd="0" presId="urn:microsoft.com/office/officeart/2005/8/layout/pyramid2"/>
    <dgm:cxn modelId="{B14300D8-652B-4F7B-9E4F-DE3BF2BB9B87}" type="presParOf" srcId="{F0CEB83E-3856-46AD-A3C6-3538BD1DF38C}" destId="{D2CA4251-EEAB-4120-A3CD-0C432FF32573}" srcOrd="22" destOrd="0" presId="urn:microsoft.com/office/officeart/2005/8/layout/pyramid2"/>
    <dgm:cxn modelId="{B4BEE331-1F43-4815-A447-7B0F8FA195F9}" type="presParOf" srcId="{F0CEB83E-3856-46AD-A3C6-3538BD1DF38C}" destId="{ED52E114-AD90-47E5-B1EE-9FAD33035A28}" srcOrd="23" destOrd="0" presId="urn:microsoft.com/office/officeart/2005/8/layout/pyramid2"/>
    <dgm:cxn modelId="{1D90BEDB-0048-45F9-B1D3-5AABCF6BE53A}" type="presParOf" srcId="{F0CEB83E-3856-46AD-A3C6-3538BD1DF38C}" destId="{B729C06F-8002-4EDD-AD88-32CD38B91497}" srcOrd="24" destOrd="0" presId="urn:microsoft.com/office/officeart/2005/8/layout/pyramid2"/>
    <dgm:cxn modelId="{A459DB7C-8DC9-46A6-B9AD-12D530B84CDF}" type="presParOf" srcId="{F0CEB83E-3856-46AD-A3C6-3538BD1DF38C}" destId="{5BFCFC1F-78DA-455E-9B97-65584DB91C64}" srcOrd="25" destOrd="0" presId="urn:microsoft.com/office/officeart/2005/8/layout/pyramid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6131083-98BD-4A85-BEB4-95A1F151BFBD}" type="doc">
      <dgm:prSet loTypeId="urn:microsoft.com/office/officeart/2005/8/layout/cycle2" loCatId="cycle" qsTypeId="urn:microsoft.com/office/officeart/2005/8/quickstyle/simple1" qsCatId="simple" csTypeId="urn:microsoft.com/office/officeart/2005/8/colors/colorful1" csCatId="colorful" phldr="1"/>
      <dgm:spPr/>
      <dgm:t>
        <a:bodyPr/>
        <a:lstStyle/>
        <a:p>
          <a:endParaRPr lang="nl-NL"/>
        </a:p>
      </dgm:t>
    </dgm:pt>
    <dgm:pt modelId="{E38A12FD-03B7-4BDA-A0C0-8F1298458D17}">
      <dgm:prSet custT="1"/>
      <dgm:spPr/>
      <dgm:t>
        <a:bodyPr/>
        <a:lstStyle/>
        <a:p>
          <a:r>
            <a:rPr lang="nl-NL" sz="1300" b="1" dirty="0"/>
            <a:t>Development Team</a:t>
          </a:r>
        </a:p>
      </dgm:t>
    </dgm:pt>
    <dgm:pt modelId="{D3B2893B-F598-4E05-8F7F-382C7FC9F686}" type="parTrans" cxnId="{07436A09-F14B-4CD2-B87B-EE94C9356DFD}">
      <dgm:prSet/>
      <dgm:spPr/>
      <dgm:t>
        <a:bodyPr/>
        <a:lstStyle/>
        <a:p>
          <a:endParaRPr lang="nl-NL"/>
        </a:p>
      </dgm:t>
    </dgm:pt>
    <dgm:pt modelId="{E0C0A54C-75DF-484C-ADBB-59A8568010C3}" type="sibTrans" cxnId="{07436A09-F14B-4CD2-B87B-EE94C9356DFD}">
      <dgm:prSet/>
      <dgm:spPr/>
      <dgm:t>
        <a:bodyPr/>
        <a:lstStyle/>
        <a:p>
          <a:endParaRPr lang="nl-NL"/>
        </a:p>
      </dgm:t>
    </dgm:pt>
    <dgm:pt modelId="{C0C709ED-9926-42B3-9A71-8938454B198B}">
      <dgm:prSet custT="1"/>
      <dgm:spPr/>
      <dgm:t>
        <a:bodyPr/>
        <a:lstStyle/>
        <a:p>
          <a:r>
            <a:rPr lang="nl-NL" sz="1300" b="1" dirty="0"/>
            <a:t>Source Code in version control </a:t>
          </a:r>
        </a:p>
      </dgm:t>
    </dgm:pt>
    <dgm:pt modelId="{0E53F441-C95B-4CD8-8143-E2CBF4238261}" type="parTrans" cxnId="{298A1C76-68B0-4A59-9BE1-A56D02C539DF}">
      <dgm:prSet/>
      <dgm:spPr/>
      <dgm:t>
        <a:bodyPr/>
        <a:lstStyle/>
        <a:p>
          <a:endParaRPr lang="nl-NL"/>
        </a:p>
      </dgm:t>
    </dgm:pt>
    <dgm:pt modelId="{7703DE5C-14AD-4A5D-BB82-B57CECA04377}" type="sibTrans" cxnId="{298A1C76-68B0-4A59-9BE1-A56D02C539DF}">
      <dgm:prSet/>
      <dgm:spPr/>
      <dgm:t>
        <a:bodyPr/>
        <a:lstStyle/>
        <a:p>
          <a:endParaRPr lang="nl-NL"/>
        </a:p>
      </dgm:t>
    </dgm:pt>
    <dgm:pt modelId="{FA326DDA-13F0-4FE6-B21E-F93A67E5FA0F}">
      <dgm:prSet custT="1"/>
      <dgm:spPr/>
      <dgm:t>
        <a:bodyPr/>
        <a:lstStyle/>
        <a:p>
          <a:r>
            <a:rPr lang="nl-NL" sz="1300" b="1" dirty="0"/>
            <a:t>Build Process triggered</a:t>
          </a:r>
        </a:p>
      </dgm:t>
    </dgm:pt>
    <dgm:pt modelId="{062F9DDA-2204-4067-BF92-2B928450B779}" type="parTrans" cxnId="{8B627CA8-F7D3-46A9-89D4-FAE2CD470FE3}">
      <dgm:prSet/>
      <dgm:spPr/>
      <dgm:t>
        <a:bodyPr/>
        <a:lstStyle/>
        <a:p>
          <a:endParaRPr lang="nl-NL"/>
        </a:p>
      </dgm:t>
    </dgm:pt>
    <dgm:pt modelId="{0E079DDF-D9B9-4F4D-83E7-AD923820E340}" type="sibTrans" cxnId="{8B627CA8-F7D3-46A9-89D4-FAE2CD470FE3}">
      <dgm:prSet/>
      <dgm:spPr/>
      <dgm:t>
        <a:bodyPr/>
        <a:lstStyle/>
        <a:p>
          <a:endParaRPr lang="nl-NL"/>
        </a:p>
      </dgm:t>
    </dgm:pt>
    <dgm:pt modelId="{D99AFF6D-02EF-412E-B108-84A985BF1BCB}">
      <dgm:prSet custT="1"/>
      <dgm:spPr/>
      <dgm:t>
        <a:bodyPr/>
        <a:lstStyle/>
        <a:p>
          <a:r>
            <a:rPr lang="nl-NL" sz="1300" b="1" dirty="0"/>
            <a:t>Code Qulaity analysis and unit test</a:t>
          </a:r>
        </a:p>
      </dgm:t>
    </dgm:pt>
    <dgm:pt modelId="{C1E94475-F7E5-4B98-B434-D47A1CDFBE0F}" type="parTrans" cxnId="{2AC77249-0FF9-4B2B-B3EF-5F7E6D953451}">
      <dgm:prSet/>
      <dgm:spPr/>
      <dgm:t>
        <a:bodyPr/>
        <a:lstStyle/>
        <a:p>
          <a:endParaRPr lang="nl-NL"/>
        </a:p>
      </dgm:t>
    </dgm:pt>
    <dgm:pt modelId="{D84BB973-8F9F-497D-847A-DB50A4B605DE}" type="sibTrans" cxnId="{2AC77249-0FF9-4B2B-B3EF-5F7E6D953451}">
      <dgm:prSet/>
      <dgm:spPr/>
      <dgm:t>
        <a:bodyPr/>
        <a:lstStyle/>
        <a:p>
          <a:endParaRPr lang="nl-NL"/>
        </a:p>
      </dgm:t>
    </dgm:pt>
    <dgm:pt modelId="{44AFF34C-CCC2-443A-A367-6BF52778AA11}">
      <dgm:prSet custT="1"/>
      <dgm:spPr/>
      <dgm:t>
        <a:bodyPr/>
        <a:lstStyle/>
        <a:p>
          <a:pPr algn="ctr"/>
          <a:r>
            <a:rPr lang="nl-NL" sz="1300" b="1" dirty="0"/>
            <a:t>Deploy API bundle </a:t>
          </a:r>
        </a:p>
      </dgm:t>
    </dgm:pt>
    <dgm:pt modelId="{24270FD6-5A59-4E8E-94B2-102E30042BD5}" type="parTrans" cxnId="{AB021567-132E-4016-8A18-62E1355E48B0}">
      <dgm:prSet/>
      <dgm:spPr/>
      <dgm:t>
        <a:bodyPr/>
        <a:lstStyle/>
        <a:p>
          <a:endParaRPr lang="nl-NL"/>
        </a:p>
      </dgm:t>
    </dgm:pt>
    <dgm:pt modelId="{77C1C1EE-1610-4006-9E27-288E3786DD97}" type="sibTrans" cxnId="{AB021567-132E-4016-8A18-62E1355E48B0}">
      <dgm:prSet/>
      <dgm:spPr/>
      <dgm:t>
        <a:bodyPr/>
        <a:lstStyle/>
        <a:p>
          <a:endParaRPr lang="nl-NL"/>
        </a:p>
      </dgm:t>
    </dgm:pt>
    <dgm:pt modelId="{F2E16454-A2B1-4B55-8896-6FEA0FE6BD5C}">
      <dgm:prSet custT="1"/>
      <dgm:spPr/>
      <dgm:t>
        <a:bodyPr/>
        <a:lstStyle/>
        <a:p>
          <a:r>
            <a:rPr lang="nl-NL" sz="1300" b="1" dirty="0"/>
            <a:t>Functaional Test or performace Test</a:t>
          </a:r>
        </a:p>
      </dgm:t>
    </dgm:pt>
    <dgm:pt modelId="{0064CA19-D8A3-429B-BE3F-1C266F8414EA}" type="parTrans" cxnId="{7CC45C3A-7BE5-4139-BF87-353044F294C1}">
      <dgm:prSet/>
      <dgm:spPr/>
      <dgm:t>
        <a:bodyPr/>
        <a:lstStyle/>
        <a:p>
          <a:endParaRPr lang="nl-NL"/>
        </a:p>
      </dgm:t>
    </dgm:pt>
    <dgm:pt modelId="{FC310454-53E1-4D3C-8920-96C4E9A2AE29}" type="sibTrans" cxnId="{7CC45C3A-7BE5-4139-BF87-353044F294C1}">
      <dgm:prSet/>
      <dgm:spPr/>
      <dgm:t>
        <a:bodyPr/>
        <a:lstStyle/>
        <a:p>
          <a:endParaRPr lang="nl-NL"/>
        </a:p>
      </dgm:t>
    </dgm:pt>
    <dgm:pt modelId="{9570F745-B441-4CF6-8083-9C3B890DAEEA}">
      <dgm:prSet/>
      <dgm:spPr/>
      <dgm:t>
        <a:bodyPr/>
        <a:lstStyle/>
        <a:p>
          <a:r>
            <a:rPr lang="nl-NL" b="1" dirty="0"/>
            <a:t>Publish the Reports </a:t>
          </a:r>
        </a:p>
      </dgm:t>
    </dgm:pt>
    <dgm:pt modelId="{0DA929CA-EC7E-4776-B7D4-58D46B16A77A}" type="parTrans" cxnId="{032CDF8F-CCD4-4672-AB35-7F370C12DE22}">
      <dgm:prSet/>
      <dgm:spPr/>
      <dgm:t>
        <a:bodyPr/>
        <a:lstStyle/>
        <a:p>
          <a:endParaRPr lang="nl-NL"/>
        </a:p>
      </dgm:t>
    </dgm:pt>
    <dgm:pt modelId="{949217AC-70AF-4A7B-92F0-93249292529B}" type="sibTrans" cxnId="{032CDF8F-CCD4-4672-AB35-7F370C12DE22}">
      <dgm:prSet/>
      <dgm:spPr/>
      <dgm:t>
        <a:bodyPr/>
        <a:lstStyle/>
        <a:p>
          <a:endParaRPr lang="nl-NL"/>
        </a:p>
      </dgm:t>
    </dgm:pt>
    <dgm:pt modelId="{B522D4AC-73F6-43F3-BED3-A0ED9C7478DD}">
      <dgm:prSet custT="1"/>
      <dgm:spPr/>
      <dgm:t>
        <a:bodyPr/>
        <a:lstStyle/>
        <a:p>
          <a:r>
            <a:rPr lang="nl-NL" sz="1300" b="1" dirty="0"/>
            <a:t>Update the Docs </a:t>
          </a:r>
        </a:p>
      </dgm:t>
    </dgm:pt>
    <dgm:pt modelId="{0E0DC56E-F3D1-4E90-AF3F-D2285B54B086}" type="parTrans" cxnId="{EFC47DAD-3DB8-44AF-A961-9086769E177E}">
      <dgm:prSet/>
      <dgm:spPr/>
      <dgm:t>
        <a:bodyPr/>
        <a:lstStyle/>
        <a:p>
          <a:endParaRPr lang="nl-NL"/>
        </a:p>
      </dgm:t>
    </dgm:pt>
    <dgm:pt modelId="{42F1E82D-22FB-4779-B1E9-912E76D361DA}" type="sibTrans" cxnId="{EFC47DAD-3DB8-44AF-A961-9086769E177E}">
      <dgm:prSet/>
      <dgm:spPr/>
      <dgm:t>
        <a:bodyPr/>
        <a:lstStyle/>
        <a:p>
          <a:endParaRPr lang="nl-NL"/>
        </a:p>
      </dgm:t>
    </dgm:pt>
    <dgm:pt modelId="{16724C6D-CBC4-42C7-BE28-3DD91B8E1467}" type="pres">
      <dgm:prSet presAssocID="{C6131083-98BD-4A85-BEB4-95A1F151BFBD}" presName="cycle" presStyleCnt="0">
        <dgm:presLayoutVars>
          <dgm:dir/>
          <dgm:resizeHandles val="exact"/>
        </dgm:presLayoutVars>
      </dgm:prSet>
      <dgm:spPr/>
    </dgm:pt>
    <dgm:pt modelId="{F34ACF58-0727-4E0B-8486-BCE682FEFB33}" type="pres">
      <dgm:prSet presAssocID="{E38A12FD-03B7-4BDA-A0C0-8F1298458D17}" presName="node" presStyleLbl="node1" presStyleIdx="0" presStyleCnt="8">
        <dgm:presLayoutVars>
          <dgm:bulletEnabled val="1"/>
        </dgm:presLayoutVars>
      </dgm:prSet>
      <dgm:spPr/>
    </dgm:pt>
    <dgm:pt modelId="{F5A21CA7-2EC2-4A03-B2BE-E611C628DD39}" type="pres">
      <dgm:prSet presAssocID="{E0C0A54C-75DF-484C-ADBB-59A8568010C3}" presName="sibTrans" presStyleLbl="sibTrans2D1" presStyleIdx="0" presStyleCnt="8"/>
      <dgm:spPr/>
    </dgm:pt>
    <dgm:pt modelId="{802B3E9F-E910-4048-A3F8-B6B373B57A8C}" type="pres">
      <dgm:prSet presAssocID="{E0C0A54C-75DF-484C-ADBB-59A8568010C3}" presName="connectorText" presStyleLbl="sibTrans2D1" presStyleIdx="0" presStyleCnt="8"/>
      <dgm:spPr/>
    </dgm:pt>
    <dgm:pt modelId="{8B2CC8C2-E9EC-414A-8238-6B94678C5678}" type="pres">
      <dgm:prSet presAssocID="{C0C709ED-9926-42B3-9A71-8938454B198B}" presName="node" presStyleLbl="node1" presStyleIdx="1" presStyleCnt="8">
        <dgm:presLayoutVars>
          <dgm:bulletEnabled val="1"/>
        </dgm:presLayoutVars>
      </dgm:prSet>
      <dgm:spPr/>
    </dgm:pt>
    <dgm:pt modelId="{BF83B055-84F1-44CA-8069-C9357DEF781B}" type="pres">
      <dgm:prSet presAssocID="{7703DE5C-14AD-4A5D-BB82-B57CECA04377}" presName="sibTrans" presStyleLbl="sibTrans2D1" presStyleIdx="1" presStyleCnt="8"/>
      <dgm:spPr/>
    </dgm:pt>
    <dgm:pt modelId="{9C14E0B6-4589-41A9-819E-72025764B553}" type="pres">
      <dgm:prSet presAssocID="{7703DE5C-14AD-4A5D-BB82-B57CECA04377}" presName="connectorText" presStyleLbl="sibTrans2D1" presStyleIdx="1" presStyleCnt="8"/>
      <dgm:spPr/>
    </dgm:pt>
    <dgm:pt modelId="{C248802B-10F8-41B7-BD3D-706AD66DAA90}" type="pres">
      <dgm:prSet presAssocID="{FA326DDA-13F0-4FE6-B21E-F93A67E5FA0F}" presName="node" presStyleLbl="node1" presStyleIdx="2" presStyleCnt="8">
        <dgm:presLayoutVars>
          <dgm:bulletEnabled val="1"/>
        </dgm:presLayoutVars>
      </dgm:prSet>
      <dgm:spPr/>
    </dgm:pt>
    <dgm:pt modelId="{049F3CC0-781C-4396-883A-3C8240D17679}" type="pres">
      <dgm:prSet presAssocID="{0E079DDF-D9B9-4F4D-83E7-AD923820E340}" presName="sibTrans" presStyleLbl="sibTrans2D1" presStyleIdx="2" presStyleCnt="8"/>
      <dgm:spPr/>
    </dgm:pt>
    <dgm:pt modelId="{48CF6FF1-A163-42A0-8FCB-89E50BA18DC5}" type="pres">
      <dgm:prSet presAssocID="{0E079DDF-D9B9-4F4D-83E7-AD923820E340}" presName="connectorText" presStyleLbl="sibTrans2D1" presStyleIdx="2" presStyleCnt="8"/>
      <dgm:spPr/>
    </dgm:pt>
    <dgm:pt modelId="{159A5624-1DA9-410E-B8EB-3B0058BC84A7}" type="pres">
      <dgm:prSet presAssocID="{D99AFF6D-02EF-412E-B108-84A985BF1BCB}" presName="node" presStyleLbl="node1" presStyleIdx="3" presStyleCnt="8">
        <dgm:presLayoutVars>
          <dgm:bulletEnabled val="1"/>
        </dgm:presLayoutVars>
      </dgm:prSet>
      <dgm:spPr/>
    </dgm:pt>
    <dgm:pt modelId="{1A59DE83-3643-4C6E-AB50-CBA2535A8A80}" type="pres">
      <dgm:prSet presAssocID="{D84BB973-8F9F-497D-847A-DB50A4B605DE}" presName="sibTrans" presStyleLbl="sibTrans2D1" presStyleIdx="3" presStyleCnt="8"/>
      <dgm:spPr/>
    </dgm:pt>
    <dgm:pt modelId="{EBEC6069-CA54-4CF3-A7E6-3E0DA5DE9E45}" type="pres">
      <dgm:prSet presAssocID="{D84BB973-8F9F-497D-847A-DB50A4B605DE}" presName="connectorText" presStyleLbl="sibTrans2D1" presStyleIdx="3" presStyleCnt="8"/>
      <dgm:spPr/>
    </dgm:pt>
    <dgm:pt modelId="{668948FA-4092-4A61-997D-8428DFB88754}" type="pres">
      <dgm:prSet presAssocID="{44AFF34C-CCC2-443A-A367-6BF52778AA11}" presName="node" presStyleLbl="node1" presStyleIdx="4" presStyleCnt="8">
        <dgm:presLayoutVars>
          <dgm:bulletEnabled val="1"/>
        </dgm:presLayoutVars>
      </dgm:prSet>
      <dgm:spPr/>
    </dgm:pt>
    <dgm:pt modelId="{C52755DE-C614-4A79-A964-F2B9E5DF9F0B}" type="pres">
      <dgm:prSet presAssocID="{77C1C1EE-1610-4006-9E27-288E3786DD97}" presName="sibTrans" presStyleLbl="sibTrans2D1" presStyleIdx="4" presStyleCnt="8"/>
      <dgm:spPr/>
    </dgm:pt>
    <dgm:pt modelId="{309A3A31-C03C-4983-A2A1-A083CCC3E8C8}" type="pres">
      <dgm:prSet presAssocID="{77C1C1EE-1610-4006-9E27-288E3786DD97}" presName="connectorText" presStyleLbl="sibTrans2D1" presStyleIdx="4" presStyleCnt="8"/>
      <dgm:spPr/>
    </dgm:pt>
    <dgm:pt modelId="{B2B7438D-0DD1-4195-A364-6CCB8ED15F60}" type="pres">
      <dgm:prSet presAssocID="{F2E16454-A2B1-4B55-8896-6FEA0FE6BD5C}" presName="node" presStyleLbl="node1" presStyleIdx="5" presStyleCnt="8" custScaleX="115520" custScaleY="115845">
        <dgm:presLayoutVars>
          <dgm:bulletEnabled val="1"/>
        </dgm:presLayoutVars>
      </dgm:prSet>
      <dgm:spPr/>
    </dgm:pt>
    <dgm:pt modelId="{922B9DDB-C703-4D19-B073-B24504A9C94F}" type="pres">
      <dgm:prSet presAssocID="{FC310454-53E1-4D3C-8920-96C4E9A2AE29}" presName="sibTrans" presStyleLbl="sibTrans2D1" presStyleIdx="5" presStyleCnt="8"/>
      <dgm:spPr/>
    </dgm:pt>
    <dgm:pt modelId="{3AE74A19-C379-4604-BE8D-17C2F64A691F}" type="pres">
      <dgm:prSet presAssocID="{FC310454-53E1-4D3C-8920-96C4E9A2AE29}" presName="connectorText" presStyleLbl="sibTrans2D1" presStyleIdx="5" presStyleCnt="8"/>
      <dgm:spPr/>
    </dgm:pt>
    <dgm:pt modelId="{0997AD0A-3B62-4681-8B89-75168713E264}" type="pres">
      <dgm:prSet presAssocID="{9570F745-B441-4CF6-8083-9C3B890DAEEA}" presName="node" presStyleLbl="node1" presStyleIdx="6" presStyleCnt="8">
        <dgm:presLayoutVars>
          <dgm:bulletEnabled val="1"/>
        </dgm:presLayoutVars>
      </dgm:prSet>
      <dgm:spPr/>
    </dgm:pt>
    <dgm:pt modelId="{3969CC58-05F9-4822-A7DA-A4ED5DD306FE}" type="pres">
      <dgm:prSet presAssocID="{949217AC-70AF-4A7B-92F0-93249292529B}" presName="sibTrans" presStyleLbl="sibTrans2D1" presStyleIdx="6" presStyleCnt="8"/>
      <dgm:spPr/>
    </dgm:pt>
    <dgm:pt modelId="{C2F33BEE-55A6-42AC-9EE7-BC2A88A58037}" type="pres">
      <dgm:prSet presAssocID="{949217AC-70AF-4A7B-92F0-93249292529B}" presName="connectorText" presStyleLbl="sibTrans2D1" presStyleIdx="6" presStyleCnt="8"/>
      <dgm:spPr/>
    </dgm:pt>
    <dgm:pt modelId="{8FDE9D1A-3B18-4D63-B23F-88950D63028B}" type="pres">
      <dgm:prSet presAssocID="{B522D4AC-73F6-43F3-BED3-A0ED9C7478DD}" presName="node" presStyleLbl="node1" presStyleIdx="7" presStyleCnt="8">
        <dgm:presLayoutVars>
          <dgm:bulletEnabled val="1"/>
        </dgm:presLayoutVars>
      </dgm:prSet>
      <dgm:spPr/>
    </dgm:pt>
    <dgm:pt modelId="{F2D23A5B-287F-463B-B90D-7BC71BF37694}" type="pres">
      <dgm:prSet presAssocID="{42F1E82D-22FB-4779-B1E9-912E76D361DA}" presName="sibTrans" presStyleLbl="sibTrans2D1" presStyleIdx="7" presStyleCnt="8"/>
      <dgm:spPr/>
    </dgm:pt>
    <dgm:pt modelId="{B4047C46-F37E-48A2-9FAA-0B64ADE99622}" type="pres">
      <dgm:prSet presAssocID="{42F1E82D-22FB-4779-B1E9-912E76D361DA}" presName="connectorText" presStyleLbl="sibTrans2D1" presStyleIdx="7" presStyleCnt="8"/>
      <dgm:spPr/>
    </dgm:pt>
  </dgm:ptLst>
  <dgm:cxnLst>
    <dgm:cxn modelId="{07436A09-F14B-4CD2-B87B-EE94C9356DFD}" srcId="{C6131083-98BD-4A85-BEB4-95A1F151BFBD}" destId="{E38A12FD-03B7-4BDA-A0C0-8F1298458D17}" srcOrd="0" destOrd="0" parTransId="{D3B2893B-F598-4E05-8F7F-382C7FC9F686}" sibTransId="{E0C0A54C-75DF-484C-ADBB-59A8568010C3}"/>
    <dgm:cxn modelId="{D2B5B009-23DF-4F0C-BB64-9AB68D8375FE}" type="presOf" srcId="{E0C0A54C-75DF-484C-ADBB-59A8568010C3}" destId="{802B3E9F-E910-4048-A3F8-B6B373B57A8C}" srcOrd="1" destOrd="0" presId="urn:microsoft.com/office/officeart/2005/8/layout/cycle2"/>
    <dgm:cxn modelId="{2F59D210-B202-47B6-A71C-90965EDD9C33}" type="presOf" srcId="{7703DE5C-14AD-4A5D-BB82-B57CECA04377}" destId="{9C14E0B6-4589-41A9-819E-72025764B553}" srcOrd="1" destOrd="0" presId="urn:microsoft.com/office/officeart/2005/8/layout/cycle2"/>
    <dgm:cxn modelId="{EA1E852E-0F2D-411F-80A5-9D7E01771D59}" type="presOf" srcId="{9570F745-B441-4CF6-8083-9C3B890DAEEA}" destId="{0997AD0A-3B62-4681-8B89-75168713E264}" srcOrd="0" destOrd="0" presId="urn:microsoft.com/office/officeart/2005/8/layout/cycle2"/>
    <dgm:cxn modelId="{BD3D402F-6B83-4569-9C4C-238FE75F8BF4}" type="presOf" srcId="{FA326DDA-13F0-4FE6-B21E-F93A67E5FA0F}" destId="{C248802B-10F8-41B7-BD3D-706AD66DAA90}" srcOrd="0" destOrd="0" presId="urn:microsoft.com/office/officeart/2005/8/layout/cycle2"/>
    <dgm:cxn modelId="{1B052534-383F-414C-8D74-35F078685122}" type="presOf" srcId="{B522D4AC-73F6-43F3-BED3-A0ED9C7478DD}" destId="{8FDE9D1A-3B18-4D63-B23F-88950D63028B}" srcOrd="0" destOrd="0" presId="urn:microsoft.com/office/officeart/2005/8/layout/cycle2"/>
    <dgm:cxn modelId="{7CC45C3A-7BE5-4139-BF87-353044F294C1}" srcId="{C6131083-98BD-4A85-BEB4-95A1F151BFBD}" destId="{F2E16454-A2B1-4B55-8896-6FEA0FE6BD5C}" srcOrd="5" destOrd="0" parTransId="{0064CA19-D8A3-429B-BE3F-1C266F8414EA}" sibTransId="{FC310454-53E1-4D3C-8920-96C4E9A2AE29}"/>
    <dgm:cxn modelId="{AB021567-132E-4016-8A18-62E1355E48B0}" srcId="{C6131083-98BD-4A85-BEB4-95A1F151BFBD}" destId="{44AFF34C-CCC2-443A-A367-6BF52778AA11}" srcOrd="4" destOrd="0" parTransId="{24270FD6-5A59-4E8E-94B2-102E30042BD5}" sibTransId="{77C1C1EE-1610-4006-9E27-288E3786DD97}"/>
    <dgm:cxn modelId="{2AC77249-0FF9-4B2B-B3EF-5F7E6D953451}" srcId="{C6131083-98BD-4A85-BEB4-95A1F151BFBD}" destId="{D99AFF6D-02EF-412E-B108-84A985BF1BCB}" srcOrd="3" destOrd="0" parTransId="{C1E94475-F7E5-4B98-B434-D47A1CDFBE0F}" sibTransId="{D84BB973-8F9F-497D-847A-DB50A4B605DE}"/>
    <dgm:cxn modelId="{14A0A44B-0E7F-49DF-BB10-5F8674E86E59}" type="presOf" srcId="{E38A12FD-03B7-4BDA-A0C0-8F1298458D17}" destId="{F34ACF58-0727-4E0B-8486-BCE682FEFB33}" srcOrd="0" destOrd="0" presId="urn:microsoft.com/office/officeart/2005/8/layout/cycle2"/>
    <dgm:cxn modelId="{181BC84D-6B05-4BD6-A6A1-B19B6A512FD3}" type="presOf" srcId="{42F1E82D-22FB-4779-B1E9-912E76D361DA}" destId="{B4047C46-F37E-48A2-9FAA-0B64ADE99622}" srcOrd="1" destOrd="0" presId="urn:microsoft.com/office/officeart/2005/8/layout/cycle2"/>
    <dgm:cxn modelId="{D512FE6E-A5B8-4D57-ABF5-2FA5CE40BA23}" type="presOf" srcId="{D99AFF6D-02EF-412E-B108-84A985BF1BCB}" destId="{159A5624-1DA9-410E-B8EB-3B0058BC84A7}" srcOrd="0" destOrd="0" presId="urn:microsoft.com/office/officeart/2005/8/layout/cycle2"/>
    <dgm:cxn modelId="{E0756A75-DBA8-4B75-A294-33A8DFA1EE21}" type="presOf" srcId="{0E079DDF-D9B9-4F4D-83E7-AD923820E340}" destId="{049F3CC0-781C-4396-883A-3C8240D17679}" srcOrd="0" destOrd="0" presId="urn:microsoft.com/office/officeart/2005/8/layout/cycle2"/>
    <dgm:cxn modelId="{298A1C76-68B0-4A59-9BE1-A56D02C539DF}" srcId="{C6131083-98BD-4A85-BEB4-95A1F151BFBD}" destId="{C0C709ED-9926-42B3-9A71-8938454B198B}" srcOrd="1" destOrd="0" parTransId="{0E53F441-C95B-4CD8-8143-E2CBF4238261}" sibTransId="{7703DE5C-14AD-4A5D-BB82-B57CECA04377}"/>
    <dgm:cxn modelId="{6302DD77-D9A9-4ECD-94A9-731709A9186A}" type="presOf" srcId="{42F1E82D-22FB-4779-B1E9-912E76D361DA}" destId="{F2D23A5B-287F-463B-B90D-7BC71BF37694}" srcOrd="0" destOrd="0" presId="urn:microsoft.com/office/officeart/2005/8/layout/cycle2"/>
    <dgm:cxn modelId="{9277E98C-27D7-41DB-B7CC-CD996B2E1FAA}" type="presOf" srcId="{D84BB973-8F9F-497D-847A-DB50A4B605DE}" destId="{1A59DE83-3643-4C6E-AB50-CBA2535A8A80}" srcOrd="0" destOrd="0" presId="urn:microsoft.com/office/officeart/2005/8/layout/cycle2"/>
    <dgm:cxn modelId="{032CDF8F-CCD4-4672-AB35-7F370C12DE22}" srcId="{C6131083-98BD-4A85-BEB4-95A1F151BFBD}" destId="{9570F745-B441-4CF6-8083-9C3B890DAEEA}" srcOrd="6" destOrd="0" parTransId="{0DA929CA-EC7E-4776-B7D4-58D46B16A77A}" sibTransId="{949217AC-70AF-4A7B-92F0-93249292529B}"/>
    <dgm:cxn modelId="{0A84D49D-696B-48F8-B523-B30939768205}" type="presOf" srcId="{949217AC-70AF-4A7B-92F0-93249292529B}" destId="{C2F33BEE-55A6-42AC-9EE7-BC2A88A58037}" srcOrd="1" destOrd="0" presId="urn:microsoft.com/office/officeart/2005/8/layout/cycle2"/>
    <dgm:cxn modelId="{8B627CA8-F7D3-46A9-89D4-FAE2CD470FE3}" srcId="{C6131083-98BD-4A85-BEB4-95A1F151BFBD}" destId="{FA326DDA-13F0-4FE6-B21E-F93A67E5FA0F}" srcOrd="2" destOrd="0" parTransId="{062F9DDA-2204-4067-BF92-2B928450B779}" sibTransId="{0E079DDF-D9B9-4F4D-83E7-AD923820E340}"/>
    <dgm:cxn modelId="{236F7FA9-C52E-4813-83C6-0B618838A326}" type="presOf" srcId="{949217AC-70AF-4A7B-92F0-93249292529B}" destId="{3969CC58-05F9-4822-A7DA-A4ED5DD306FE}" srcOrd="0" destOrd="0" presId="urn:microsoft.com/office/officeart/2005/8/layout/cycle2"/>
    <dgm:cxn modelId="{EFC47DAD-3DB8-44AF-A961-9086769E177E}" srcId="{C6131083-98BD-4A85-BEB4-95A1F151BFBD}" destId="{B522D4AC-73F6-43F3-BED3-A0ED9C7478DD}" srcOrd="7" destOrd="0" parTransId="{0E0DC56E-F3D1-4E90-AF3F-D2285B54B086}" sibTransId="{42F1E82D-22FB-4779-B1E9-912E76D361DA}"/>
    <dgm:cxn modelId="{F6BAF7AF-DDD0-4A53-A5C6-B7D19F24D179}" type="presOf" srcId="{77C1C1EE-1610-4006-9E27-288E3786DD97}" destId="{309A3A31-C03C-4983-A2A1-A083CCC3E8C8}" srcOrd="1" destOrd="0" presId="urn:microsoft.com/office/officeart/2005/8/layout/cycle2"/>
    <dgm:cxn modelId="{FD092EB4-7318-4AD0-BB09-851A2FD04B3B}" type="presOf" srcId="{C6131083-98BD-4A85-BEB4-95A1F151BFBD}" destId="{16724C6D-CBC4-42C7-BE28-3DD91B8E1467}" srcOrd="0" destOrd="0" presId="urn:microsoft.com/office/officeart/2005/8/layout/cycle2"/>
    <dgm:cxn modelId="{D8E4A0B9-CA9C-4084-80C0-E322725A07AC}" type="presOf" srcId="{E0C0A54C-75DF-484C-ADBB-59A8568010C3}" destId="{F5A21CA7-2EC2-4A03-B2BE-E611C628DD39}" srcOrd="0" destOrd="0" presId="urn:microsoft.com/office/officeart/2005/8/layout/cycle2"/>
    <dgm:cxn modelId="{E74174C0-3828-4039-A233-81127A427E1C}" type="presOf" srcId="{77C1C1EE-1610-4006-9E27-288E3786DD97}" destId="{C52755DE-C614-4A79-A964-F2B9E5DF9F0B}" srcOrd="0" destOrd="0" presId="urn:microsoft.com/office/officeart/2005/8/layout/cycle2"/>
    <dgm:cxn modelId="{974F77C3-0072-46EE-BCA7-2FB4D1EA6205}" type="presOf" srcId="{44AFF34C-CCC2-443A-A367-6BF52778AA11}" destId="{668948FA-4092-4A61-997D-8428DFB88754}" srcOrd="0" destOrd="0" presId="urn:microsoft.com/office/officeart/2005/8/layout/cycle2"/>
    <dgm:cxn modelId="{1BEA3AC6-6722-4710-B310-C34882072194}" type="presOf" srcId="{FC310454-53E1-4D3C-8920-96C4E9A2AE29}" destId="{3AE74A19-C379-4604-BE8D-17C2F64A691F}" srcOrd="1" destOrd="0" presId="urn:microsoft.com/office/officeart/2005/8/layout/cycle2"/>
    <dgm:cxn modelId="{5031E2CC-855D-4E20-B6C1-53C54B846EC4}" type="presOf" srcId="{D84BB973-8F9F-497D-847A-DB50A4B605DE}" destId="{EBEC6069-CA54-4CF3-A7E6-3E0DA5DE9E45}" srcOrd="1" destOrd="0" presId="urn:microsoft.com/office/officeart/2005/8/layout/cycle2"/>
    <dgm:cxn modelId="{B96B2AF4-5719-4A92-A066-9E0351C15E37}" type="presOf" srcId="{7703DE5C-14AD-4A5D-BB82-B57CECA04377}" destId="{BF83B055-84F1-44CA-8069-C9357DEF781B}" srcOrd="0" destOrd="0" presId="urn:microsoft.com/office/officeart/2005/8/layout/cycle2"/>
    <dgm:cxn modelId="{D4B810F7-2459-44A8-A73D-524C38ACF95C}" type="presOf" srcId="{FC310454-53E1-4D3C-8920-96C4E9A2AE29}" destId="{922B9DDB-C703-4D19-B073-B24504A9C94F}" srcOrd="0" destOrd="0" presId="urn:microsoft.com/office/officeart/2005/8/layout/cycle2"/>
    <dgm:cxn modelId="{08BF5DFC-4612-4B88-A593-EA885B1F7146}" type="presOf" srcId="{F2E16454-A2B1-4B55-8896-6FEA0FE6BD5C}" destId="{B2B7438D-0DD1-4195-A364-6CCB8ED15F60}" srcOrd="0" destOrd="0" presId="urn:microsoft.com/office/officeart/2005/8/layout/cycle2"/>
    <dgm:cxn modelId="{5A68FDFD-59BA-4DB8-9CFF-063C19EA61B9}" type="presOf" srcId="{0E079DDF-D9B9-4F4D-83E7-AD923820E340}" destId="{48CF6FF1-A163-42A0-8FCB-89E50BA18DC5}" srcOrd="1" destOrd="0" presId="urn:microsoft.com/office/officeart/2005/8/layout/cycle2"/>
    <dgm:cxn modelId="{348054FE-6F9A-4C54-8B87-479244D0612C}" type="presOf" srcId="{C0C709ED-9926-42B3-9A71-8938454B198B}" destId="{8B2CC8C2-E9EC-414A-8238-6B94678C5678}" srcOrd="0" destOrd="0" presId="urn:microsoft.com/office/officeart/2005/8/layout/cycle2"/>
    <dgm:cxn modelId="{7F1505AC-CCF2-4D7A-B00C-06E3C999F9D8}" type="presParOf" srcId="{16724C6D-CBC4-42C7-BE28-3DD91B8E1467}" destId="{F34ACF58-0727-4E0B-8486-BCE682FEFB33}" srcOrd="0" destOrd="0" presId="urn:microsoft.com/office/officeart/2005/8/layout/cycle2"/>
    <dgm:cxn modelId="{F22EA288-497D-469F-8EAB-801DA8E2C1CB}" type="presParOf" srcId="{16724C6D-CBC4-42C7-BE28-3DD91B8E1467}" destId="{F5A21CA7-2EC2-4A03-B2BE-E611C628DD39}" srcOrd="1" destOrd="0" presId="urn:microsoft.com/office/officeart/2005/8/layout/cycle2"/>
    <dgm:cxn modelId="{E1021B3B-92EC-4C16-B3A2-AAFA04016070}" type="presParOf" srcId="{F5A21CA7-2EC2-4A03-B2BE-E611C628DD39}" destId="{802B3E9F-E910-4048-A3F8-B6B373B57A8C}" srcOrd="0" destOrd="0" presId="urn:microsoft.com/office/officeart/2005/8/layout/cycle2"/>
    <dgm:cxn modelId="{2871FD39-CD49-4C91-A6E5-A8C30ED061C1}" type="presParOf" srcId="{16724C6D-CBC4-42C7-BE28-3DD91B8E1467}" destId="{8B2CC8C2-E9EC-414A-8238-6B94678C5678}" srcOrd="2" destOrd="0" presId="urn:microsoft.com/office/officeart/2005/8/layout/cycle2"/>
    <dgm:cxn modelId="{F7227290-5CE8-4111-A4DA-71747E6C50BF}" type="presParOf" srcId="{16724C6D-CBC4-42C7-BE28-3DD91B8E1467}" destId="{BF83B055-84F1-44CA-8069-C9357DEF781B}" srcOrd="3" destOrd="0" presId="urn:microsoft.com/office/officeart/2005/8/layout/cycle2"/>
    <dgm:cxn modelId="{D54AA0E2-33A9-4316-80BF-37325CB0D8B7}" type="presParOf" srcId="{BF83B055-84F1-44CA-8069-C9357DEF781B}" destId="{9C14E0B6-4589-41A9-819E-72025764B553}" srcOrd="0" destOrd="0" presId="urn:microsoft.com/office/officeart/2005/8/layout/cycle2"/>
    <dgm:cxn modelId="{B3D85215-0FE5-4BAF-BFBD-E427080CEBD9}" type="presParOf" srcId="{16724C6D-CBC4-42C7-BE28-3DD91B8E1467}" destId="{C248802B-10F8-41B7-BD3D-706AD66DAA90}" srcOrd="4" destOrd="0" presId="urn:microsoft.com/office/officeart/2005/8/layout/cycle2"/>
    <dgm:cxn modelId="{FF1A0234-E9C1-4721-ABC4-B0FE409CEB8B}" type="presParOf" srcId="{16724C6D-CBC4-42C7-BE28-3DD91B8E1467}" destId="{049F3CC0-781C-4396-883A-3C8240D17679}" srcOrd="5" destOrd="0" presId="urn:microsoft.com/office/officeart/2005/8/layout/cycle2"/>
    <dgm:cxn modelId="{34AF26AD-A245-41C9-9C9B-159265662560}" type="presParOf" srcId="{049F3CC0-781C-4396-883A-3C8240D17679}" destId="{48CF6FF1-A163-42A0-8FCB-89E50BA18DC5}" srcOrd="0" destOrd="0" presId="urn:microsoft.com/office/officeart/2005/8/layout/cycle2"/>
    <dgm:cxn modelId="{530C57AC-3AF2-48F0-BDE0-BD360585F0E2}" type="presParOf" srcId="{16724C6D-CBC4-42C7-BE28-3DD91B8E1467}" destId="{159A5624-1DA9-410E-B8EB-3B0058BC84A7}" srcOrd="6" destOrd="0" presId="urn:microsoft.com/office/officeart/2005/8/layout/cycle2"/>
    <dgm:cxn modelId="{D670DD58-EA56-4C69-A2FB-E3298341C3FF}" type="presParOf" srcId="{16724C6D-CBC4-42C7-BE28-3DD91B8E1467}" destId="{1A59DE83-3643-4C6E-AB50-CBA2535A8A80}" srcOrd="7" destOrd="0" presId="urn:microsoft.com/office/officeart/2005/8/layout/cycle2"/>
    <dgm:cxn modelId="{394F11F3-65F3-4D51-9ED5-6608909CFF98}" type="presParOf" srcId="{1A59DE83-3643-4C6E-AB50-CBA2535A8A80}" destId="{EBEC6069-CA54-4CF3-A7E6-3E0DA5DE9E45}" srcOrd="0" destOrd="0" presId="urn:microsoft.com/office/officeart/2005/8/layout/cycle2"/>
    <dgm:cxn modelId="{10D03E97-519A-4CAE-92E2-D6C5EE495A51}" type="presParOf" srcId="{16724C6D-CBC4-42C7-BE28-3DD91B8E1467}" destId="{668948FA-4092-4A61-997D-8428DFB88754}" srcOrd="8" destOrd="0" presId="urn:microsoft.com/office/officeart/2005/8/layout/cycle2"/>
    <dgm:cxn modelId="{93DEA44E-CC84-4F2C-BADB-69815ED0D0AE}" type="presParOf" srcId="{16724C6D-CBC4-42C7-BE28-3DD91B8E1467}" destId="{C52755DE-C614-4A79-A964-F2B9E5DF9F0B}" srcOrd="9" destOrd="0" presId="urn:microsoft.com/office/officeart/2005/8/layout/cycle2"/>
    <dgm:cxn modelId="{BB56900E-7D9B-46B1-9DDB-2707DEE99E1A}" type="presParOf" srcId="{C52755DE-C614-4A79-A964-F2B9E5DF9F0B}" destId="{309A3A31-C03C-4983-A2A1-A083CCC3E8C8}" srcOrd="0" destOrd="0" presId="urn:microsoft.com/office/officeart/2005/8/layout/cycle2"/>
    <dgm:cxn modelId="{141E0607-146A-4D84-ADC6-57EA9CF58C5A}" type="presParOf" srcId="{16724C6D-CBC4-42C7-BE28-3DD91B8E1467}" destId="{B2B7438D-0DD1-4195-A364-6CCB8ED15F60}" srcOrd="10" destOrd="0" presId="urn:microsoft.com/office/officeart/2005/8/layout/cycle2"/>
    <dgm:cxn modelId="{2BC4534A-4F86-475B-B043-AC19287551F9}" type="presParOf" srcId="{16724C6D-CBC4-42C7-BE28-3DD91B8E1467}" destId="{922B9DDB-C703-4D19-B073-B24504A9C94F}" srcOrd="11" destOrd="0" presId="urn:microsoft.com/office/officeart/2005/8/layout/cycle2"/>
    <dgm:cxn modelId="{465AAFB2-173D-4BEA-A7E7-80A2ED99D467}" type="presParOf" srcId="{922B9DDB-C703-4D19-B073-B24504A9C94F}" destId="{3AE74A19-C379-4604-BE8D-17C2F64A691F}" srcOrd="0" destOrd="0" presId="urn:microsoft.com/office/officeart/2005/8/layout/cycle2"/>
    <dgm:cxn modelId="{962BF4C3-CFED-4BF9-92FD-E76F070F5BBB}" type="presParOf" srcId="{16724C6D-CBC4-42C7-BE28-3DD91B8E1467}" destId="{0997AD0A-3B62-4681-8B89-75168713E264}" srcOrd="12" destOrd="0" presId="urn:microsoft.com/office/officeart/2005/8/layout/cycle2"/>
    <dgm:cxn modelId="{EB5764B7-1ADE-485B-8E3C-9ADBC3F34435}" type="presParOf" srcId="{16724C6D-CBC4-42C7-BE28-3DD91B8E1467}" destId="{3969CC58-05F9-4822-A7DA-A4ED5DD306FE}" srcOrd="13" destOrd="0" presId="urn:microsoft.com/office/officeart/2005/8/layout/cycle2"/>
    <dgm:cxn modelId="{D5584EBB-0266-42A8-A03F-F843E95DD3AF}" type="presParOf" srcId="{3969CC58-05F9-4822-A7DA-A4ED5DD306FE}" destId="{C2F33BEE-55A6-42AC-9EE7-BC2A88A58037}" srcOrd="0" destOrd="0" presId="urn:microsoft.com/office/officeart/2005/8/layout/cycle2"/>
    <dgm:cxn modelId="{177AA41C-5C31-422F-AE36-1D56E4FFF504}" type="presParOf" srcId="{16724C6D-CBC4-42C7-BE28-3DD91B8E1467}" destId="{8FDE9D1A-3B18-4D63-B23F-88950D63028B}" srcOrd="14" destOrd="0" presId="urn:microsoft.com/office/officeart/2005/8/layout/cycle2"/>
    <dgm:cxn modelId="{50ACE699-A63B-49FB-A2DB-F48AA2A58D12}" type="presParOf" srcId="{16724C6D-CBC4-42C7-BE28-3DD91B8E1467}" destId="{F2D23A5B-287F-463B-B90D-7BC71BF37694}" srcOrd="15" destOrd="0" presId="urn:microsoft.com/office/officeart/2005/8/layout/cycle2"/>
    <dgm:cxn modelId="{9A4CF797-059A-42B8-AFCA-FC7C39E3C2C7}" type="presParOf" srcId="{F2D23A5B-287F-463B-B90D-7BC71BF37694}" destId="{B4047C46-F37E-48A2-9FAA-0B64ADE99622}"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96E2C266-F725-40F6-85A7-81CCDDF4015E}" type="doc">
      <dgm:prSet loTypeId="urn:microsoft.com/office/officeart/2005/8/layout/hierarchy3" loCatId="hierarchy" qsTypeId="urn:microsoft.com/office/officeart/2005/8/quickstyle/simple1" qsCatId="simple" csTypeId="urn:microsoft.com/office/officeart/2005/8/colors/colorful1" csCatId="colorful" phldr="1"/>
      <dgm:spPr/>
      <dgm:t>
        <a:bodyPr/>
        <a:lstStyle/>
        <a:p>
          <a:endParaRPr lang="nl-NL"/>
        </a:p>
      </dgm:t>
    </dgm:pt>
    <dgm:pt modelId="{094491CE-A84A-4AA7-9CBA-465F44AE6F4B}">
      <dgm:prSet custT="1"/>
      <dgm:spPr/>
      <dgm:t>
        <a:bodyPr/>
        <a:lstStyle/>
        <a:p>
          <a:r>
            <a:rPr lang="nl-NL" sz="1600" dirty="0"/>
            <a:t>GitHub, Bitbucket</a:t>
          </a:r>
        </a:p>
      </dgm:t>
    </dgm:pt>
    <dgm:pt modelId="{5562D39B-E09D-4050-8D9D-3AE0CD450BAB}" type="parTrans" cxnId="{0865138C-D537-49A7-8B6C-3652CFAF53CC}">
      <dgm:prSet/>
      <dgm:spPr/>
      <dgm:t>
        <a:bodyPr/>
        <a:lstStyle/>
        <a:p>
          <a:endParaRPr lang="nl-NL"/>
        </a:p>
      </dgm:t>
    </dgm:pt>
    <dgm:pt modelId="{BE818C8B-51FB-4EA3-803D-85694579E1ED}" type="sibTrans" cxnId="{0865138C-D537-49A7-8B6C-3652CFAF53CC}">
      <dgm:prSet/>
      <dgm:spPr/>
      <dgm:t>
        <a:bodyPr/>
        <a:lstStyle/>
        <a:p>
          <a:endParaRPr lang="nl-NL"/>
        </a:p>
      </dgm:t>
    </dgm:pt>
    <dgm:pt modelId="{22F6D948-82D8-4A7E-9F44-10AD3053DE3E}">
      <dgm:prSet custT="1"/>
      <dgm:spPr/>
      <dgm:t>
        <a:bodyPr/>
        <a:lstStyle/>
        <a:p>
          <a:r>
            <a:rPr lang="nl-NL" sz="1600" dirty="0"/>
            <a:t>Build</a:t>
          </a:r>
          <a:r>
            <a:rPr lang="nl-NL" sz="1100" dirty="0"/>
            <a:t> </a:t>
          </a:r>
        </a:p>
      </dgm:t>
    </dgm:pt>
    <dgm:pt modelId="{3F0280D0-74FE-458A-9139-D69977A00137}" type="parTrans" cxnId="{BEDC5754-37B4-4E3E-9AD6-BC79BD51E132}">
      <dgm:prSet/>
      <dgm:spPr/>
      <dgm:t>
        <a:bodyPr/>
        <a:lstStyle/>
        <a:p>
          <a:endParaRPr lang="nl-NL"/>
        </a:p>
      </dgm:t>
    </dgm:pt>
    <dgm:pt modelId="{5D15E62D-B2ED-4AB1-9942-8890C859833B}" type="sibTrans" cxnId="{BEDC5754-37B4-4E3E-9AD6-BC79BD51E132}">
      <dgm:prSet/>
      <dgm:spPr/>
      <dgm:t>
        <a:bodyPr/>
        <a:lstStyle/>
        <a:p>
          <a:endParaRPr lang="nl-NL"/>
        </a:p>
      </dgm:t>
    </dgm:pt>
    <dgm:pt modelId="{7073F18A-2AB1-4E41-8E62-37A7CACE1ED3}">
      <dgm:prSet custT="1"/>
      <dgm:spPr/>
      <dgm:t>
        <a:bodyPr/>
        <a:lstStyle/>
        <a:p>
          <a:r>
            <a:rPr lang="nl-NL" sz="1600" dirty="0"/>
            <a:t>Bamboo, jenkins.</a:t>
          </a:r>
        </a:p>
      </dgm:t>
    </dgm:pt>
    <dgm:pt modelId="{9DC4BDB1-6B21-4330-9E79-5D2E7BE87533}" type="parTrans" cxnId="{AC24FA48-6650-411F-A99D-892531DA2309}">
      <dgm:prSet/>
      <dgm:spPr/>
      <dgm:t>
        <a:bodyPr/>
        <a:lstStyle/>
        <a:p>
          <a:endParaRPr lang="nl-NL"/>
        </a:p>
      </dgm:t>
    </dgm:pt>
    <dgm:pt modelId="{5B87A544-1BF8-4D7C-B9D5-C3439DAA4E66}" type="sibTrans" cxnId="{AC24FA48-6650-411F-A99D-892531DA2309}">
      <dgm:prSet/>
      <dgm:spPr/>
      <dgm:t>
        <a:bodyPr/>
        <a:lstStyle/>
        <a:p>
          <a:endParaRPr lang="nl-NL"/>
        </a:p>
      </dgm:t>
    </dgm:pt>
    <dgm:pt modelId="{1C96173E-6DE8-47D2-A16D-6044B6B6AE38}">
      <dgm:prSet custT="1"/>
      <dgm:spPr/>
      <dgm:t>
        <a:bodyPr/>
        <a:lstStyle/>
        <a:p>
          <a:r>
            <a:rPr lang="nl-NL" sz="1600" dirty="0"/>
            <a:t>Code quality analysis and Unit testing </a:t>
          </a:r>
        </a:p>
      </dgm:t>
    </dgm:pt>
    <dgm:pt modelId="{82336F68-DCD5-462A-8F32-4CC51B093E8C}" type="parTrans" cxnId="{226CA168-169F-4DAC-B457-CCB1EDCFBAD8}">
      <dgm:prSet/>
      <dgm:spPr/>
      <dgm:t>
        <a:bodyPr/>
        <a:lstStyle/>
        <a:p>
          <a:endParaRPr lang="nl-NL"/>
        </a:p>
      </dgm:t>
    </dgm:pt>
    <dgm:pt modelId="{1856483A-3993-4D46-8DC8-98AEF1F78B6F}" type="sibTrans" cxnId="{226CA168-169F-4DAC-B457-CCB1EDCFBAD8}">
      <dgm:prSet/>
      <dgm:spPr/>
      <dgm:t>
        <a:bodyPr/>
        <a:lstStyle/>
        <a:p>
          <a:endParaRPr lang="nl-NL"/>
        </a:p>
      </dgm:t>
    </dgm:pt>
    <dgm:pt modelId="{C602D4A9-53BE-4405-BA36-A3FABA667552}">
      <dgm:prSet custT="1"/>
      <dgm:spPr/>
      <dgm:t>
        <a:bodyPr/>
        <a:lstStyle/>
        <a:p>
          <a:r>
            <a:rPr lang="nl-NL" sz="1600" dirty="0"/>
            <a:t>Jslint,Sonar, apifortress</a:t>
          </a:r>
        </a:p>
      </dgm:t>
    </dgm:pt>
    <dgm:pt modelId="{D0C65FB6-913E-48ED-B941-F89A770F5B96}" type="parTrans" cxnId="{50D9926B-A080-4E43-AB86-EDC13A970FB5}">
      <dgm:prSet/>
      <dgm:spPr/>
      <dgm:t>
        <a:bodyPr/>
        <a:lstStyle/>
        <a:p>
          <a:endParaRPr lang="nl-NL"/>
        </a:p>
      </dgm:t>
    </dgm:pt>
    <dgm:pt modelId="{F415C3F0-113C-45C7-A62C-068C2B78D814}" type="sibTrans" cxnId="{50D9926B-A080-4E43-AB86-EDC13A970FB5}">
      <dgm:prSet/>
      <dgm:spPr/>
      <dgm:t>
        <a:bodyPr/>
        <a:lstStyle/>
        <a:p>
          <a:endParaRPr lang="nl-NL"/>
        </a:p>
      </dgm:t>
    </dgm:pt>
    <dgm:pt modelId="{B34EC0D2-B218-4A8F-A961-1122EA07FBD4}">
      <dgm:prSet custT="1"/>
      <dgm:spPr/>
      <dgm:t>
        <a:bodyPr/>
        <a:lstStyle/>
        <a:p>
          <a:r>
            <a:rPr lang="nl-NL" sz="1600" dirty="0"/>
            <a:t>Deploy API Proxy </a:t>
          </a:r>
        </a:p>
      </dgm:t>
    </dgm:pt>
    <dgm:pt modelId="{C75B34FF-9E05-41DC-A2FB-36B32F88B10D}" type="parTrans" cxnId="{C43F561C-5AF3-43DB-B214-1A0F0127CEE7}">
      <dgm:prSet/>
      <dgm:spPr/>
      <dgm:t>
        <a:bodyPr/>
        <a:lstStyle/>
        <a:p>
          <a:endParaRPr lang="nl-NL"/>
        </a:p>
      </dgm:t>
    </dgm:pt>
    <dgm:pt modelId="{54D3F65C-4AFC-409F-8304-5490A8BF80EF}" type="sibTrans" cxnId="{C43F561C-5AF3-43DB-B214-1A0F0127CEE7}">
      <dgm:prSet/>
      <dgm:spPr/>
      <dgm:t>
        <a:bodyPr/>
        <a:lstStyle/>
        <a:p>
          <a:endParaRPr lang="nl-NL"/>
        </a:p>
      </dgm:t>
    </dgm:pt>
    <dgm:pt modelId="{C4F27131-7BDC-44DE-8205-D4894F8AB146}">
      <dgm:prSet custT="1"/>
      <dgm:spPr/>
      <dgm:t>
        <a:bodyPr/>
        <a:lstStyle/>
        <a:p>
          <a:r>
            <a:rPr lang="nl-NL" sz="1600" dirty="0"/>
            <a:t>Xl Deploy, jenkins</a:t>
          </a:r>
        </a:p>
      </dgm:t>
    </dgm:pt>
    <dgm:pt modelId="{66988250-4B69-46C2-B350-C4B73D7D2CF9}" type="parTrans" cxnId="{87F8F23C-7B08-4869-88FD-80F5EAD41544}">
      <dgm:prSet/>
      <dgm:spPr/>
      <dgm:t>
        <a:bodyPr/>
        <a:lstStyle/>
        <a:p>
          <a:endParaRPr lang="nl-NL"/>
        </a:p>
      </dgm:t>
    </dgm:pt>
    <dgm:pt modelId="{8BC00000-1DB5-4A9E-AF0B-4922267409D7}" type="sibTrans" cxnId="{87F8F23C-7B08-4869-88FD-80F5EAD41544}">
      <dgm:prSet/>
      <dgm:spPr/>
      <dgm:t>
        <a:bodyPr/>
        <a:lstStyle/>
        <a:p>
          <a:endParaRPr lang="nl-NL"/>
        </a:p>
      </dgm:t>
    </dgm:pt>
    <dgm:pt modelId="{B7420201-EF76-49C2-924D-88ED614F68D4}">
      <dgm:prSet custT="1"/>
      <dgm:spPr/>
      <dgm:t>
        <a:bodyPr/>
        <a:lstStyle/>
        <a:p>
          <a:r>
            <a:rPr lang="nl-NL" sz="1600" dirty="0"/>
            <a:t>Functional test &amp; Performace Test.</a:t>
          </a:r>
        </a:p>
      </dgm:t>
    </dgm:pt>
    <dgm:pt modelId="{38051068-C777-4976-A9D0-448B6E2D1410}" type="parTrans" cxnId="{67E9AF14-3171-4586-96B3-A9643F75E931}">
      <dgm:prSet/>
      <dgm:spPr/>
      <dgm:t>
        <a:bodyPr/>
        <a:lstStyle/>
        <a:p>
          <a:endParaRPr lang="nl-NL"/>
        </a:p>
      </dgm:t>
    </dgm:pt>
    <dgm:pt modelId="{7A76CCBF-9EF9-4019-B774-855617E7F854}" type="sibTrans" cxnId="{67E9AF14-3171-4586-96B3-A9643F75E931}">
      <dgm:prSet/>
      <dgm:spPr/>
      <dgm:t>
        <a:bodyPr/>
        <a:lstStyle/>
        <a:p>
          <a:endParaRPr lang="nl-NL"/>
        </a:p>
      </dgm:t>
    </dgm:pt>
    <dgm:pt modelId="{387237E7-7E1C-47FD-80D5-C1D51AC237CD}">
      <dgm:prSet custT="1"/>
      <dgm:spPr/>
      <dgm:t>
        <a:bodyPr/>
        <a:lstStyle/>
        <a:p>
          <a:r>
            <a:rPr lang="nl-NL" sz="1600" dirty="0"/>
            <a:t>Postman, Gatling </a:t>
          </a:r>
          <a:r>
            <a:rPr lang="nl-NL" sz="1200" dirty="0"/>
            <a:t>	</a:t>
          </a:r>
        </a:p>
      </dgm:t>
    </dgm:pt>
    <dgm:pt modelId="{C0C7FABE-094B-4698-8BDE-7FEA89352B6D}" type="parTrans" cxnId="{A1B3453E-867E-427F-B91C-AD9D14E1EAEC}">
      <dgm:prSet/>
      <dgm:spPr/>
      <dgm:t>
        <a:bodyPr/>
        <a:lstStyle/>
        <a:p>
          <a:endParaRPr lang="nl-NL"/>
        </a:p>
      </dgm:t>
    </dgm:pt>
    <dgm:pt modelId="{8C3A6696-6BC0-4256-A169-539B5F36980D}" type="sibTrans" cxnId="{A1B3453E-867E-427F-B91C-AD9D14E1EAEC}">
      <dgm:prSet/>
      <dgm:spPr/>
      <dgm:t>
        <a:bodyPr/>
        <a:lstStyle/>
        <a:p>
          <a:endParaRPr lang="nl-NL"/>
        </a:p>
      </dgm:t>
    </dgm:pt>
    <dgm:pt modelId="{BCE5ECB9-41AE-46B8-80A4-79B6A5F80F98}">
      <dgm:prSet custT="1"/>
      <dgm:spPr/>
      <dgm:t>
        <a:bodyPr/>
        <a:lstStyle/>
        <a:p>
          <a:r>
            <a:rPr lang="nl-NL" sz="1600" dirty="0"/>
            <a:t>Update Docs </a:t>
          </a:r>
        </a:p>
      </dgm:t>
    </dgm:pt>
    <dgm:pt modelId="{40F1D63F-F2B0-4CA0-996D-A81C1682A454}" type="parTrans" cxnId="{E5B0932C-1F21-41B5-8270-10CFA0A5E980}">
      <dgm:prSet/>
      <dgm:spPr/>
      <dgm:t>
        <a:bodyPr/>
        <a:lstStyle/>
        <a:p>
          <a:endParaRPr lang="nl-NL"/>
        </a:p>
      </dgm:t>
    </dgm:pt>
    <dgm:pt modelId="{323A6937-2891-4E62-BF26-2475467EC965}" type="sibTrans" cxnId="{E5B0932C-1F21-41B5-8270-10CFA0A5E980}">
      <dgm:prSet/>
      <dgm:spPr/>
      <dgm:t>
        <a:bodyPr/>
        <a:lstStyle/>
        <a:p>
          <a:endParaRPr lang="nl-NL"/>
        </a:p>
      </dgm:t>
    </dgm:pt>
    <dgm:pt modelId="{0B600379-B0E9-47F6-A664-47BEAF1FF060}">
      <dgm:prSet custT="1"/>
      <dgm:spPr/>
      <dgm:t>
        <a:bodyPr/>
        <a:lstStyle/>
        <a:p>
          <a:r>
            <a:rPr lang="nl-NL" sz="1600" dirty="0"/>
            <a:t>Developer portal, Confluence </a:t>
          </a:r>
        </a:p>
      </dgm:t>
    </dgm:pt>
    <dgm:pt modelId="{54B78500-8452-40A6-B4DE-538348BFB2AA}" type="parTrans" cxnId="{2E4977E0-BCA8-4B23-953A-C6631BFA6A0C}">
      <dgm:prSet/>
      <dgm:spPr/>
      <dgm:t>
        <a:bodyPr/>
        <a:lstStyle/>
        <a:p>
          <a:endParaRPr lang="nl-NL"/>
        </a:p>
      </dgm:t>
    </dgm:pt>
    <dgm:pt modelId="{CD34540A-A257-48EE-9F6E-C4DC2CCA4D1E}" type="sibTrans" cxnId="{2E4977E0-BCA8-4B23-953A-C6631BFA6A0C}">
      <dgm:prSet/>
      <dgm:spPr/>
      <dgm:t>
        <a:bodyPr/>
        <a:lstStyle/>
        <a:p>
          <a:endParaRPr lang="nl-NL"/>
        </a:p>
      </dgm:t>
    </dgm:pt>
    <dgm:pt modelId="{0670F8DB-E787-4673-BE6E-5FE28C581836}">
      <dgm:prSet custT="1"/>
      <dgm:spPr/>
      <dgm:t>
        <a:bodyPr/>
        <a:lstStyle/>
        <a:p>
          <a:r>
            <a:rPr lang="nl-NL" sz="1600" dirty="0"/>
            <a:t>Source Code </a:t>
          </a:r>
        </a:p>
      </dgm:t>
    </dgm:pt>
    <dgm:pt modelId="{D870634F-C4AA-47B0-989C-FCD430DEE850}" type="sibTrans" cxnId="{C8246EE9-E99F-4DB2-A0F6-AA1369AC8493}">
      <dgm:prSet/>
      <dgm:spPr/>
      <dgm:t>
        <a:bodyPr/>
        <a:lstStyle/>
        <a:p>
          <a:endParaRPr lang="nl-NL"/>
        </a:p>
      </dgm:t>
    </dgm:pt>
    <dgm:pt modelId="{698C209B-6C6D-4B5A-9E3B-691D9B9FCB66}" type="parTrans" cxnId="{C8246EE9-E99F-4DB2-A0F6-AA1369AC8493}">
      <dgm:prSet/>
      <dgm:spPr/>
      <dgm:t>
        <a:bodyPr/>
        <a:lstStyle/>
        <a:p>
          <a:endParaRPr lang="nl-NL"/>
        </a:p>
      </dgm:t>
    </dgm:pt>
    <dgm:pt modelId="{8DF1A290-223A-4A06-B7B7-3A19195E3A29}" type="pres">
      <dgm:prSet presAssocID="{96E2C266-F725-40F6-85A7-81CCDDF4015E}" presName="diagram" presStyleCnt="0">
        <dgm:presLayoutVars>
          <dgm:chPref val="1"/>
          <dgm:dir/>
          <dgm:animOne val="branch"/>
          <dgm:animLvl val="lvl"/>
          <dgm:resizeHandles/>
        </dgm:presLayoutVars>
      </dgm:prSet>
      <dgm:spPr/>
    </dgm:pt>
    <dgm:pt modelId="{D5C96A3E-DF48-4A05-BBC0-19E5071B246B}" type="pres">
      <dgm:prSet presAssocID="{0670F8DB-E787-4673-BE6E-5FE28C581836}" presName="root" presStyleCnt="0"/>
      <dgm:spPr/>
    </dgm:pt>
    <dgm:pt modelId="{7BB866B0-4EF3-4A2E-816F-2FD2D43AF2EC}" type="pres">
      <dgm:prSet presAssocID="{0670F8DB-E787-4673-BE6E-5FE28C581836}" presName="rootComposite" presStyleCnt="0"/>
      <dgm:spPr/>
    </dgm:pt>
    <dgm:pt modelId="{3961643B-28C4-420F-BCC7-B36560842276}" type="pres">
      <dgm:prSet presAssocID="{0670F8DB-E787-4673-BE6E-5FE28C581836}" presName="rootText" presStyleLbl="node1" presStyleIdx="0" presStyleCnt="6" custScaleY="168705"/>
      <dgm:spPr/>
    </dgm:pt>
    <dgm:pt modelId="{DFC19380-9024-4D6B-A601-310FC3397255}" type="pres">
      <dgm:prSet presAssocID="{0670F8DB-E787-4673-BE6E-5FE28C581836}" presName="rootConnector" presStyleLbl="node1" presStyleIdx="0" presStyleCnt="6"/>
      <dgm:spPr/>
    </dgm:pt>
    <dgm:pt modelId="{039AC14D-CD92-44A9-AC6D-C059A37AD442}" type="pres">
      <dgm:prSet presAssocID="{0670F8DB-E787-4673-BE6E-5FE28C581836}" presName="childShape" presStyleCnt="0"/>
      <dgm:spPr/>
    </dgm:pt>
    <dgm:pt modelId="{C530C862-689E-4F61-A86F-56BB473C94D3}" type="pres">
      <dgm:prSet presAssocID="{5562D39B-E09D-4050-8D9D-3AE0CD450BAB}" presName="Name13" presStyleLbl="parChTrans1D2" presStyleIdx="0" presStyleCnt="6"/>
      <dgm:spPr/>
    </dgm:pt>
    <dgm:pt modelId="{9BDF4843-B4F0-4EC8-8366-9C4FF0A17A96}" type="pres">
      <dgm:prSet presAssocID="{094491CE-A84A-4AA7-9CBA-465F44AE6F4B}" presName="childText" presStyleLbl="bgAcc1" presStyleIdx="0" presStyleCnt="6" custScaleY="184442">
        <dgm:presLayoutVars>
          <dgm:bulletEnabled val="1"/>
        </dgm:presLayoutVars>
      </dgm:prSet>
      <dgm:spPr/>
    </dgm:pt>
    <dgm:pt modelId="{FB7CAD51-13C1-4020-B28C-3CC3BA132023}" type="pres">
      <dgm:prSet presAssocID="{22F6D948-82D8-4A7E-9F44-10AD3053DE3E}" presName="root" presStyleCnt="0"/>
      <dgm:spPr/>
    </dgm:pt>
    <dgm:pt modelId="{242778BB-28A4-450B-8320-611C7F2868B3}" type="pres">
      <dgm:prSet presAssocID="{22F6D948-82D8-4A7E-9F44-10AD3053DE3E}" presName="rootComposite" presStyleCnt="0"/>
      <dgm:spPr/>
    </dgm:pt>
    <dgm:pt modelId="{2F145268-403F-42C4-BB18-4A65691BF136}" type="pres">
      <dgm:prSet presAssocID="{22F6D948-82D8-4A7E-9F44-10AD3053DE3E}" presName="rootText" presStyleLbl="node1" presStyleIdx="1" presStyleCnt="6" custScaleY="171695"/>
      <dgm:spPr/>
    </dgm:pt>
    <dgm:pt modelId="{2106F62E-6647-4A2D-82E0-B68572F4E382}" type="pres">
      <dgm:prSet presAssocID="{22F6D948-82D8-4A7E-9F44-10AD3053DE3E}" presName="rootConnector" presStyleLbl="node1" presStyleIdx="1" presStyleCnt="6"/>
      <dgm:spPr/>
    </dgm:pt>
    <dgm:pt modelId="{8BD21876-C8A0-41FA-AB0E-AF25FE34FF2D}" type="pres">
      <dgm:prSet presAssocID="{22F6D948-82D8-4A7E-9F44-10AD3053DE3E}" presName="childShape" presStyleCnt="0"/>
      <dgm:spPr/>
    </dgm:pt>
    <dgm:pt modelId="{7EE1EBE7-3987-4CC3-9FE6-8461A8808B3E}" type="pres">
      <dgm:prSet presAssocID="{9DC4BDB1-6B21-4330-9E79-5D2E7BE87533}" presName="Name13" presStyleLbl="parChTrans1D2" presStyleIdx="1" presStyleCnt="6"/>
      <dgm:spPr/>
    </dgm:pt>
    <dgm:pt modelId="{02C4992F-F28F-46A0-8B26-4A3A5EB2F252}" type="pres">
      <dgm:prSet presAssocID="{7073F18A-2AB1-4E41-8E62-37A7CACE1ED3}" presName="childText" presStyleLbl="bgAcc1" presStyleIdx="1" presStyleCnt="6" custScaleX="109082" custScaleY="174626">
        <dgm:presLayoutVars>
          <dgm:bulletEnabled val="1"/>
        </dgm:presLayoutVars>
      </dgm:prSet>
      <dgm:spPr/>
    </dgm:pt>
    <dgm:pt modelId="{B946F133-41B4-4F24-AD4A-2BD6646DF79F}" type="pres">
      <dgm:prSet presAssocID="{1C96173E-6DE8-47D2-A16D-6044B6B6AE38}" presName="root" presStyleCnt="0"/>
      <dgm:spPr/>
    </dgm:pt>
    <dgm:pt modelId="{ED76DE82-9C0D-4081-AD28-FF733A551E70}" type="pres">
      <dgm:prSet presAssocID="{1C96173E-6DE8-47D2-A16D-6044B6B6AE38}" presName="rootComposite" presStyleCnt="0"/>
      <dgm:spPr/>
    </dgm:pt>
    <dgm:pt modelId="{6D08E2B6-BE93-4DFD-88FD-5F0987B52E69}" type="pres">
      <dgm:prSet presAssocID="{1C96173E-6DE8-47D2-A16D-6044B6B6AE38}" presName="rootText" presStyleLbl="node1" presStyleIdx="2" presStyleCnt="6" custScaleY="171695"/>
      <dgm:spPr/>
    </dgm:pt>
    <dgm:pt modelId="{EE53E311-6640-4558-B05E-03A319ED8006}" type="pres">
      <dgm:prSet presAssocID="{1C96173E-6DE8-47D2-A16D-6044B6B6AE38}" presName="rootConnector" presStyleLbl="node1" presStyleIdx="2" presStyleCnt="6"/>
      <dgm:spPr/>
    </dgm:pt>
    <dgm:pt modelId="{6D97C909-E84F-4381-864D-7F3D31088BDD}" type="pres">
      <dgm:prSet presAssocID="{1C96173E-6DE8-47D2-A16D-6044B6B6AE38}" presName="childShape" presStyleCnt="0"/>
      <dgm:spPr/>
    </dgm:pt>
    <dgm:pt modelId="{946A9B53-6303-4203-BFF9-30E754873D29}" type="pres">
      <dgm:prSet presAssocID="{D0C65FB6-913E-48ED-B941-F89A770F5B96}" presName="Name13" presStyleLbl="parChTrans1D2" presStyleIdx="2" presStyleCnt="6"/>
      <dgm:spPr/>
    </dgm:pt>
    <dgm:pt modelId="{8A499DA1-8F1C-4ED6-B7BB-CAED285271CA}" type="pres">
      <dgm:prSet presAssocID="{C602D4A9-53BE-4405-BA36-A3FABA667552}" presName="childText" presStyleLbl="bgAcc1" presStyleIdx="2" presStyleCnt="6" custScaleX="118652" custScaleY="178040">
        <dgm:presLayoutVars>
          <dgm:bulletEnabled val="1"/>
        </dgm:presLayoutVars>
      </dgm:prSet>
      <dgm:spPr/>
    </dgm:pt>
    <dgm:pt modelId="{DE69C937-9EF7-4CE0-8B27-625C238F8B47}" type="pres">
      <dgm:prSet presAssocID="{B34EC0D2-B218-4A8F-A961-1122EA07FBD4}" presName="root" presStyleCnt="0"/>
      <dgm:spPr/>
    </dgm:pt>
    <dgm:pt modelId="{876F5C5D-93A8-414E-810F-84822465A153}" type="pres">
      <dgm:prSet presAssocID="{B34EC0D2-B218-4A8F-A961-1122EA07FBD4}" presName="rootComposite" presStyleCnt="0"/>
      <dgm:spPr/>
    </dgm:pt>
    <dgm:pt modelId="{D11C7A08-B721-4CCD-A7EE-1A923E109D18}" type="pres">
      <dgm:prSet presAssocID="{B34EC0D2-B218-4A8F-A961-1122EA07FBD4}" presName="rootText" presStyleLbl="node1" presStyleIdx="3" presStyleCnt="6" custScaleY="168282"/>
      <dgm:spPr/>
    </dgm:pt>
    <dgm:pt modelId="{DCA29388-B5CD-4EF2-B570-80E61BC4C244}" type="pres">
      <dgm:prSet presAssocID="{B34EC0D2-B218-4A8F-A961-1122EA07FBD4}" presName="rootConnector" presStyleLbl="node1" presStyleIdx="3" presStyleCnt="6"/>
      <dgm:spPr/>
    </dgm:pt>
    <dgm:pt modelId="{169C4917-EE65-4B14-816D-4F5B7DF53762}" type="pres">
      <dgm:prSet presAssocID="{B34EC0D2-B218-4A8F-A961-1122EA07FBD4}" presName="childShape" presStyleCnt="0"/>
      <dgm:spPr/>
    </dgm:pt>
    <dgm:pt modelId="{D050225E-0827-4FBA-8C0E-E7C834C6F5B2}" type="pres">
      <dgm:prSet presAssocID="{66988250-4B69-46C2-B350-C4B73D7D2CF9}" presName="Name13" presStyleLbl="parChTrans1D2" presStyleIdx="3" presStyleCnt="6"/>
      <dgm:spPr/>
    </dgm:pt>
    <dgm:pt modelId="{909D2783-8C9C-4614-B320-AFDE73A3EF7B}" type="pres">
      <dgm:prSet presAssocID="{C4F27131-7BDC-44DE-8205-D4894F8AB146}" presName="childText" presStyleLbl="bgAcc1" presStyleIdx="3" presStyleCnt="6" custScaleY="184865">
        <dgm:presLayoutVars>
          <dgm:bulletEnabled val="1"/>
        </dgm:presLayoutVars>
      </dgm:prSet>
      <dgm:spPr/>
    </dgm:pt>
    <dgm:pt modelId="{A9C3E8D4-CA76-40A4-95A8-E6E175606163}" type="pres">
      <dgm:prSet presAssocID="{B7420201-EF76-49C2-924D-88ED614F68D4}" presName="root" presStyleCnt="0"/>
      <dgm:spPr/>
    </dgm:pt>
    <dgm:pt modelId="{D36BDEC2-1993-4E42-B3F4-CD7A548076E0}" type="pres">
      <dgm:prSet presAssocID="{B7420201-EF76-49C2-924D-88ED614F68D4}" presName="rootComposite" presStyleCnt="0"/>
      <dgm:spPr/>
    </dgm:pt>
    <dgm:pt modelId="{968F3ACD-816D-4215-8FE3-24697294ECEA}" type="pres">
      <dgm:prSet presAssocID="{B7420201-EF76-49C2-924D-88ED614F68D4}" presName="rootText" presStyleLbl="node1" presStyleIdx="4" presStyleCnt="6" custScaleY="158911"/>
      <dgm:spPr/>
    </dgm:pt>
    <dgm:pt modelId="{E0B5B41D-69FB-41C9-B27A-640B3485998E}" type="pres">
      <dgm:prSet presAssocID="{B7420201-EF76-49C2-924D-88ED614F68D4}" presName="rootConnector" presStyleLbl="node1" presStyleIdx="4" presStyleCnt="6"/>
      <dgm:spPr/>
    </dgm:pt>
    <dgm:pt modelId="{EF216FC1-C7CA-4E29-9DE3-C60C9A05D2DE}" type="pres">
      <dgm:prSet presAssocID="{B7420201-EF76-49C2-924D-88ED614F68D4}" presName="childShape" presStyleCnt="0"/>
      <dgm:spPr/>
    </dgm:pt>
    <dgm:pt modelId="{31E6D1DB-24D1-4389-BF2C-24EE6A3A6E53}" type="pres">
      <dgm:prSet presAssocID="{C0C7FABE-094B-4698-8BDE-7FEA89352B6D}" presName="Name13" presStyleLbl="parChTrans1D2" presStyleIdx="4" presStyleCnt="6"/>
      <dgm:spPr/>
    </dgm:pt>
    <dgm:pt modelId="{2AA693EC-7BE2-4D7A-BF36-9994B63C91FC}" type="pres">
      <dgm:prSet presAssocID="{387237E7-7E1C-47FD-80D5-C1D51AC237CD}" presName="childText" presStyleLbl="bgAcc1" presStyleIdx="4" presStyleCnt="6" custScaleX="112798" custScaleY="190823">
        <dgm:presLayoutVars>
          <dgm:bulletEnabled val="1"/>
        </dgm:presLayoutVars>
      </dgm:prSet>
      <dgm:spPr/>
    </dgm:pt>
    <dgm:pt modelId="{23893703-B51E-4DC2-8861-1CC196CBD419}" type="pres">
      <dgm:prSet presAssocID="{BCE5ECB9-41AE-46B8-80A4-79B6A5F80F98}" presName="root" presStyleCnt="0"/>
      <dgm:spPr/>
    </dgm:pt>
    <dgm:pt modelId="{C9285DC0-D57B-47E2-B16C-1BFD61BD12AF}" type="pres">
      <dgm:prSet presAssocID="{BCE5ECB9-41AE-46B8-80A4-79B6A5F80F98}" presName="rootComposite" presStyleCnt="0"/>
      <dgm:spPr/>
    </dgm:pt>
    <dgm:pt modelId="{14F86B9E-0F0F-492C-AE76-AA73A060BCB6}" type="pres">
      <dgm:prSet presAssocID="{BCE5ECB9-41AE-46B8-80A4-79B6A5F80F98}" presName="rootText" presStyleLbl="node1" presStyleIdx="5" presStyleCnt="6" custScaleY="158043"/>
      <dgm:spPr/>
    </dgm:pt>
    <dgm:pt modelId="{9604C35B-2AB8-4CAE-B982-947F1A40BBD3}" type="pres">
      <dgm:prSet presAssocID="{BCE5ECB9-41AE-46B8-80A4-79B6A5F80F98}" presName="rootConnector" presStyleLbl="node1" presStyleIdx="5" presStyleCnt="6"/>
      <dgm:spPr/>
    </dgm:pt>
    <dgm:pt modelId="{59D82FA1-E333-4900-AA7E-BA92B1CE11B2}" type="pres">
      <dgm:prSet presAssocID="{BCE5ECB9-41AE-46B8-80A4-79B6A5F80F98}" presName="childShape" presStyleCnt="0"/>
      <dgm:spPr/>
    </dgm:pt>
    <dgm:pt modelId="{D4A09E80-0FA3-4892-B56A-01F57F69F26F}" type="pres">
      <dgm:prSet presAssocID="{54B78500-8452-40A6-B4DE-538348BFB2AA}" presName="Name13" presStyleLbl="parChTrans1D2" presStyleIdx="5" presStyleCnt="6"/>
      <dgm:spPr/>
    </dgm:pt>
    <dgm:pt modelId="{FDD68E04-34FD-4A50-8B6C-89DBC0C85C7F}" type="pres">
      <dgm:prSet presAssocID="{0B600379-B0E9-47F6-A664-47BEAF1FF060}" presName="childText" presStyleLbl="bgAcc1" presStyleIdx="5" presStyleCnt="6" custScaleX="125836" custScaleY="194732">
        <dgm:presLayoutVars>
          <dgm:bulletEnabled val="1"/>
        </dgm:presLayoutVars>
      </dgm:prSet>
      <dgm:spPr/>
    </dgm:pt>
  </dgm:ptLst>
  <dgm:cxnLst>
    <dgm:cxn modelId="{63C65000-99C3-4A8F-A78B-39C9931F8B3E}" type="presOf" srcId="{B7420201-EF76-49C2-924D-88ED614F68D4}" destId="{E0B5B41D-69FB-41C9-B27A-640B3485998E}" srcOrd="1" destOrd="0" presId="urn:microsoft.com/office/officeart/2005/8/layout/hierarchy3"/>
    <dgm:cxn modelId="{ECBFDF00-A20F-4603-BE25-C95388084F5D}" type="presOf" srcId="{D0C65FB6-913E-48ED-B941-F89A770F5B96}" destId="{946A9B53-6303-4203-BFF9-30E754873D29}" srcOrd="0" destOrd="0" presId="urn:microsoft.com/office/officeart/2005/8/layout/hierarchy3"/>
    <dgm:cxn modelId="{67E9AF14-3171-4586-96B3-A9643F75E931}" srcId="{96E2C266-F725-40F6-85A7-81CCDDF4015E}" destId="{B7420201-EF76-49C2-924D-88ED614F68D4}" srcOrd="4" destOrd="0" parTransId="{38051068-C777-4976-A9D0-448B6E2D1410}" sibTransId="{7A76CCBF-9EF9-4019-B774-855617E7F854}"/>
    <dgm:cxn modelId="{C43F561C-5AF3-43DB-B214-1A0F0127CEE7}" srcId="{96E2C266-F725-40F6-85A7-81CCDDF4015E}" destId="{B34EC0D2-B218-4A8F-A961-1122EA07FBD4}" srcOrd="3" destOrd="0" parTransId="{C75B34FF-9E05-41DC-A2FB-36B32F88B10D}" sibTransId="{54D3F65C-4AFC-409F-8304-5490A8BF80EF}"/>
    <dgm:cxn modelId="{88155524-8734-47DE-83E5-2E79265741B1}" type="presOf" srcId="{BCE5ECB9-41AE-46B8-80A4-79B6A5F80F98}" destId="{9604C35B-2AB8-4CAE-B982-947F1A40BBD3}" srcOrd="1" destOrd="0" presId="urn:microsoft.com/office/officeart/2005/8/layout/hierarchy3"/>
    <dgm:cxn modelId="{E5B0932C-1F21-41B5-8270-10CFA0A5E980}" srcId="{96E2C266-F725-40F6-85A7-81CCDDF4015E}" destId="{BCE5ECB9-41AE-46B8-80A4-79B6A5F80F98}" srcOrd="5" destOrd="0" parTransId="{40F1D63F-F2B0-4CA0-996D-A81C1682A454}" sibTransId="{323A6937-2891-4E62-BF26-2475467EC965}"/>
    <dgm:cxn modelId="{7283FC3B-18C3-401B-A607-C9DE0B2A8C31}" type="presOf" srcId="{B34EC0D2-B218-4A8F-A961-1122EA07FBD4}" destId="{DCA29388-B5CD-4EF2-B570-80E61BC4C244}" srcOrd="1" destOrd="0" presId="urn:microsoft.com/office/officeart/2005/8/layout/hierarchy3"/>
    <dgm:cxn modelId="{87F8F23C-7B08-4869-88FD-80F5EAD41544}" srcId="{B34EC0D2-B218-4A8F-A961-1122EA07FBD4}" destId="{C4F27131-7BDC-44DE-8205-D4894F8AB146}" srcOrd="0" destOrd="0" parTransId="{66988250-4B69-46C2-B350-C4B73D7D2CF9}" sibTransId="{8BC00000-1DB5-4A9E-AF0B-4922267409D7}"/>
    <dgm:cxn modelId="{A1B3453E-867E-427F-B91C-AD9D14E1EAEC}" srcId="{B7420201-EF76-49C2-924D-88ED614F68D4}" destId="{387237E7-7E1C-47FD-80D5-C1D51AC237CD}" srcOrd="0" destOrd="0" parTransId="{C0C7FABE-094B-4698-8BDE-7FEA89352B6D}" sibTransId="{8C3A6696-6BC0-4256-A169-539B5F36980D}"/>
    <dgm:cxn modelId="{62239542-3FA9-42CA-8167-E96FC4C856F3}" type="presOf" srcId="{B7420201-EF76-49C2-924D-88ED614F68D4}" destId="{968F3ACD-816D-4215-8FE3-24697294ECEA}" srcOrd="0" destOrd="0" presId="urn:microsoft.com/office/officeart/2005/8/layout/hierarchy3"/>
    <dgm:cxn modelId="{70320E68-09C8-48F3-88CE-4B4F3956D959}" type="presOf" srcId="{5562D39B-E09D-4050-8D9D-3AE0CD450BAB}" destId="{C530C862-689E-4F61-A86F-56BB473C94D3}" srcOrd="0" destOrd="0" presId="urn:microsoft.com/office/officeart/2005/8/layout/hierarchy3"/>
    <dgm:cxn modelId="{226CA168-169F-4DAC-B457-CCB1EDCFBAD8}" srcId="{96E2C266-F725-40F6-85A7-81CCDDF4015E}" destId="{1C96173E-6DE8-47D2-A16D-6044B6B6AE38}" srcOrd="2" destOrd="0" parTransId="{82336F68-DCD5-462A-8F32-4CC51B093E8C}" sibTransId="{1856483A-3993-4D46-8DC8-98AEF1F78B6F}"/>
    <dgm:cxn modelId="{AC24FA48-6650-411F-A99D-892531DA2309}" srcId="{22F6D948-82D8-4A7E-9F44-10AD3053DE3E}" destId="{7073F18A-2AB1-4E41-8E62-37A7CACE1ED3}" srcOrd="0" destOrd="0" parTransId="{9DC4BDB1-6B21-4330-9E79-5D2E7BE87533}" sibTransId="{5B87A544-1BF8-4D7C-B9D5-C3439DAA4E66}"/>
    <dgm:cxn modelId="{50D9926B-A080-4E43-AB86-EDC13A970FB5}" srcId="{1C96173E-6DE8-47D2-A16D-6044B6B6AE38}" destId="{C602D4A9-53BE-4405-BA36-A3FABA667552}" srcOrd="0" destOrd="0" parTransId="{D0C65FB6-913E-48ED-B941-F89A770F5B96}" sibTransId="{F415C3F0-113C-45C7-A62C-068C2B78D814}"/>
    <dgm:cxn modelId="{5B36344D-0BBA-4A21-9020-655980BD419E}" type="presOf" srcId="{66988250-4B69-46C2-B350-C4B73D7D2CF9}" destId="{D050225E-0827-4FBA-8C0E-E7C834C6F5B2}" srcOrd="0" destOrd="0" presId="urn:microsoft.com/office/officeart/2005/8/layout/hierarchy3"/>
    <dgm:cxn modelId="{BEDC5754-37B4-4E3E-9AD6-BC79BD51E132}" srcId="{96E2C266-F725-40F6-85A7-81CCDDF4015E}" destId="{22F6D948-82D8-4A7E-9F44-10AD3053DE3E}" srcOrd="1" destOrd="0" parTransId="{3F0280D0-74FE-458A-9139-D69977A00137}" sibTransId="{5D15E62D-B2ED-4AB1-9942-8890C859833B}"/>
    <dgm:cxn modelId="{F7280E80-7643-4556-A14B-AD346D0E0B73}" type="presOf" srcId="{0B600379-B0E9-47F6-A664-47BEAF1FF060}" destId="{FDD68E04-34FD-4A50-8B6C-89DBC0C85C7F}" srcOrd="0" destOrd="0" presId="urn:microsoft.com/office/officeart/2005/8/layout/hierarchy3"/>
    <dgm:cxn modelId="{EF2D3C83-9670-4611-9A86-7B411286594E}" type="presOf" srcId="{C602D4A9-53BE-4405-BA36-A3FABA667552}" destId="{8A499DA1-8F1C-4ED6-B7BB-CAED285271CA}" srcOrd="0" destOrd="0" presId="urn:microsoft.com/office/officeart/2005/8/layout/hierarchy3"/>
    <dgm:cxn modelId="{A7282187-3279-4744-BB62-D22D00EB5B47}" type="presOf" srcId="{1C96173E-6DE8-47D2-A16D-6044B6B6AE38}" destId="{6D08E2B6-BE93-4DFD-88FD-5F0987B52E69}" srcOrd="0" destOrd="0" presId="urn:microsoft.com/office/officeart/2005/8/layout/hierarchy3"/>
    <dgm:cxn modelId="{0865138C-D537-49A7-8B6C-3652CFAF53CC}" srcId="{0670F8DB-E787-4673-BE6E-5FE28C581836}" destId="{094491CE-A84A-4AA7-9CBA-465F44AE6F4B}" srcOrd="0" destOrd="0" parTransId="{5562D39B-E09D-4050-8D9D-3AE0CD450BAB}" sibTransId="{BE818C8B-51FB-4EA3-803D-85694579E1ED}"/>
    <dgm:cxn modelId="{62F52F8F-F9AA-41EB-8808-D5245A9DBC7E}" type="presOf" srcId="{BCE5ECB9-41AE-46B8-80A4-79B6A5F80F98}" destId="{14F86B9E-0F0F-492C-AE76-AA73A060BCB6}" srcOrd="0" destOrd="0" presId="urn:microsoft.com/office/officeart/2005/8/layout/hierarchy3"/>
    <dgm:cxn modelId="{63EC3B9D-D4B5-45C1-86B0-43B89EED6305}" type="presOf" srcId="{96E2C266-F725-40F6-85A7-81CCDDF4015E}" destId="{8DF1A290-223A-4A06-B7B7-3A19195E3A29}" srcOrd="0" destOrd="0" presId="urn:microsoft.com/office/officeart/2005/8/layout/hierarchy3"/>
    <dgm:cxn modelId="{81702C9F-F1B9-4582-BE98-E492A749AE5B}" type="presOf" srcId="{54B78500-8452-40A6-B4DE-538348BFB2AA}" destId="{D4A09E80-0FA3-4892-B56A-01F57F69F26F}" srcOrd="0" destOrd="0" presId="urn:microsoft.com/office/officeart/2005/8/layout/hierarchy3"/>
    <dgm:cxn modelId="{C81AE7A5-090C-4E98-8284-37C0B42BEE2E}" type="presOf" srcId="{B34EC0D2-B218-4A8F-A961-1122EA07FBD4}" destId="{D11C7A08-B721-4CCD-A7EE-1A923E109D18}" srcOrd="0" destOrd="0" presId="urn:microsoft.com/office/officeart/2005/8/layout/hierarchy3"/>
    <dgm:cxn modelId="{5E3831A7-480F-4E07-9EE9-A397BC1A6227}" type="presOf" srcId="{C0C7FABE-094B-4698-8BDE-7FEA89352B6D}" destId="{31E6D1DB-24D1-4389-BF2C-24EE6A3A6E53}" srcOrd="0" destOrd="0" presId="urn:microsoft.com/office/officeart/2005/8/layout/hierarchy3"/>
    <dgm:cxn modelId="{D444ABAC-821F-48D5-802B-1F677647E736}" type="presOf" srcId="{22F6D948-82D8-4A7E-9F44-10AD3053DE3E}" destId="{2106F62E-6647-4A2D-82E0-B68572F4E382}" srcOrd="1" destOrd="0" presId="urn:microsoft.com/office/officeart/2005/8/layout/hierarchy3"/>
    <dgm:cxn modelId="{FA912FB6-37E9-48BB-A5B5-AC7057EF89D9}" type="presOf" srcId="{C4F27131-7BDC-44DE-8205-D4894F8AB146}" destId="{909D2783-8C9C-4614-B320-AFDE73A3EF7B}" srcOrd="0" destOrd="0" presId="urn:microsoft.com/office/officeart/2005/8/layout/hierarchy3"/>
    <dgm:cxn modelId="{A23EB5BD-01A9-4216-94CB-1D62CC0268E1}" type="presOf" srcId="{9DC4BDB1-6B21-4330-9E79-5D2E7BE87533}" destId="{7EE1EBE7-3987-4CC3-9FE6-8461A8808B3E}" srcOrd="0" destOrd="0" presId="urn:microsoft.com/office/officeart/2005/8/layout/hierarchy3"/>
    <dgm:cxn modelId="{BB2A97C0-142D-4219-9579-7DE3215E199E}" type="presOf" srcId="{0670F8DB-E787-4673-BE6E-5FE28C581836}" destId="{3961643B-28C4-420F-BCC7-B36560842276}" srcOrd="0" destOrd="0" presId="urn:microsoft.com/office/officeart/2005/8/layout/hierarchy3"/>
    <dgm:cxn modelId="{0B5F4AC5-D84B-494E-B17A-7803D6C7E0C9}" type="presOf" srcId="{0670F8DB-E787-4673-BE6E-5FE28C581836}" destId="{DFC19380-9024-4D6B-A601-310FC3397255}" srcOrd="1" destOrd="0" presId="urn:microsoft.com/office/officeart/2005/8/layout/hierarchy3"/>
    <dgm:cxn modelId="{3B60CBDA-43A2-4146-9AC9-09EE58D1CA8D}" type="presOf" srcId="{22F6D948-82D8-4A7E-9F44-10AD3053DE3E}" destId="{2F145268-403F-42C4-BB18-4A65691BF136}" srcOrd="0" destOrd="0" presId="urn:microsoft.com/office/officeart/2005/8/layout/hierarchy3"/>
    <dgm:cxn modelId="{3C5A1CE0-FDAB-415C-909C-7FB1BA086EA5}" type="presOf" srcId="{094491CE-A84A-4AA7-9CBA-465F44AE6F4B}" destId="{9BDF4843-B4F0-4EC8-8366-9C4FF0A17A96}" srcOrd="0" destOrd="0" presId="urn:microsoft.com/office/officeart/2005/8/layout/hierarchy3"/>
    <dgm:cxn modelId="{2E4977E0-BCA8-4B23-953A-C6631BFA6A0C}" srcId="{BCE5ECB9-41AE-46B8-80A4-79B6A5F80F98}" destId="{0B600379-B0E9-47F6-A664-47BEAF1FF060}" srcOrd="0" destOrd="0" parTransId="{54B78500-8452-40A6-B4DE-538348BFB2AA}" sibTransId="{CD34540A-A257-48EE-9F6E-C4DC2CCA4D1E}"/>
    <dgm:cxn modelId="{29EAA1E0-2AF6-4933-887F-2AB82804C3F4}" type="presOf" srcId="{1C96173E-6DE8-47D2-A16D-6044B6B6AE38}" destId="{EE53E311-6640-4558-B05E-03A319ED8006}" srcOrd="1" destOrd="0" presId="urn:microsoft.com/office/officeart/2005/8/layout/hierarchy3"/>
    <dgm:cxn modelId="{C0E8D4E4-430B-48D7-854B-C7DF85F263B2}" type="presOf" srcId="{387237E7-7E1C-47FD-80D5-C1D51AC237CD}" destId="{2AA693EC-7BE2-4D7A-BF36-9994B63C91FC}" srcOrd="0" destOrd="0" presId="urn:microsoft.com/office/officeart/2005/8/layout/hierarchy3"/>
    <dgm:cxn modelId="{C8246EE9-E99F-4DB2-A0F6-AA1369AC8493}" srcId="{96E2C266-F725-40F6-85A7-81CCDDF4015E}" destId="{0670F8DB-E787-4673-BE6E-5FE28C581836}" srcOrd="0" destOrd="0" parTransId="{698C209B-6C6D-4B5A-9E3B-691D9B9FCB66}" sibTransId="{D870634F-C4AA-47B0-989C-FCD430DEE850}"/>
    <dgm:cxn modelId="{FDBA55EF-6CA7-4D62-B87A-98F28BFF81C2}" type="presOf" srcId="{7073F18A-2AB1-4E41-8E62-37A7CACE1ED3}" destId="{02C4992F-F28F-46A0-8B26-4A3A5EB2F252}" srcOrd="0" destOrd="0" presId="urn:microsoft.com/office/officeart/2005/8/layout/hierarchy3"/>
    <dgm:cxn modelId="{6114FD65-D124-43E0-9006-29AFBD03AE28}" type="presParOf" srcId="{8DF1A290-223A-4A06-B7B7-3A19195E3A29}" destId="{D5C96A3E-DF48-4A05-BBC0-19E5071B246B}" srcOrd="0" destOrd="0" presId="urn:microsoft.com/office/officeart/2005/8/layout/hierarchy3"/>
    <dgm:cxn modelId="{3B4D725E-8641-456E-92CF-3B5A5D5C27BD}" type="presParOf" srcId="{D5C96A3E-DF48-4A05-BBC0-19E5071B246B}" destId="{7BB866B0-4EF3-4A2E-816F-2FD2D43AF2EC}" srcOrd="0" destOrd="0" presId="urn:microsoft.com/office/officeart/2005/8/layout/hierarchy3"/>
    <dgm:cxn modelId="{53B42311-8E1B-4B39-93DD-D0D4DF28F91E}" type="presParOf" srcId="{7BB866B0-4EF3-4A2E-816F-2FD2D43AF2EC}" destId="{3961643B-28C4-420F-BCC7-B36560842276}" srcOrd="0" destOrd="0" presId="urn:microsoft.com/office/officeart/2005/8/layout/hierarchy3"/>
    <dgm:cxn modelId="{24174396-805B-422D-927C-7C1132F9AB52}" type="presParOf" srcId="{7BB866B0-4EF3-4A2E-816F-2FD2D43AF2EC}" destId="{DFC19380-9024-4D6B-A601-310FC3397255}" srcOrd="1" destOrd="0" presId="urn:microsoft.com/office/officeart/2005/8/layout/hierarchy3"/>
    <dgm:cxn modelId="{EFA83137-A76C-426C-8260-D74087689E4E}" type="presParOf" srcId="{D5C96A3E-DF48-4A05-BBC0-19E5071B246B}" destId="{039AC14D-CD92-44A9-AC6D-C059A37AD442}" srcOrd="1" destOrd="0" presId="urn:microsoft.com/office/officeart/2005/8/layout/hierarchy3"/>
    <dgm:cxn modelId="{FED9F619-C687-4E12-960C-67D16AFC77AF}" type="presParOf" srcId="{039AC14D-CD92-44A9-AC6D-C059A37AD442}" destId="{C530C862-689E-4F61-A86F-56BB473C94D3}" srcOrd="0" destOrd="0" presId="urn:microsoft.com/office/officeart/2005/8/layout/hierarchy3"/>
    <dgm:cxn modelId="{9988E78F-43D2-4E03-9028-959B995347CA}" type="presParOf" srcId="{039AC14D-CD92-44A9-AC6D-C059A37AD442}" destId="{9BDF4843-B4F0-4EC8-8366-9C4FF0A17A96}" srcOrd="1" destOrd="0" presId="urn:microsoft.com/office/officeart/2005/8/layout/hierarchy3"/>
    <dgm:cxn modelId="{B08AEFC4-630F-4802-A31E-B820314DAA03}" type="presParOf" srcId="{8DF1A290-223A-4A06-B7B7-3A19195E3A29}" destId="{FB7CAD51-13C1-4020-B28C-3CC3BA132023}" srcOrd="1" destOrd="0" presId="urn:microsoft.com/office/officeart/2005/8/layout/hierarchy3"/>
    <dgm:cxn modelId="{7061AF1F-C125-4E3D-992C-68728472641E}" type="presParOf" srcId="{FB7CAD51-13C1-4020-B28C-3CC3BA132023}" destId="{242778BB-28A4-450B-8320-611C7F2868B3}" srcOrd="0" destOrd="0" presId="urn:microsoft.com/office/officeart/2005/8/layout/hierarchy3"/>
    <dgm:cxn modelId="{28A820DB-EDC5-4C98-8F39-FC074DE24E8A}" type="presParOf" srcId="{242778BB-28A4-450B-8320-611C7F2868B3}" destId="{2F145268-403F-42C4-BB18-4A65691BF136}" srcOrd="0" destOrd="0" presId="urn:microsoft.com/office/officeart/2005/8/layout/hierarchy3"/>
    <dgm:cxn modelId="{592F5484-2342-4AC6-92BC-01FFACBC1561}" type="presParOf" srcId="{242778BB-28A4-450B-8320-611C7F2868B3}" destId="{2106F62E-6647-4A2D-82E0-B68572F4E382}" srcOrd="1" destOrd="0" presId="urn:microsoft.com/office/officeart/2005/8/layout/hierarchy3"/>
    <dgm:cxn modelId="{2C3D6F82-C685-4657-BC3E-D532B7047B7E}" type="presParOf" srcId="{FB7CAD51-13C1-4020-B28C-3CC3BA132023}" destId="{8BD21876-C8A0-41FA-AB0E-AF25FE34FF2D}" srcOrd="1" destOrd="0" presId="urn:microsoft.com/office/officeart/2005/8/layout/hierarchy3"/>
    <dgm:cxn modelId="{3DC4A167-3FF5-4EE7-871E-820CF1E2956E}" type="presParOf" srcId="{8BD21876-C8A0-41FA-AB0E-AF25FE34FF2D}" destId="{7EE1EBE7-3987-4CC3-9FE6-8461A8808B3E}" srcOrd="0" destOrd="0" presId="urn:microsoft.com/office/officeart/2005/8/layout/hierarchy3"/>
    <dgm:cxn modelId="{0E057101-7CA1-44F2-AB4C-2972EC11A532}" type="presParOf" srcId="{8BD21876-C8A0-41FA-AB0E-AF25FE34FF2D}" destId="{02C4992F-F28F-46A0-8B26-4A3A5EB2F252}" srcOrd="1" destOrd="0" presId="urn:microsoft.com/office/officeart/2005/8/layout/hierarchy3"/>
    <dgm:cxn modelId="{5E7644F3-0DA1-46BD-AA0D-338C334FE60F}" type="presParOf" srcId="{8DF1A290-223A-4A06-B7B7-3A19195E3A29}" destId="{B946F133-41B4-4F24-AD4A-2BD6646DF79F}" srcOrd="2" destOrd="0" presId="urn:microsoft.com/office/officeart/2005/8/layout/hierarchy3"/>
    <dgm:cxn modelId="{BCC6D591-4FC3-49B6-9BA8-E714AD5B7791}" type="presParOf" srcId="{B946F133-41B4-4F24-AD4A-2BD6646DF79F}" destId="{ED76DE82-9C0D-4081-AD28-FF733A551E70}" srcOrd="0" destOrd="0" presId="urn:microsoft.com/office/officeart/2005/8/layout/hierarchy3"/>
    <dgm:cxn modelId="{0A0CE80D-AA4B-44A9-A08F-A6B65247049C}" type="presParOf" srcId="{ED76DE82-9C0D-4081-AD28-FF733A551E70}" destId="{6D08E2B6-BE93-4DFD-88FD-5F0987B52E69}" srcOrd="0" destOrd="0" presId="urn:microsoft.com/office/officeart/2005/8/layout/hierarchy3"/>
    <dgm:cxn modelId="{D83F3088-4FE8-4946-9013-6A644E1D6F0B}" type="presParOf" srcId="{ED76DE82-9C0D-4081-AD28-FF733A551E70}" destId="{EE53E311-6640-4558-B05E-03A319ED8006}" srcOrd="1" destOrd="0" presId="urn:microsoft.com/office/officeart/2005/8/layout/hierarchy3"/>
    <dgm:cxn modelId="{A628A228-6892-4F8B-86D9-FFA29D108132}" type="presParOf" srcId="{B946F133-41B4-4F24-AD4A-2BD6646DF79F}" destId="{6D97C909-E84F-4381-864D-7F3D31088BDD}" srcOrd="1" destOrd="0" presId="urn:microsoft.com/office/officeart/2005/8/layout/hierarchy3"/>
    <dgm:cxn modelId="{F1F94EAB-1F15-469B-97DF-4828E557CC6E}" type="presParOf" srcId="{6D97C909-E84F-4381-864D-7F3D31088BDD}" destId="{946A9B53-6303-4203-BFF9-30E754873D29}" srcOrd="0" destOrd="0" presId="urn:microsoft.com/office/officeart/2005/8/layout/hierarchy3"/>
    <dgm:cxn modelId="{195D8729-AD3C-4210-8B43-73D4A61DF9DD}" type="presParOf" srcId="{6D97C909-E84F-4381-864D-7F3D31088BDD}" destId="{8A499DA1-8F1C-4ED6-B7BB-CAED285271CA}" srcOrd="1" destOrd="0" presId="urn:microsoft.com/office/officeart/2005/8/layout/hierarchy3"/>
    <dgm:cxn modelId="{21E497A6-0D11-41DE-8A68-82B73D82DB24}" type="presParOf" srcId="{8DF1A290-223A-4A06-B7B7-3A19195E3A29}" destId="{DE69C937-9EF7-4CE0-8B27-625C238F8B47}" srcOrd="3" destOrd="0" presId="urn:microsoft.com/office/officeart/2005/8/layout/hierarchy3"/>
    <dgm:cxn modelId="{FCC3681D-ACEB-49BA-8016-0C84E1DAE6A4}" type="presParOf" srcId="{DE69C937-9EF7-4CE0-8B27-625C238F8B47}" destId="{876F5C5D-93A8-414E-810F-84822465A153}" srcOrd="0" destOrd="0" presId="urn:microsoft.com/office/officeart/2005/8/layout/hierarchy3"/>
    <dgm:cxn modelId="{D62BD0F7-4D29-4D39-B2AA-C7DE51BF3DAC}" type="presParOf" srcId="{876F5C5D-93A8-414E-810F-84822465A153}" destId="{D11C7A08-B721-4CCD-A7EE-1A923E109D18}" srcOrd="0" destOrd="0" presId="urn:microsoft.com/office/officeart/2005/8/layout/hierarchy3"/>
    <dgm:cxn modelId="{E57645C7-4DA2-47CB-8195-7597D1145CF0}" type="presParOf" srcId="{876F5C5D-93A8-414E-810F-84822465A153}" destId="{DCA29388-B5CD-4EF2-B570-80E61BC4C244}" srcOrd="1" destOrd="0" presId="urn:microsoft.com/office/officeart/2005/8/layout/hierarchy3"/>
    <dgm:cxn modelId="{8DB5B354-D04B-4BEF-ADC0-4AEEC9F45AFF}" type="presParOf" srcId="{DE69C937-9EF7-4CE0-8B27-625C238F8B47}" destId="{169C4917-EE65-4B14-816D-4F5B7DF53762}" srcOrd="1" destOrd="0" presId="urn:microsoft.com/office/officeart/2005/8/layout/hierarchy3"/>
    <dgm:cxn modelId="{2091513D-FEAE-402B-A0AE-03CAB084E7A1}" type="presParOf" srcId="{169C4917-EE65-4B14-816D-4F5B7DF53762}" destId="{D050225E-0827-4FBA-8C0E-E7C834C6F5B2}" srcOrd="0" destOrd="0" presId="urn:microsoft.com/office/officeart/2005/8/layout/hierarchy3"/>
    <dgm:cxn modelId="{447D53FD-8D0A-437B-BA54-9100D43F2EFE}" type="presParOf" srcId="{169C4917-EE65-4B14-816D-4F5B7DF53762}" destId="{909D2783-8C9C-4614-B320-AFDE73A3EF7B}" srcOrd="1" destOrd="0" presId="urn:microsoft.com/office/officeart/2005/8/layout/hierarchy3"/>
    <dgm:cxn modelId="{F0A7A891-84D9-4D58-9487-FAA42BA23381}" type="presParOf" srcId="{8DF1A290-223A-4A06-B7B7-3A19195E3A29}" destId="{A9C3E8D4-CA76-40A4-95A8-E6E175606163}" srcOrd="4" destOrd="0" presId="urn:microsoft.com/office/officeart/2005/8/layout/hierarchy3"/>
    <dgm:cxn modelId="{61246F3B-6877-4D1C-9054-670737CE08AF}" type="presParOf" srcId="{A9C3E8D4-CA76-40A4-95A8-E6E175606163}" destId="{D36BDEC2-1993-4E42-B3F4-CD7A548076E0}" srcOrd="0" destOrd="0" presId="urn:microsoft.com/office/officeart/2005/8/layout/hierarchy3"/>
    <dgm:cxn modelId="{F2C41221-0047-4F2B-82DC-08AAEDA50485}" type="presParOf" srcId="{D36BDEC2-1993-4E42-B3F4-CD7A548076E0}" destId="{968F3ACD-816D-4215-8FE3-24697294ECEA}" srcOrd="0" destOrd="0" presId="urn:microsoft.com/office/officeart/2005/8/layout/hierarchy3"/>
    <dgm:cxn modelId="{4DABC75C-7402-433D-832D-9E6CD815D991}" type="presParOf" srcId="{D36BDEC2-1993-4E42-B3F4-CD7A548076E0}" destId="{E0B5B41D-69FB-41C9-B27A-640B3485998E}" srcOrd="1" destOrd="0" presId="urn:microsoft.com/office/officeart/2005/8/layout/hierarchy3"/>
    <dgm:cxn modelId="{2666F62C-8842-4265-ABD6-4A1B5D13157B}" type="presParOf" srcId="{A9C3E8D4-CA76-40A4-95A8-E6E175606163}" destId="{EF216FC1-C7CA-4E29-9DE3-C60C9A05D2DE}" srcOrd="1" destOrd="0" presId="urn:microsoft.com/office/officeart/2005/8/layout/hierarchy3"/>
    <dgm:cxn modelId="{A56C8668-1F60-48FC-B816-3159856626A7}" type="presParOf" srcId="{EF216FC1-C7CA-4E29-9DE3-C60C9A05D2DE}" destId="{31E6D1DB-24D1-4389-BF2C-24EE6A3A6E53}" srcOrd="0" destOrd="0" presId="urn:microsoft.com/office/officeart/2005/8/layout/hierarchy3"/>
    <dgm:cxn modelId="{3B9D2328-19E3-456F-A155-17B1DD7CAD9B}" type="presParOf" srcId="{EF216FC1-C7CA-4E29-9DE3-C60C9A05D2DE}" destId="{2AA693EC-7BE2-4D7A-BF36-9994B63C91FC}" srcOrd="1" destOrd="0" presId="urn:microsoft.com/office/officeart/2005/8/layout/hierarchy3"/>
    <dgm:cxn modelId="{F984DDB1-54DD-4F5D-A214-0B746F0D74D8}" type="presParOf" srcId="{8DF1A290-223A-4A06-B7B7-3A19195E3A29}" destId="{23893703-B51E-4DC2-8861-1CC196CBD419}" srcOrd="5" destOrd="0" presId="urn:microsoft.com/office/officeart/2005/8/layout/hierarchy3"/>
    <dgm:cxn modelId="{6AAB152C-6EE4-4EE0-A0FB-0DAE1FC72E4F}" type="presParOf" srcId="{23893703-B51E-4DC2-8861-1CC196CBD419}" destId="{C9285DC0-D57B-47E2-B16C-1BFD61BD12AF}" srcOrd="0" destOrd="0" presId="urn:microsoft.com/office/officeart/2005/8/layout/hierarchy3"/>
    <dgm:cxn modelId="{73667E91-CAA1-487D-A43F-12F2FB9BC682}" type="presParOf" srcId="{C9285DC0-D57B-47E2-B16C-1BFD61BD12AF}" destId="{14F86B9E-0F0F-492C-AE76-AA73A060BCB6}" srcOrd="0" destOrd="0" presId="urn:microsoft.com/office/officeart/2005/8/layout/hierarchy3"/>
    <dgm:cxn modelId="{9F321D43-8089-4B4B-BA39-4B028DCF78C1}" type="presParOf" srcId="{C9285DC0-D57B-47E2-B16C-1BFD61BD12AF}" destId="{9604C35B-2AB8-4CAE-B982-947F1A40BBD3}" srcOrd="1" destOrd="0" presId="urn:microsoft.com/office/officeart/2005/8/layout/hierarchy3"/>
    <dgm:cxn modelId="{534050EA-BD2D-4826-BC3F-7277AFB78F34}" type="presParOf" srcId="{23893703-B51E-4DC2-8861-1CC196CBD419}" destId="{59D82FA1-E333-4900-AA7E-BA92B1CE11B2}" srcOrd="1" destOrd="0" presId="urn:microsoft.com/office/officeart/2005/8/layout/hierarchy3"/>
    <dgm:cxn modelId="{A8052826-7B31-4973-9333-238A23F056A1}" type="presParOf" srcId="{59D82FA1-E333-4900-AA7E-BA92B1CE11B2}" destId="{D4A09E80-0FA3-4892-B56A-01F57F69F26F}" srcOrd="0" destOrd="0" presId="urn:microsoft.com/office/officeart/2005/8/layout/hierarchy3"/>
    <dgm:cxn modelId="{B5DA425A-73DA-4BAD-A611-9D8D91659FA5}" type="presParOf" srcId="{59D82FA1-E333-4900-AA7E-BA92B1CE11B2}" destId="{FDD68E04-34FD-4A50-8B6C-89DBC0C85C7F}" srcOrd="1"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330D5B32-F861-42D3-A1F9-6FB44BD56B59}" type="doc">
      <dgm:prSet loTypeId="urn:microsoft.com/office/officeart/2005/8/layout/hProcess9" loCatId="process" qsTypeId="urn:microsoft.com/office/officeart/2005/8/quickstyle/simple1" qsCatId="simple" csTypeId="urn:microsoft.com/office/officeart/2005/8/colors/colorful1" csCatId="colorful" phldr="1"/>
      <dgm:spPr/>
      <dgm:t>
        <a:bodyPr/>
        <a:lstStyle/>
        <a:p>
          <a:endParaRPr lang="nl-NL"/>
        </a:p>
      </dgm:t>
    </dgm:pt>
    <dgm:pt modelId="{6EB23286-168D-4408-8FCE-1B72CE81DD26}">
      <dgm:prSet custT="1"/>
      <dgm:spPr/>
      <dgm:t>
        <a:bodyPr/>
        <a:lstStyle/>
        <a:p>
          <a:r>
            <a:rPr lang="en-US" sz="1400" dirty="0"/>
            <a:t>Build an API Proxy bundle and pushed into GitHub or another version control system</a:t>
          </a:r>
          <a:r>
            <a:rPr lang="en-US" sz="1200" dirty="0"/>
            <a:t>.</a:t>
          </a:r>
          <a:endParaRPr lang="nl-NL" sz="1200" dirty="0"/>
        </a:p>
      </dgm:t>
    </dgm:pt>
    <dgm:pt modelId="{F0FE5C1F-DA72-40AB-A940-2C6E5883E1CF}" type="parTrans" cxnId="{EAA7135A-F56E-4B64-A6F2-47E2EC8955EF}">
      <dgm:prSet/>
      <dgm:spPr/>
      <dgm:t>
        <a:bodyPr/>
        <a:lstStyle/>
        <a:p>
          <a:endParaRPr lang="nl-NL"/>
        </a:p>
      </dgm:t>
    </dgm:pt>
    <dgm:pt modelId="{A002782F-9103-4F3B-8FC3-DFFDF51422E2}" type="sibTrans" cxnId="{EAA7135A-F56E-4B64-A6F2-47E2EC8955EF}">
      <dgm:prSet/>
      <dgm:spPr/>
      <dgm:t>
        <a:bodyPr/>
        <a:lstStyle/>
        <a:p>
          <a:endParaRPr lang="nl-NL"/>
        </a:p>
      </dgm:t>
    </dgm:pt>
    <dgm:pt modelId="{E2BB240C-9B0C-4523-9D69-7BECDB21A88C}">
      <dgm:prSet custT="1"/>
      <dgm:spPr/>
      <dgm:t>
        <a:bodyPr/>
        <a:lstStyle/>
        <a:p>
          <a:r>
            <a:rPr lang="en-US" sz="1400" dirty="0"/>
            <a:t>An automatic build pipeline will be triggered by Bamboo or Jenkins can be used.</a:t>
          </a:r>
          <a:endParaRPr lang="nl-NL" sz="1400" dirty="0"/>
        </a:p>
      </dgm:t>
    </dgm:pt>
    <dgm:pt modelId="{ED0DF97B-4676-47B5-86C3-71AC0A8D2673}" type="parTrans" cxnId="{8A341C8D-C008-487E-9CE7-FA4207E611D7}">
      <dgm:prSet/>
      <dgm:spPr/>
      <dgm:t>
        <a:bodyPr/>
        <a:lstStyle/>
        <a:p>
          <a:endParaRPr lang="nl-NL"/>
        </a:p>
      </dgm:t>
    </dgm:pt>
    <dgm:pt modelId="{C456E54D-9DEE-499E-B6BD-24C8D11FB40E}" type="sibTrans" cxnId="{8A341C8D-C008-487E-9CE7-FA4207E611D7}">
      <dgm:prSet/>
      <dgm:spPr/>
      <dgm:t>
        <a:bodyPr/>
        <a:lstStyle/>
        <a:p>
          <a:endParaRPr lang="nl-NL"/>
        </a:p>
      </dgm:t>
    </dgm:pt>
    <dgm:pt modelId="{3C9D36FA-135D-432E-8523-CF078B0CD4A2}">
      <dgm:prSet custT="1"/>
      <dgm:spPr/>
      <dgm:t>
        <a:bodyPr/>
        <a:lstStyle/>
        <a:p>
          <a:r>
            <a:rPr lang="en-US" sz="1400" dirty="0"/>
            <a:t>Static Code Analysis and unit test Jobs should be part of build pipeline tools like sonar, </a:t>
          </a:r>
          <a:r>
            <a:rPr lang="en-US" sz="1400" dirty="0" err="1"/>
            <a:t>apifortress</a:t>
          </a:r>
          <a:r>
            <a:rPr lang="en-US" sz="1400" dirty="0"/>
            <a:t> can be used</a:t>
          </a:r>
          <a:r>
            <a:rPr lang="en-US" sz="1200" dirty="0"/>
            <a:t>.</a:t>
          </a:r>
          <a:endParaRPr lang="nl-NL" sz="1200" dirty="0"/>
        </a:p>
      </dgm:t>
    </dgm:pt>
    <dgm:pt modelId="{1243FB79-0C34-4AFD-B474-53E98998BEAF}" type="parTrans" cxnId="{A9109C56-C1C3-4A8E-9ED6-4635BA6A95D9}">
      <dgm:prSet/>
      <dgm:spPr/>
      <dgm:t>
        <a:bodyPr/>
        <a:lstStyle/>
        <a:p>
          <a:endParaRPr lang="nl-NL"/>
        </a:p>
      </dgm:t>
    </dgm:pt>
    <dgm:pt modelId="{BC2FF919-0A99-46AF-9230-2996D9E44BDA}" type="sibTrans" cxnId="{A9109C56-C1C3-4A8E-9ED6-4635BA6A95D9}">
      <dgm:prSet/>
      <dgm:spPr/>
      <dgm:t>
        <a:bodyPr/>
        <a:lstStyle/>
        <a:p>
          <a:endParaRPr lang="nl-NL"/>
        </a:p>
      </dgm:t>
    </dgm:pt>
    <dgm:pt modelId="{DF5588A4-F1F2-43BC-A6D3-13B84903D30E}">
      <dgm:prSet custT="1"/>
      <dgm:spPr/>
      <dgm:t>
        <a:bodyPr/>
        <a:lstStyle/>
        <a:p>
          <a:r>
            <a:rPr lang="en-US" sz="1400" dirty="0"/>
            <a:t>Deploy artifacts i.e. API Proxy in respective environments like test, QA and prod. Tool wise Xl deploy and Jenkins can be good options.</a:t>
          </a:r>
          <a:endParaRPr lang="nl-NL" sz="1400" dirty="0"/>
        </a:p>
      </dgm:t>
    </dgm:pt>
    <dgm:pt modelId="{579C1B12-00EE-4E5A-91E2-404107B1D385}" type="parTrans" cxnId="{175DB77C-DF38-42DF-95B3-866D9CEA6A97}">
      <dgm:prSet/>
      <dgm:spPr/>
      <dgm:t>
        <a:bodyPr/>
        <a:lstStyle/>
        <a:p>
          <a:endParaRPr lang="nl-NL"/>
        </a:p>
      </dgm:t>
    </dgm:pt>
    <dgm:pt modelId="{6624E4DA-7086-4B29-A7D5-C7A8E1D2832B}" type="sibTrans" cxnId="{175DB77C-DF38-42DF-95B3-866D9CEA6A97}">
      <dgm:prSet/>
      <dgm:spPr/>
      <dgm:t>
        <a:bodyPr/>
        <a:lstStyle/>
        <a:p>
          <a:endParaRPr lang="nl-NL"/>
        </a:p>
      </dgm:t>
    </dgm:pt>
    <dgm:pt modelId="{CAE039B1-6FDA-4379-B46B-A71C843BE76A}">
      <dgm:prSet custT="1"/>
      <dgm:spPr/>
      <dgm:t>
        <a:bodyPr/>
        <a:lstStyle/>
        <a:p>
          <a:r>
            <a:rPr lang="en-US" sz="1400" dirty="0"/>
            <a:t>Functional test and Performance Test can be performed with postman and Gatling respectively.</a:t>
          </a:r>
          <a:endParaRPr lang="nl-NL" sz="1400" dirty="0"/>
        </a:p>
      </dgm:t>
    </dgm:pt>
    <dgm:pt modelId="{06E9314A-8D18-46E1-AC56-B4E2D70D69FB}" type="parTrans" cxnId="{6661DA6F-3678-4047-862E-8620D4088E30}">
      <dgm:prSet/>
      <dgm:spPr/>
      <dgm:t>
        <a:bodyPr/>
        <a:lstStyle/>
        <a:p>
          <a:endParaRPr lang="nl-NL"/>
        </a:p>
      </dgm:t>
    </dgm:pt>
    <dgm:pt modelId="{06AFBCC8-41A1-47DC-A08C-9579B306BA1F}" type="sibTrans" cxnId="{6661DA6F-3678-4047-862E-8620D4088E30}">
      <dgm:prSet/>
      <dgm:spPr/>
      <dgm:t>
        <a:bodyPr/>
        <a:lstStyle/>
        <a:p>
          <a:endParaRPr lang="nl-NL"/>
        </a:p>
      </dgm:t>
    </dgm:pt>
    <dgm:pt modelId="{CC6FC3A6-A5B1-43A4-A269-0A84CAD09A78}">
      <dgm:prSet custT="1"/>
      <dgm:spPr/>
      <dgm:t>
        <a:bodyPr/>
        <a:lstStyle/>
        <a:p>
          <a:r>
            <a:rPr lang="en-US" sz="1400" dirty="0"/>
            <a:t>At the last step, we should update the documents in developer portal and if there any other documentation like confluence</a:t>
          </a:r>
          <a:r>
            <a:rPr lang="en-US" sz="1200" dirty="0"/>
            <a:t>.</a:t>
          </a:r>
          <a:endParaRPr lang="nl-NL" sz="1200" dirty="0"/>
        </a:p>
      </dgm:t>
    </dgm:pt>
    <dgm:pt modelId="{8CCB5F66-8C99-4D5E-A85E-78EBBFEB3D0D}" type="parTrans" cxnId="{C61BFE15-8423-4378-A588-081557B16AC7}">
      <dgm:prSet/>
      <dgm:spPr/>
      <dgm:t>
        <a:bodyPr/>
        <a:lstStyle/>
        <a:p>
          <a:endParaRPr lang="nl-NL"/>
        </a:p>
      </dgm:t>
    </dgm:pt>
    <dgm:pt modelId="{2F1DE880-EA07-4FDB-9562-5CBBF594FAB7}" type="sibTrans" cxnId="{C61BFE15-8423-4378-A588-081557B16AC7}">
      <dgm:prSet/>
      <dgm:spPr/>
      <dgm:t>
        <a:bodyPr/>
        <a:lstStyle/>
        <a:p>
          <a:endParaRPr lang="nl-NL"/>
        </a:p>
      </dgm:t>
    </dgm:pt>
    <dgm:pt modelId="{10877C6F-298B-4B11-837B-FC0F31814107}" type="pres">
      <dgm:prSet presAssocID="{330D5B32-F861-42D3-A1F9-6FB44BD56B59}" presName="CompostProcess" presStyleCnt="0">
        <dgm:presLayoutVars>
          <dgm:dir/>
          <dgm:resizeHandles val="exact"/>
        </dgm:presLayoutVars>
      </dgm:prSet>
      <dgm:spPr/>
    </dgm:pt>
    <dgm:pt modelId="{CFE9707E-F250-4DAB-8EE0-9383BA98F2E8}" type="pres">
      <dgm:prSet presAssocID="{330D5B32-F861-42D3-A1F9-6FB44BD56B59}" presName="arrow" presStyleLbl="bgShp" presStyleIdx="0" presStyleCnt="1"/>
      <dgm:spPr/>
    </dgm:pt>
    <dgm:pt modelId="{9C121606-3F51-4C33-B3AE-5EFFA9FE6D1B}" type="pres">
      <dgm:prSet presAssocID="{330D5B32-F861-42D3-A1F9-6FB44BD56B59}" presName="linearProcess" presStyleCnt="0"/>
      <dgm:spPr/>
    </dgm:pt>
    <dgm:pt modelId="{EA8784C7-DFC8-4F4C-BB3C-E62D28935166}" type="pres">
      <dgm:prSet presAssocID="{6EB23286-168D-4408-8FCE-1B72CE81DD26}" presName="textNode" presStyleLbl="node1" presStyleIdx="0" presStyleCnt="6" custScaleY="123858">
        <dgm:presLayoutVars>
          <dgm:bulletEnabled val="1"/>
        </dgm:presLayoutVars>
      </dgm:prSet>
      <dgm:spPr/>
    </dgm:pt>
    <dgm:pt modelId="{AF7CEF1E-9F65-4C46-9461-AD9BB3255709}" type="pres">
      <dgm:prSet presAssocID="{A002782F-9103-4F3B-8FC3-DFFDF51422E2}" presName="sibTrans" presStyleCnt="0"/>
      <dgm:spPr/>
    </dgm:pt>
    <dgm:pt modelId="{8F98BC8B-4ED7-4B67-B49D-660D42700524}" type="pres">
      <dgm:prSet presAssocID="{E2BB240C-9B0C-4523-9D69-7BECDB21A88C}" presName="textNode" presStyleLbl="node1" presStyleIdx="1" presStyleCnt="6" custScaleY="119111">
        <dgm:presLayoutVars>
          <dgm:bulletEnabled val="1"/>
        </dgm:presLayoutVars>
      </dgm:prSet>
      <dgm:spPr/>
    </dgm:pt>
    <dgm:pt modelId="{593720BA-C95D-4975-A194-EF934EF8BD62}" type="pres">
      <dgm:prSet presAssocID="{C456E54D-9DEE-499E-B6BD-24C8D11FB40E}" presName="sibTrans" presStyleCnt="0"/>
      <dgm:spPr/>
    </dgm:pt>
    <dgm:pt modelId="{AF10A011-EAF5-47A9-A995-60E1A32006C7}" type="pres">
      <dgm:prSet presAssocID="{3C9D36FA-135D-432E-8523-CF078B0CD4A2}" presName="textNode" presStyleLbl="node1" presStyleIdx="2" presStyleCnt="6" custScaleY="125591">
        <dgm:presLayoutVars>
          <dgm:bulletEnabled val="1"/>
        </dgm:presLayoutVars>
      </dgm:prSet>
      <dgm:spPr/>
    </dgm:pt>
    <dgm:pt modelId="{A3FF5AEB-6042-4EBD-ABA2-31B12224EFD5}" type="pres">
      <dgm:prSet presAssocID="{BC2FF919-0A99-46AF-9230-2996D9E44BDA}" presName="sibTrans" presStyleCnt="0"/>
      <dgm:spPr/>
    </dgm:pt>
    <dgm:pt modelId="{ABB76825-646D-4CB7-9DA9-68E6BFBAB311}" type="pres">
      <dgm:prSet presAssocID="{DF5588A4-F1F2-43BC-A6D3-13B84903D30E}" presName="textNode" presStyleLbl="node1" presStyleIdx="3" presStyleCnt="6" custScaleY="129258">
        <dgm:presLayoutVars>
          <dgm:bulletEnabled val="1"/>
        </dgm:presLayoutVars>
      </dgm:prSet>
      <dgm:spPr/>
    </dgm:pt>
    <dgm:pt modelId="{717112CD-D02D-4601-B7AC-0447E92FA69C}" type="pres">
      <dgm:prSet presAssocID="{6624E4DA-7086-4B29-A7D5-C7A8E1D2832B}" presName="sibTrans" presStyleCnt="0"/>
      <dgm:spPr/>
    </dgm:pt>
    <dgm:pt modelId="{97F7C0C3-BB88-4D13-B26C-9261EDEDEAA3}" type="pres">
      <dgm:prSet presAssocID="{CAE039B1-6FDA-4379-B46B-A71C843BE76A}" presName="textNode" presStyleLbl="node1" presStyleIdx="4" presStyleCnt="6" custScaleY="121271">
        <dgm:presLayoutVars>
          <dgm:bulletEnabled val="1"/>
        </dgm:presLayoutVars>
      </dgm:prSet>
      <dgm:spPr/>
    </dgm:pt>
    <dgm:pt modelId="{3A8CF876-415D-47F8-8379-32C19A448223}" type="pres">
      <dgm:prSet presAssocID="{06AFBCC8-41A1-47DC-A08C-9579B306BA1F}" presName="sibTrans" presStyleCnt="0"/>
      <dgm:spPr/>
    </dgm:pt>
    <dgm:pt modelId="{1DD4016A-303E-4CBA-AC9F-FA265855B8FD}" type="pres">
      <dgm:prSet presAssocID="{CC6FC3A6-A5B1-43A4-A269-0A84CAD09A78}" presName="textNode" presStyleLbl="node1" presStyleIdx="5" presStyleCnt="6" custScaleY="122351">
        <dgm:presLayoutVars>
          <dgm:bulletEnabled val="1"/>
        </dgm:presLayoutVars>
      </dgm:prSet>
      <dgm:spPr/>
    </dgm:pt>
  </dgm:ptLst>
  <dgm:cxnLst>
    <dgm:cxn modelId="{C61BFE15-8423-4378-A588-081557B16AC7}" srcId="{330D5B32-F861-42D3-A1F9-6FB44BD56B59}" destId="{CC6FC3A6-A5B1-43A4-A269-0A84CAD09A78}" srcOrd="5" destOrd="0" parTransId="{8CCB5F66-8C99-4D5E-A85E-78EBBFEB3D0D}" sibTransId="{2F1DE880-EA07-4FDB-9562-5CBBF594FAB7}"/>
    <dgm:cxn modelId="{4FEDB960-449C-48B2-83E0-1EBD7CD68912}" type="presOf" srcId="{E2BB240C-9B0C-4523-9D69-7BECDB21A88C}" destId="{8F98BC8B-4ED7-4B67-B49D-660D42700524}" srcOrd="0" destOrd="0" presId="urn:microsoft.com/office/officeart/2005/8/layout/hProcess9"/>
    <dgm:cxn modelId="{774C3D41-D7ED-4C85-8CC4-6367AB80111B}" type="presOf" srcId="{CC6FC3A6-A5B1-43A4-A269-0A84CAD09A78}" destId="{1DD4016A-303E-4CBA-AC9F-FA265855B8FD}" srcOrd="0" destOrd="0" presId="urn:microsoft.com/office/officeart/2005/8/layout/hProcess9"/>
    <dgm:cxn modelId="{6661DA6F-3678-4047-862E-8620D4088E30}" srcId="{330D5B32-F861-42D3-A1F9-6FB44BD56B59}" destId="{CAE039B1-6FDA-4379-B46B-A71C843BE76A}" srcOrd="4" destOrd="0" parTransId="{06E9314A-8D18-46E1-AC56-B4E2D70D69FB}" sibTransId="{06AFBCC8-41A1-47DC-A08C-9579B306BA1F}"/>
    <dgm:cxn modelId="{9DAA3355-E294-4D61-A7D5-A649295B8067}" type="presOf" srcId="{330D5B32-F861-42D3-A1F9-6FB44BD56B59}" destId="{10877C6F-298B-4B11-837B-FC0F31814107}" srcOrd="0" destOrd="0" presId="urn:microsoft.com/office/officeart/2005/8/layout/hProcess9"/>
    <dgm:cxn modelId="{868C5656-631D-4988-B1C2-85B2F1175B8F}" type="presOf" srcId="{3C9D36FA-135D-432E-8523-CF078B0CD4A2}" destId="{AF10A011-EAF5-47A9-A995-60E1A32006C7}" srcOrd="0" destOrd="0" presId="urn:microsoft.com/office/officeart/2005/8/layout/hProcess9"/>
    <dgm:cxn modelId="{A9109C56-C1C3-4A8E-9ED6-4635BA6A95D9}" srcId="{330D5B32-F861-42D3-A1F9-6FB44BD56B59}" destId="{3C9D36FA-135D-432E-8523-CF078B0CD4A2}" srcOrd="2" destOrd="0" parTransId="{1243FB79-0C34-4AFD-B474-53E98998BEAF}" sibTransId="{BC2FF919-0A99-46AF-9230-2996D9E44BDA}"/>
    <dgm:cxn modelId="{EAA7135A-F56E-4B64-A6F2-47E2EC8955EF}" srcId="{330D5B32-F861-42D3-A1F9-6FB44BD56B59}" destId="{6EB23286-168D-4408-8FCE-1B72CE81DD26}" srcOrd="0" destOrd="0" parTransId="{F0FE5C1F-DA72-40AB-A940-2C6E5883E1CF}" sibTransId="{A002782F-9103-4F3B-8FC3-DFFDF51422E2}"/>
    <dgm:cxn modelId="{175DB77C-DF38-42DF-95B3-866D9CEA6A97}" srcId="{330D5B32-F861-42D3-A1F9-6FB44BD56B59}" destId="{DF5588A4-F1F2-43BC-A6D3-13B84903D30E}" srcOrd="3" destOrd="0" parTransId="{579C1B12-00EE-4E5A-91E2-404107B1D385}" sibTransId="{6624E4DA-7086-4B29-A7D5-C7A8E1D2832B}"/>
    <dgm:cxn modelId="{8A341C8D-C008-487E-9CE7-FA4207E611D7}" srcId="{330D5B32-F861-42D3-A1F9-6FB44BD56B59}" destId="{E2BB240C-9B0C-4523-9D69-7BECDB21A88C}" srcOrd="1" destOrd="0" parTransId="{ED0DF97B-4676-47B5-86C3-71AC0A8D2673}" sibTransId="{C456E54D-9DEE-499E-B6BD-24C8D11FB40E}"/>
    <dgm:cxn modelId="{137B21A1-7A1C-4019-B955-916B7E987D32}" type="presOf" srcId="{6EB23286-168D-4408-8FCE-1B72CE81DD26}" destId="{EA8784C7-DFC8-4F4C-BB3C-E62D28935166}" srcOrd="0" destOrd="0" presId="urn:microsoft.com/office/officeart/2005/8/layout/hProcess9"/>
    <dgm:cxn modelId="{7BF62AA5-22BA-4D88-848F-8ECE6C862BED}" type="presOf" srcId="{CAE039B1-6FDA-4379-B46B-A71C843BE76A}" destId="{97F7C0C3-BB88-4D13-B26C-9261EDEDEAA3}" srcOrd="0" destOrd="0" presId="urn:microsoft.com/office/officeart/2005/8/layout/hProcess9"/>
    <dgm:cxn modelId="{474CBAD9-A60B-40E3-A666-EA0B3EEB1932}" type="presOf" srcId="{DF5588A4-F1F2-43BC-A6D3-13B84903D30E}" destId="{ABB76825-646D-4CB7-9DA9-68E6BFBAB311}" srcOrd="0" destOrd="0" presId="urn:microsoft.com/office/officeart/2005/8/layout/hProcess9"/>
    <dgm:cxn modelId="{FBE760DE-6733-4688-A7A0-2026B320099A}" type="presParOf" srcId="{10877C6F-298B-4B11-837B-FC0F31814107}" destId="{CFE9707E-F250-4DAB-8EE0-9383BA98F2E8}" srcOrd="0" destOrd="0" presId="urn:microsoft.com/office/officeart/2005/8/layout/hProcess9"/>
    <dgm:cxn modelId="{C5740638-ACC0-47EE-BCC9-2FC598064D76}" type="presParOf" srcId="{10877C6F-298B-4B11-837B-FC0F31814107}" destId="{9C121606-3F51-4C33-B3AE-5EFFA9FE6D1B}" srcOrd="1" destOrd="0" presId="urn:microsoft.com/office/officeart/2005/8/layout/hProcess9"/>
    <dgm:cxn modelId="{CB765953-38F4-424D-8F5C-8B67CB45DF93}" type="presParOf" srcId="{9C121606-3F51-4C33-B3AE-5EFFA9FE6D1B}" destId="{EA8784C7-DFC8-4F4C-BB3C-E62D28935166}" srcOrd="0" destOrd="0" presId="urn:microsoft.com/office/officeart/2005/8/layout/hProcess9"/>
    <dgm:cxn modelId="{3CDE2A2C-043A-4957-A258-1054C7B99A7D}" type="presParOf" srcId="{9C121606-3F51-4C33-B3AE-5EFFA9FE6D1B}" destId="{AF7CEF1E-9F65-4C46-9461-AD9BB3255709}" srcOrd="1" destOrd="0" presId="urn:microsoft.com/office/officeart/2005/8/layout/hProcess9"/>
    <dgm:cxn modelId="{406036ED-FA8F-42CA-9E02-46B0E9E0B47C}" type="presParOf" srcId="{9C121606-3F51-4C33-B3AE-5EFFA9FE6D1B}" destId="{8F98BC8B-4ED7-4B67-B49D-660D42700524}" srcOrd="2" destOrd="0" presId="urn:microsoft.com/office/officeart/2005/8/layout/hProcess9"/>
    <dgm:cxn modelId="{44E34E94-EEDA-45CF-86AC-76E03BD13F55}" type="presParOf" srcId="{9C121606-3F51-4C33-B3AE-5EFFA9FE6D1B}" destId="{593720BA-C95D-4975-A194-EF934EF8BD62}" srcOrd="3" destOrd="0" presId="urn:microsoft.com/office/officeart/2005/8/layout/hProcess9"/>
    <dgm:cxn modelId="{91042C3C-492B-4B4A-A4E2-1305D7496047}" type="presParOf" srcId="{9C121606-3F51-4C33-B3AE-5EFFA9FE6D1B}" destId="{AF10A011-EAF5-47A9-A995-60E1A32006C7}" srcOrd="4" destOrd="0" presId="urn:microsoft.com/office/officeart/2005/8/layout/hProcess9"/>
    <dgm:cxn modelId="{0A602D2D-6D22-470C-897F-40773758740E}" type="presParOf" srcId="{9C121606-3F51-4C33-B3AE-5EFFA9FE6D1B}" destId="{A3FF5AEB-6042-4EBD-ABA2-31B12224EFD5}" srcOrd="5" destOrd="0" presId="urn:microsoft.com/office/officeart/2005/8/layout/hProcess9"/>
    <dgm:cxn modelId="{41707209-A9FD-4F75-A4E3-CB1D5EFE625E}" type="presParOf" srcId="{9C121606-3F51-4C33-B3AE-5EFFA9FE6D1B}" destId="{ABB76825-646D-4CB7-9DA9-68E6BFBAB311}" srcOrd="6" destOrd="0" presId="urn:microsoft.com/office/officeart/2005/8/layout/hProcess9"/>
    <dgm:cxn modelId="{E81BED16-D72D-444D-831C-ECF643DB4582}" type="presParOf" srcId="{9C121606-3F51-4C33-B3AE-5EFFA9FE6D1B}" destId="{717112CD-D02D-4601-B7AC-0447E92FA69C}" srcOrd="7" destOrd="0" presId="urn:microsoft.com/office/officeart/2005/8/layout/hProcess9"/>
    <dgm:cxn modelId="{B8DB58E5-7EAA-4899-B0D6-621BAD64259F}" type="presParOf" srcId="{9C121606-3F51-4C33-B3AE-5EFFA9FE6D1B}" destId="{97F7C0C3-BB88-4D13-B26C-9261EDEDEAA3}" srcOrd="8" destOrd="0" presId="urn:microsoft.com/office/officeart/2005/8/layout/hProcess9"/>
    <dgm:cxn modelId="{2185BDA0-A5BA-420F-B5D5-310859AB4A23}" type="presParOf" srcId="{9C121606-3F51-4C33-B3AE-5EFFA9FE6D1B}" destId="{3A8CF876-415D-47F8-8379-32C19A448223}" srcOrd="9" destOrd="0" presId="urn:microsoft.com/office/officeart/2005/8/layout/hProcess9"/>
    <dgm:cxn modelId="{BE699C15-D72E-43BA-B2CD-26F912C4ACFA}" type="presParOf" srcId="{9C121606-3F51-4C33-B3AE-5EFFA9FE6D1B}" destId="{1DD4016A-303E-4CBA-AC9F-FA265855B8FD}" srcOrd="10"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4B10E8F-5C3D-4E76-B055-4F93AD7E60C5}" type="doc">
      <dgm:prSet loTypeId="urn:microsoft.com/office/officeart/2005/8/layout/vList2" loCatId="list" qsTypeId="urn:microsoft.com/office/officeart/2005/8/quickstyle/simple1" qsCatId="simple" csTypeId="urn:microsoft.com/office/officeart/2005/8/colors/colorful5" csCatId="colorful"/>
      <dgm:spPr/>
      <dgm:t>
        <a:bodyPr/>
        <a:lstStyle/>
        <a:p>
          <a:endParaRPr lang="nl-NL"/>
        </a:p>
      </dgm:t>
    </dgm:pt>
    <dgm:pt modelId="{34AD3017-1787-4D2B-9327-27857089C253}">
      <dgm:prSet/>
      <dgm:spPr/>
      <dgm:t>
        <a:bodyPr/>
        <a:lstStyle/>
        <a:p>
          <a:r>
            <a:rPr lang="nl-NL" dirty="0"/>
            <a:t>Increased productivity - 58%</a:t>
          </a:r>
        </a:p>
      </dgm:t>
    </dgm:pt>
    <dgm:pt modelId="{15BF6D83-0265-42D6-A733-3877819BA9FC}" type="parTrans" cxnId="{D09EFC89-CB85-4D30-8A63-A6563C58640E}">
      <dgm:prSet/>
      <dgm:spPr/>
      <dgm:t>
        <a:bodyPr/>
        <a:lstStyle/>
        <a:p>
          <a:endParaRPr lang="nl-NL"/>
        </a:p>
      </dgm:t>
    </dgm:pt>
    <dgm:pt modelId="{881F092C-2780-435A-9E66-6A85F400C059}" type="sibTrans" cxnId="{D09EFC89-CB85-4D30-8A63-A6563C58640E}">
      <dgm:prSet/>
      <dgm:spPr/>
      <dgm:t>
        <a:bodyPr/>
        <a:lstStyle/>
        <a:p>
          <a:endParaRPr lang="nl-NL"/>
        </a:p>
      </dgm:t>
    </dgm:pt>
    <dgm:pt modelId="{B2AB8C1D-411F-4AC5-836C-C473718049E4}">
      <dgm:prSet/>
      <dgm:spPr/>
      <dgm:t>
        <a:bodyPr/>
        <a:lstStyle/>
        <a:p>
          <a:r>
            <a:rPr lang="nl-NL"/>
            <a:t>Increased innovation - 48%</a:t>
          </a:r>
        </a:p>
      </dgm:t>
    </dgm:pt>
    <dgm:pt modelId="{95342EA8-2F78-4101-93B8-E80796DFB3FB}" type="parTrans" cxnId="{52B5BDC9-D023-4158-9779-2FBA2893051B}">
      <dgm:prSet/>
      <dgm:spPr/>
      <dgm:t>
        <a:bodyPr/>
        <a:lstStyle/>
        <a:p>
          <a:endParaRPr lang="nl-NL"/>
        </a:p>
      </dgm:t>
    </dgm:pt>
    <dgm:pt modelId="{70DAAC75-623C-4C56-989F-BAC9C62C52A7}" type="sibTrans" cxnId="{52B5BDC9-D023-4158-9779-2FBA2893051B}">
      <dgm:prSet/>
      <dgm:spPr/>
      <dgm:t>
        <a:bodyPr/>
        <a:lstStyle/>
        <a:p>
          <a:endParaRPr lang="nl-NL"/>
        </a:p>
      </dgm:t>
    </dgm:pt>
    <dgm:pt modelId="{9EA4A0B9-87B5-4BB4-89B3-EE655ADAE1BC}">
      <dgm:prSet/>
      <dgm:spPr/>
      <dgm:t>
        <a:bodyPr/>
        <a:lstStyle/>
        <a:p>
          <a:r>
            <a:rPr lang="nl-NL" dirty="0"/>
            <a:t>Increased employee engagement - 43%</a:t>
          </a:r>
        </a:p>
      </dgm:t>
    </dgm:pt>
    <dgm:pt modelId="{0A1E367D-C100-4EDE-9DF1-0ABF09455F36}" type="parTrans" cxnId="{0A95B27E-36FC-477B-A0C8-A6EAFEB5F5AA}">
      <dgm:prSet/>
      <dgm:spPr/>
      <dgm:t>
        <a:bodyPr/>
        <a:lstStyle/>
        <a:p>
          <a:endParaRPr lang="nl-NL"/>
        </a:p>
      </dgm:t>
    </dgm:pt>
    <dgm:pt modelId="{9C806E1D-B827-4858-9DB5-E52FEAFDFBAD}" type="sibTrans" cxnId="{0A95B27E-36FC-477B-A0C8-A6EAFEB5F5AA}">
      <dgm:prSet/>
      <dgm:spPr/>
      <dgm:t>
        <a:bodyPr/>
        <a:lstStyle/>
        <a:p>
          <a:endParaRPr lang="nl-NL"/>
        </a:p>
      </dgm:t>
    </dgm:pt>
    <dgm:pt modelId="{C3184AAB-6E51-4B69-8EE2-D87153FEB501}">
      <dgm:prSet/>
      <dgm:spPr/>
      <dgm:t>
        <a:bodyPr/>
        <a:lstStyle/>
        <a:p>
          <a:r>
            <a:rPr lang="en-US"/>
            <a:t>Increased speed in meeting LoB demands - </a:t>
          </a:r>
          <a:r>
            <a:rPr lang="nl-NL"/>
            <a:t>35%</a:t>
          </a:r>
        </a:p>
      </dgm:t>
    </dgm:pt>
    <dgm:pt modelId="{25C32118-B285-4F65-8B62-3E7A4E986097}" type="parTrans" cxnId="{279FB6DB-2C55-46F0-87BA-06AB19D8448B}">
      <dgm:prSet/>
      <dgm:spPr/>
      <dgm:t>
        <a:bodyPr/>
        <a:lstStyle/>
        <a:p>
          <a:endParaRPr lang="nl-NL"/>
        </a:p>
      </dgm:t>
    </dgm:pt>
    <dgm:pt modelId="{D56763E3-EDD2-4B5F-9C7B-1593F319ACBE}" type="sibTrans" cxnId="{279FB6DB-2C55-46F0-87BA-06AB19D8448B}">
      <dgm:prSet/>
      <dgm:spPr/>
      <dgm:t>
        <a:bodyPr/>
        <a:lstStyle/>
        <a:p>
          <a:endParaRPr lang="nl-NL"/>
        </a:p>
      </dgm:t>
    </dgm:pt>
    <dgm:pt modelId="{76CF7CCA-DAA6-42CB-AA89-0082A3FB9077}">
      <dgm:prSet/>
      <dgm:spPr/>
      <dgm:t>
        <a:bodyPr/>
        <a:lstStyle/>
        <a:p>
          <a:r>
            <a:rPr lang="en-US"/>
            <a:t>Greater agility across teams to self-serve IT - 35</a:t>
          </a:r>
          <a:endParaRPr lang="nl-NL"/>
        </a:p>
      </dgm:t>
    </dgm:pt>
    <dgm:pt modelId="{65C271ED-CB37-42EA-81DE-0D1F9D27627B}" type="parTrans" cxnId="{5A56F760-22C9-45EE-9029-15FD71F04906}">
      <dgm:prSet/>
      <dgm:spPr/>
      <dgm:t>
        <a:bodyPr/>
        <a:lstStyle/>
        <a:p>
          <a:endParaRPr lang="nl-NL"/>
        </a:p>
      </dgm:t>
    </dgm:pt>
    <dgm:pt modelId="{744C5005-F7D8-4DF3-8B15-AB599E9DBA97}" type="sibTrans" cxnId="{5A56F760-22C9-45EE-9029-15FD71F04906}">
      <dgm:prSet/>
      <dgm:spPr/>
      <dgm:t>
        <a:bodyPr/>
        <a:lstStyle/>
        <a:p>
          <a:endParaRPr lang="nl-NL"/>
        </a:p>
      </dgm:t>
    </dgm:pt>
    <dgm:pt modelId="{C5FA02D4-D866-4EC9-9266-02890A6D76FE}">
      <dgm:prSet/>
      <dgm:spPr/>
      <dgm:t>
        <a:bodyPr/>
        <a:lstStyle/>
        <a:p>
          <a:r>
            <a:rPr lang="nl-NL"/>
            <a:t>Decreased operational costs – 34%</a:t>
          </a:r>
        </a:p>
      </dgm:t>
    </dgm:pt>
    <dgm:pt modelId="{98B18946-A64A-452A-AE3D-7CE5A9B8DD60}" type="parTrans" cxnId="{5CD76D84-28E4-4983-8B38-FDB22CD8DC35}">
      <dgm:prSet/>
      <dgm:spPr/>
      <dgm:t>
        <a:bodyPr/>
        <a:lstStyle/>
        <a:p>
          <a:endParaRPr lang="nl-NL"/>
        </a:p>
      </dgm:t>
    </dgm:pt>
    <dgm:pt modelId="{A3483E74-2536-4337-AAD0-C67CDE30B71E}" type="sibTrans" cxnId="{5CD76D84-28E4-4983-8B38-FDB22CD8DC35}">
      <dgm:prSet/>
      <dgm:spPr/>
      <dgm:t>
        <a:bodyPr/>
        <a:lstStyle/>
        <a:p>
          <a:endParaRPr lang="nl-NL"/>
        </a:p>
      </dgm:t>
    </dgm:pt>
    <dgm:pt modelId="{A1CD6052-77FE-41A6-8F62-D37C55C927FE}">
      <dgm:prSet/>
      <dgm:spPr/>
      <dgm:t>
        <a:bodyPr/>
        <a:lstStyle/>
        <a:p>
          <a:r>
            <a:rPr lang="en-US"/>
            <a:t>Experienced revenue growth as a direct result- 31%</a:t>
          </a:r>
          <a:endParaRPr lang="nl-NL"/>
        </a:p>
      </dgm:t>
    </dgm:pt>
    <dgm:pt modelId="{24C41D2A-1DE8-42A8-AE16-430DDEFB332C}" type="parTrans" cxnId="{AD5694A6-E1E7-4E5D-BF65-640FA80004E2}">
      <dgm:prSet/>
      <dgm:spPr/>
      <dgm:t>
        <a:bodyPr/>
        <a:lstStyle/>
        <a:p>
          <a:endParaRPr lang="nl-NL"/>
        </a:p>
      </dgm:t>
    </dgm:pt>
    <dgm:pt modelId="{2E42CBBA-3A8A-436D-B7FD-D50671F41C10}" type="sibTrans" cxnId="{AD5694A6-E1E7-4E5D-BF65-640FA80004E2}">
      <dgm:prSet/>
      <dgm:spPr/>
      <dgm:t>
        <a:bodyPr/>
        <a:lstStyle/>
        <a:p>
          <a:endParaRPr lang="nl-NL"/>
        </a:p>
      </dgm:t>
    </dgm:pt>
    <dgm:pt modelId="{9C8342B0-2F5E-464C-BD4E-09C41A20ADFC}">
      <dgm:prSet/>
      <dgm:spPr/>
      <dgm:t>
        <a:bodyPr/>
        <a:lstStyle/>
        <a:p>
          <a:r>
            <a:rPr lang="nl-NL"/>
            <a:t>Too early to say – 7 %</a:t>
          </a:r>
        </a:p>
      </dgm:t>
    </dgm:pt>
    <dgm:pt modelId="{3044DE5B-8397-493F-A9D5-BDF8843CEA79}" type="parTrans" cxnId="{6EF8981D-9A6E-46F4-87E1-6E1097B72262}">
      <dgm:prSet/>
      <dgm:spPr/>
      <dgm:t>
        <a:bodyPr/>
        <a:lstStyle/>
        <a:p>
          <a:endParaRPr lang="nl-NL"/>
        </a:p>
      </dgm:t>
    </dgm:pt>
    <dgm:pt modelId="{EAD5C369-22E9-4318-BD5C-22D5C32460C9}" type="sibTrans" cxnId="{6EF8981D-9A6E-46F4-87E1-6E1097B72262}">
      <dgm:prSet/>
      <dgm:spPr/>
      <dgm:t>
        <a:bodyPr/>
        <a:lstStyle/>
        <a:p>
          <a:endParaRPr lang="nl-NL"/>
        </a:p>
      </dgm:t>
    </dgm:pt>
    <dgm:pt modelId="{2D98E78F-F6A0-421C-B5E2-D3AD1DDDE86F}">
      <dgm:prSet/>
      <dgm:spPr/>
      <dgm:t>
        <a:bodyPr/>
        <a:lstStyle/>
        <a:p>
          <a:r>
            <a:rPr lang="nl-NL"/>
            <a:t>None of these - 1%</a:t>
          </a:r>
        </a:p>
      </dgm:t>
    </dgm:pt>
    <dgm:pt modelId="{7E6EB0DF-E3F7-419F-83E9-E7BD8628960A}" type="parTrans" cxnId="{27B49804-2333-482A-B7FC-328F7EEBC59D}">
      <dgm:prSet/>
      <dgm:spPr/>
      <dgm:t>
        <a:bodyPr/>
        <a:lstStyle/>
        <a:p>
          <a:endParaRPr lang="nl-NL"/>
        </a:p>
      </dgm:t>
    </dgm:pt>
    <dgm:pt modelId="{43CF2498-DE3B-464D-8C44-D69BD64FF001}" type="sibTrans" cxnId="{27B49804-2333-482A-B7FC-328F7EEBC59D}">
      <dgm:prSet/>
      <dgm:spPr/>
      <dgm:t>
        <a:bodyPr/>
        <a:lstStyle/>
        <a:p>
          <a:endParaRPr lang="nl-NL"/>
        </a:p>
      </dgm:t>
    </dgm:pt>
    <dgm:pt modelId="{37EAFF13-CD40-4215-BE88-95120F02F978}" type="pres">
      <dgm:prSet presAssocID="{A4B10E8F-5C3D-4E76-B055-4F93AD7E60C5}" presName="linear" presStyleCnt="0">
        <dgm:presLayoutVars>
          <dgm:animLvl val="lvl"/>
          <dgm:resizeHandles val="exact"/>
        </dgm:presLayoutVars>
      </dgm:prSet>
      <dgm:spPr/>
    </dgm:pt>
    <dgm:pt modelId="{7AAFF1EE-6905-486A-842D-29F4517C02B7}" type="pres">
      <dgm:prSet presAssocID="{34AD3017-1787-4D2B-9327-27857089C253}" presName="parentText" presStyleLbl="node1" presStyleIdx="0" presStyleCnt="9">
        <dgm:presLayoutVars>
          <dgm:chMax val="0"/>
          <dgm:bulletEnabled val="1"/>
        </dgm:presLayoutVars>
      </dgm:prSet>
      <dgm:spPr/>
    </dgm:pt>
    <dgm:pt modelId="{8C76A688-B35C-41E8-AE2F-F10EC135FC3B}" type="pres">
      <dgm:prSet presAssocID="{881F092C-2780-435A-9E66-6A85F400C059}" presName="spacer" presStyleCnt="0"/>
      <dgm:spPr/>
    </dgm:pt>
    <dgm:pt modelId="{F82F1997-0E49-455A-9122-2DBFD67D256C}" type="pres">
      <dgm:prSet presAssocID="{B2AB8C1D-411F-4AC5-836C-C473718049E4}" presName="parentText" presStyleLbl="node1" presStyleIdx="1" presStyleCnt="9">
        <dgm:presLayoutVars>
          <dgm:chMax val="0"/>
          <dgm:bulletEnabled val="1"/>
        </dgm:presLayoutVars>
      </dgm:prSet>
      <dgm:spPr/>
    </dgm:pt>
    <dgm:pt modelId="{2E0DBB72-1A4D-4F44-938F-F30E12A743E0}" type="pres">
      <dgm:prSet presAssocID="{70DAAC75-623C-4C56-989F-BAC9C62C52A7}" presName="spacer" presStyleCnt="0"/>
      <dgm:spPr/>
    </dgm:pt>
    <dgm:pt modelId="{2EE52509-836E-440C-8EB0-30F13AACBFB9}" type="pres">
      <dgm:prSet presAssocID="{9EA4A0B9-87B5-4BB4-89B3-EE655ADAE1BC}" presName="parentText" presStyleLbl="node1" presStyleIdx="2" presStyleCnt="9">
        <dgm:presLayoutVars>
          <dgm:chMax val="0"/>
          <dgm:bulletEnabled val="1"/>
        </dgm:presLayoutVars>
      </dgm:prSet>
      <dgm:spPr/>
    </dgm:pt>
    <dgm:pt modelId="{382870E3-28DC-4D69-9EA3-45A6E1D198C4}" type="pres">
      <dgm:prSet presAssocID="{9C806E1D-B827-4858-9DB5-E52FEAFDFBAD}" presName="spacer" presStyleCnt="0"/>
      <dgm:spPr/>
    </dgm:pt>
    <dgm:pt modelId="{A40DAE02-D923-4431-A27A-EA1C38E7CF1C}" type="pres">
      <dgm:prSet presAssocID="{C3184AAB-6E51-4B69-8EE2-D87153FEB501}" presName="parentText" presStyleLbl="node1" presStyleIdx="3" presStyleCnt="9">
        <dgm:presLayoutVars>
          <dgm:chMax val="0"/>
          <dgm:bulletEnabled val="1"/>
        </dgm:presLayoutVars>
      </dgm:prSet>
      <dgm:spPr/>
    </dgm:pt>
    <dgm:pt modelId="{7869CA1D-58D7-44BA-9402-D76008F4B073}" type="pres">
      <dgm:prSet presAssocID="{D56763E3-EDD2-4B5F-9C7B-1593F319ACBE}" presName="spacer" presStyleCnt="0"/>
      <dgm:spPr/>
    </dgm:pt>
    <dgm:pt modelId="{322BA31C-8F82-4B94-9760-42FC4CBC553E}" type="pres">
      <dgm:prSet presAssocID="{76CF7CCA-DAA6-42CB-AA89-0082A3FB9077}" presName="parentText" presStyleLbl="node1" presStyleIdx="4" presStyleCnt="9">
        <dgm:presLayoutVars>
          <dgm:chMax val="0"/>
          <dgm:bulletEnabled val="1"/>
        </dgm:presLayoutVars>
      </dgm:prSet>
      <dgm:spPr/>
    </dgm:pt>
    <dgm:pt modelId="{078556AA-AEAE-4BA7-B725-E18FD769F4AC}" type="pres">
      <dgm:prSet presAssocID="{744C5005-F7D8-4DF3-8B15-AB599E9DBA97}" presName="spacer" presStyleCnt="0"/>
      <dgm:spPr/>
    </dgm:pt>
    <dgm:pt modelId="{792B5BC1-997A-4BEC-944C-54A03B5FDEEC}" type="pres">
      <dgm:prSet presAssocID="{C5FA02D4-D866-4EC9-9266-02890A6D76FE}" presName="parentText" presStyleLbl="node1" presStyleIdx="5" presStyleCnt="9">
        <dgm:presLayoutVars>
          <dgm:chMax val="0"/>
          <dgm:bulletEnabled val="1"/>
        </dgm:presLayoutVars>
      </dgm:prSet>
      <dgm:spPr/>
    </dgm:pt>
    <dgm:pt modelId="{AD354B3C-1D39-4837-BB41-0622403CFB1E}" type="pres">
      <dgm:prSet presAssocID="{A3483E74-2536-4337-AAD0-C67CDE30B71E}" presName="spacer" presStyleCnt="0"/>
      <dgm:spPr/>
    </dgm:pt>
    <dgm:pt modelId="{819113BF-FC09-41E3-83B8-7F819F2DC199}" type="pres">
      <dgm:prSet presAssocID="{A1CD6052-77FE-41A6-8F62-D37C55C927FE}" presName="parentText" presStyleLbl="node1" presStyleIdx="6" presStyleCnt="9">
        <dgm:presLayoutVars>
          <dgm:chMax val="0"/>
          <dgm:bulletEnabled val="1"/>
        </dgm:presLayoutVars>
      </dgm:prSet>
      <dgm:spPr/>
    </dgm:pt>
    <dgm:pt modelId="{21219E08-7CCE-4B85-AA53-8C75863826AD}" type="pres">
      <dgm:prSet presAssocID="{2E42CBBA-3A8A-436D-B7FD-D50671F41C10}" presName="spacer" presStyleCnt="0"/>
      <dgm:spPr/>
    </dgm:pt>
    <dgm:pt modelId="{7B120D37-9A81-4778-89F9-54F8C72FC000}" type="pres">
      <dgm:prSet presAssocID="{9C8342B0-2F5E-464C-BD4E-09C41A20ADFC}" presName="parentText" presStyleLbl="node1" presStyleIdx="7" presStyleCnt="9">
        <dgm:presLayoutVars>
          <dgm:chMax val="0"/>
          <dgm:bulletEnabled val="1"/>
        </dgm:presLayoutVars>
      </dgm:prSet>
      <dgm:spPr/>
    </dgm:pt>
    <dgm:pt modelId="{423363E7-56B1-40C0-BE39-FDC31E1C0133}" type="pres">
      <dgm:prSet presAssocID="{EAD5C369-22E9-4318-BD5C-22D5C32460C9}" presName="spacer" presStyleCnt="0"/>
      <dgm:spPr/>
    </dgm:pt>
    <dgm:pt modelId="{ABB8F2D8-95AA-442E-952C-4F8D69BF1A92}" type="pres">
      <dgm:prSet presAssocID="{2D98E78F-F6A0-421C-B5E2-D3AD1DDDE86F}" presName="parentText" presStyleLbl="node1" presStyleIdx="8" presStyleCnt="9">
        <dgm:presLayoutVars>
          <dgm:chMax val="0"/>
          <dgm:bulletEnabled val="1"/>
        </dgm:presLayoutVars>
      </dgm:prSet>
      <dgm:spPr/>
    </dgm:pt>
  </dgm:ptLst>
  <dgm:cxnLst>
    <dgm:cxn modelId="{27B49804-2333-482A-B7FC-328F7EEBC59D}" srcId="{A4B10E8F-5C3D-4E76-B055-4F93AD7E60C5}" destId="{2D98E78F-F6A0-421C-B5E2-D3AD1DDDE86F}" srcOrd="8" destOrd="0" parTransId="{7E6EB0DF-E3F7-419F-83E9-E7BD8628960A}" sibTransId="{43CF2498-DE3B-464D-8C44-D69BD64FF001}"/>
    <dgm:cxn modelId="{6EF8981D-9A6E-46F4-87E1-6E1097B72262}" srcId="{A4B10E8F-5C3D-4E76-B055-4F93AD7E60C5}" destId="{9C8342B0-2F5E-464C-BD4E-09C41A20ADFC}" srcOrd="7" destOrd="0" parTransId="{3044DE5B-8397-493F-A9D5-BDF8843CEA79}" sibTransId="{EAD5C369-22E9-4318-BD5C-22D5C32460C9}"/>
    <dgm:cxn modelId="{DA463D22-7AEF-4A0B-AF05-1E6F72F6B18D}" type="presOf" srcId="{76CF7CCA-DAA6-42CB-AA89-0082A3FB9077}" destId="{322BA31C-8F82-4B94-9760-42FC4CBC553E}" srcOrd="0" destOrd="0" presId="urn:microsoft.com/office/officeart/2005/8/layout/vList2"/>
    <dgm:cxn modelId="{3E71B82B-D6E6-4E86-BB3B-5013AD7FF1F4}" type="presOf" srcId="{C5FA02D4-D866-4EC9-9266-02890A6D76FE}" destId="{792B5BC1-997A-4BEC-944C-54A03B5FDEEC}" srcOrd="0" destOrd="0" presId="urn:microsoft.com/office/officeart/2005/8/layout/vList2"/>
    <dgm:cxn modelId="{39E92E39-71DD-4676-AA86-C4F923198C2C}" type="presOf" srcId="{B2AB8C1D-411F-4AC5-836C-C473718049E4}" destId="{F82F1997-0E49-455A-9122-2DBFD67D256C}" srcOrd="0" destOrd="0" presId="urn:microsoft.com/office/officeart/2005/8/layout/vList2"/>
    <dgm:cxn modelId="{5A56F760-22C9-45EE-9029-15FD71F04906}" srcId="{A4B10E8F-5C3D-4E76-B055-4F93AD7E60C5}" destId="{76CF7CCA-DAA6-42CB-AA89-0082A3FB9077}" srcOrd="4" destOrd="0" parTransId="{65C271ED-CB37-42EA-81DE-0D1F9D27627B}" sibTransId="{744C5005-F7D8-4DF3-8B15-AB599E9DBA97}"/>
    <dgm:cxn modelId="{37E84861-72AA-415C-B5DF-056A5DEB2B62}" type="presOf" srcId="{2D98E78F-F6A0-421C-B5E2-D3AD1DDDE86F}" destId="{ABB8F2D8-95AA-442E-952C-4F8D69BF1A92}" srcOrd="0" destOrd="0" presId="urn:microsoft.com/office/officeart/2005/8/layout/vList2"/>
    <dgm:cxn modelId="{0A95B27E-36FC-477B-A0C8-A6EAFEB5F5AA}" srcId="{A4B10E8F-5C3D-4E76-B055-4F93AD7E60C5}" destId="{9EA4A0B9-87B5-4BB4-89B3-EE655ADAE1BC}" srcOrd="2" destOrd="0" parTransId="{0A1E367D-C100-4EDE-9DF1-0ABF09455F36}" sibTransId="{9C806E1D-B827-4858-9DB5-E52FEAFDFBAD}"/>
    <dgm:cxn modelId="{1C2AD883-8DE4-4C3C-A06E-101C1D00FE51}" type="presOf" srcId="{C3184AAB-6E51-4B69-8EE2-D87153FEB501}" destId="{A40DAE02-D923-4431-A27A-EA1C38E7CF1C}" srcOrd="0" destOrd="0" presId="urn:microsoft.com/office/officeart/2005/8/layout/vList2"/>
    <dgm:cxn modelId="{5CD76D84-28E4-4983-8B38-FDB22CD8DC35}" srcId="{A4B10E8F-5C3D-4E76-B055-4F93AD7E60C5}" destId="{C5FA02D4-D866-4EC9-9266-02890A6D76FE}" srcOrd="5" destOrd="0" parTransId="{98B18946-A64A-452A-AE3D-7CE5A9B8DD60}" sibTransId="{A3483E74-2536-4337-AAD0-C67CDE30B71E}"/>
    <dgm:cxn modelId="{D09EFC89-CB85-4D30-8A63-A6563C58640E}" srcId="{A4B10E8F-5C3D-4E76-B055-4F93AD7E60C5}" destId="{34AD3017-1787-4D2B-9327-27857089C253}" srcOrd="0" destOrd="0" parTransId="{15BF6D83-0265-42D6-A733-3877819BA9FC}" sibTransId="{881F092C-2780-435A-9E66-6A85F400C059}"/>
    <dgm:cxn modelId="{931F1F8D-58EA-4D2F-B0E0-22AAAD69505F}" type="presOf" srcId="{A1CD6052-77FE-41A6-8F62-D37C55C927FE}" destId="{819113BF-FC09-41E3-83B8-7F819F2DC199}" srcOrd="0" destOrd="0" presId="urn:microsoft.com/office/officeart/2005/8/layout/vList2"/>
    <dgm:cxn modelId="{AD5694A6-E1E7-4E5D-BF65-640FA80004E2}" srcId="{A4B10E8F-5C3D-4E76-B055-4F93AD7E60C5}" destId="{A1CD6052-77FE-41A6-8F62-D37C55C927FE}" srcOrd="6" destOrd="0" parTransId="{24C41D2A-1DE8-42A8-AE16-430DDEFB332C}" sibTransId="{2E42CBBA-3A8A-436D-B7FD-D50671F41C10}"/>
    <dgm:cxn modelId="{9C4C04A7-71D0-45B2-9AA5-A7BD9EF40804}" type="presOf" srcId="{9C8342B0-2F5E-464C-BD4E-09C41A20ADFC}" destId="{7B120D37-9A81-4778-89F9-54F8C72FC000}" srcOrd="0" destOrd="0" presId="urn:microsoft.com/office/officeart/2005/8/layout/vList2"/>
    <dgm:cxn modelId="{93CA92A8-760B-4085-AA58-DA534109C8BC}" type="presOf" srcId="{9EA4A0B9-87B5-4BB4-89B3-EE655ADAE1BC}" destId="{2EE52509-836E-440C-8EB0-30F13AACBFB9}" srcOrd="0" destOrd="0" presId="urn:microsoft.com/office/officeart/2005/8/layout/vList2"/>
    <dgm:cxn modelId="{75AAB4A8-0235-4C30-9701-976DA4E3C885}" type="presOf" srcId="{34AD3017-1787-4D2B-9327-27857089C253}" destId="{7AAFF1EE-6905-486A-842D-29F4517C02B7}" srcOrd="0" destOrd="0" presId="urn:microsoft.com/office/officeart/2005/8/layout/vList2"/>
    <dgm:cxn modelId="{52B5BDC9-D023-4158-9779-2FBA2893051B}" srcId="{A4B10E8F-5C3D-4E76-B055-4F93AD7E60C5}" destId="{B2AB8C1D-411F-4AC5-836C-C473718049E4}" srcOrd="1" destOrd="0" parTransId="{95342EA8-2F78-4101-93B8-E80796DFB3FB}" sibTransId="{70DAAC75-623C-4C56-989F-BAC9C62C52A7}"/>
    <dgm:cxn modelId="{279FB6DB-2C55-46F0-87BA-06AB19D8448B}" srcId="{A4B10E8F-5C3D-4E76-B055-4F93AD7E60C5}" destId="{C3184AAB-6E51-4B69-8EE2-D87153FEB501}" srcOrd="3" destOrd="0" parTransId="{25C32118-B285-4F65-8B62-3E7A4E986097}" sibTransId="{D56763E3-EDD2-4B5F-9C7B-1593F319ACBE}"/>
    <dgm:cxn modelId="{412F7EDE-82B4-47FF-AE03-FB0B0A148B82}" type="presOf" srcId="{A4B10E8F-5C3D-4E76-B055-4F93AD7E60C5}" destId="{37EAFF13-CD40-4215-BE88-95120F02F978}" srcOrd="0" destOrd="0" presId="urn:microsoft.com/office/officeart/2005/8/layout/vList2"/>
    <dgm:cxn modelId="{92A9B58B-54C0-459C-9A19-4C8D9039AD23}" type="presParOf" srcId="{37EAFF13-CD40-4215-BE88-95120F02F978}" destId="{7AAFF1EE-6905-486A-842D-29F4517C02B7}" srcOrd="0" destOrd="0" presId="urn:microsoft.com/office/officeart/2005/8/layout/vList2"/>
    <dgm:cxn modelId="{3A087820-E10D-45BC-8A0B-E6989F6E5A69}" type="presParOf" srcId="{37EAFF13-CD40-4215-BE88-95120F02F978}" destId="{8C76A688-B35C-41E8-AE2F-F10EC135FC3B}" srcOrd="1" destOrd="0" presId="urn:microsoft.com/office/officeart/2005/8/layout/vList2"/>
    <dgm:cxn modelId="{0FB1B5F7-4EBE-420B-A56F-1F991EF34E5F}" type="presParOf" srcId="{37EAFF13-CD40-4215-BE88-95120F02F978}" destId="{F82F1997-0E49-455A-9122-2DBFD67D256C}" srcOrd="2" destOrd="0" presId="urn:microsoft.com/office/officeart/2005/8/layout/vList2"/>
    <dgm:cxn modelId="{83567C1A-53D0-44AB-A5F6-7E00C661CD87}" type="presParOf" srcId="{37EAFF13-CD40-4215-BE88-95120F02F978}" destId="{2E0DBB72-1A4D-4F44-938F-F30E12A743E0}" srcOrd="3" destOrd="0" presId="urn:microsoft.com/office/officeart/2005/8/layout/vList2"/>
    <dgm:cxn modelId="{1EDF2808-5DB2-471F-BEAB-EDF2E528FFDA}" type="presParOf" srcId="{37EAFF13-CD40-4215-BE88-95120F02F978}" destId="{2EE52509-836E-440C-8EB0-30F13AACBFB9}" srcOrd="4" destOrd="0" presId="urn:microsoft.com/office/officeart/2005/8/layout/vList2"/>
    <dgm:cxn modelId="{9EAEC56D-158A-475C-AE5C-ED529892DAA7}" type="presParOf" srcId="{37EAFF13-CD40-4215-BE88-95120F02F978}" destId="{382870E3-28DC-4D69-9EA3-45A6E1D198C4}" srcOrd="5" destOrd="0" presId="urn:microsoft.com/office/officeart/2005/8/layout/vList2"/>
    <dgm:cxn modelId="{64930583-B07C-4B15-A67A-56206F6C12C6}" type="presParOf" srcId="{37EAFF13-CD40-4215-BE88-95120F02F978}" destId="{A40DAE02-D923-4431-A27A-EA1C38E7CF1C}" srcOrd="6" destOrd="0" presId="urn:microsoft.com/office/officeart/2005/8/layout/vList2"/>
    <dgm:cxn modelId="{C238BC3A-1628-4EFA-923D-230251AC4AB7}" type="presParOf" srcId="{37EAFF13-CD40-4215-BE88-95120F02F978}" destId="{7869CA1D-58D7-44BA-9402-D76008F4B073}" srcOrd="7" destOrd="0" presId="urn:microsoft.com/office/officeart/2005/8/layout/vList2"/>
    <dgm:cxn modelId="{D39FEDD2-B0C4-4E40-A2B8-F4CF5E0A5FAD}" type="presParOf" srcId="{37EAFF13-CD40-4215-BE88-95120F02F978}" destId="{322BA31C-8F82-4B94-9760-42FC4CBC553E}" srcOrd="8" destOrd="0" presId="urn:microsoft.com/office/officeart/2005/8/layout/vList2"/>
    <dgm:cxn modelId="{38699BC3-7598-401E-82B3-992DD5903D4A}" type="presParOf" srcId="{37EAFF13-CD40-4215-BE88-95120F02F978}" destId="{078556AA-AEAE-4BA7-B725-E18FD769F4AC}" srcOrd="9" destOrd="0" presId="urn:microsoft.com/office/officeart/2005/8/layout/vList2"/>
    <dgm:cxn modelId="{E426DFF7-4FC2-4F65-987C-65FFE2BBEBD2}" type="presParOf" srcId="{37EAFF13-CD40-4215-BE88-95120F02F978}" destId="{792B5BC1-997A-4BEC-944C-54A03B5FDEEC}" srcOrd="10" destOrd="0" presId="urn:microsoft.com/office/officeart/2005/8/layout/vList2"/>
    <dgm:cxn modelId="{57B034AD-64CB-4DF3-B09D-A30EBA5CF0E0}" type="presParOf" srcId="{37EAFF13-CD40-4215-BE88-95120F02F978}" destId="{AD354B3C-1D39-4837-BB41-0622403CFB1E}" srcOrd="11" destOrd="0" presId="urn:microsoft.com/office/officeart/2005/8/layout/vList2"/>
    <dgm:cxn modelId="{06671583-8968-4404-B072-F5DD6ACBEA94}" type="presParOf" srcId="{37EAFF13-CD40-4215-BE88-95120F02F978}" destId="{819113BF-FC09-41E3-83B8-7F819F2DC199}" srcOrd="12" destOrd="0" presId="urn:microsoft.com/office/officeart/2005/8/layout/vList2"/>
    <dgm:cxn modelId="{5E0FC93C-CE40-4CDB-9B5E-2041A209E724}" type="presParOf" srcId="{37EAFF13-CD40-4215-BE88-95120F02F978}" destId="{21219E08-7CCE-4B85-AA53-8C75863826AD}" srcOrd="13" destOrd="0" presId="urn:microsoft.com/office/officeart/2005/8/layout/vList2"/>
    <dgm:cxn modelId="{D1C45880-6190-490B-ADDF-DA16BB9C3D01}" type="presParOf" srcId="{37EAFF13-CD40-4215-BE88-95120F02F978}" destId="{7B120D37-9A81-4778-89F9-54F8C72FC000}" srcOrd="14" destOrd="0" presId="urn:microsoft.com/office/officeart/2005/8/layout/vList2"/>
    <dgm:cxn modelId="{73073EAB-EF01-4DE6-984A-296197806FAD}" type="presParOf" srcId="{37EAFF13-CD40-4215-BE88-95120F02F978}" destId="{423363E7-56B1-40C0-BE39-FDC31E1C0133}" srcOrd="15" destOrd="0" presId="urn:microsoft.com/office/officeart/2005/8/layout/vList2"/>
    <dgm:cxn modelId="{C3A6CD61-9AD4-4C73-827E-63169A9E9050}" type="presParOf" srcId="{37EAFF13-CD40-4215-BE88-95120F02F978}" destId="{ABB8F2D8-95AA-442E-952C-4F8D69BF1A92}" srcOrd="1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14A2106-B3AE-450E-978E-A9165C9088A5}" type="doc">
      <dgm:prSet loTypeId="urn:microsoft.com/office/officeart/2005/8/layout/process1" loCatId="process" qsTypeId="urn:microsoft.com/office/officeart/2005/8/quickstyle/simple1" qsCatId="simple" csTypeId="urn:microsoft.com/office/officeart/2005/8/colors/accent5_4" csCatId="accent5"/>
      <dgm:spPr/>
      <dgm:t>
        <a:bodyPr/>
        <a:lstStyle/>
        <a:p>
          <a:endParaRPr lang="nl-NL"/>
        </a:p>
      </dgm:t>
    </dgm:pt>
    <dgm:pt modelId="{11ECBC13-EB2B-4A6C-B2D5-93C3D49DCE28}">
      <dgm:prSet/>
      <dgm:spPr/>
      <dgm:t>
        <a:bodyPr/>
        <a:lstStyle/>
        <a:p>
          <a:r>
            <a:rPr lang="en-US" b="1" dirty="0"/>
            <a:t>What business results has your organization realized from leveraging APIs?</a:t>
          </a:r>
          <a:endParaRPr lang="nl-NL" dirty="0"/>
        </a:p>
      </dgm:t>
    </dgm:pt>
    <dgm:pt modelId="{3D4FCC7D-AFB1-4BA8-9E49-673AAAD214FE}" type="parTrans" cxnId="{DF317FBA-A355-4085-B8E2-AB833A7E15D0}">
      <dgm:prSet/>
      <dgm:spPr/>
      <dgm:t>
        <a:bodyPr/>
        <a:lstStyle/>
        <a:p>
          <a:endParaRPr lang="nl-NL"/>
        </a:p>
      </dgm:t>
    </dgm:pt>
    <dgm:pt modelId="{EB3692AB-1FD2-467D-9137-72A9396579C8}" type="sibTrans" cxnId="{DF317FBA-A355-4085-B8E2-AB833A7E15D0}">
      <dgm:prSet/>
      <dgm:spPr/>
      <dgm:t>
        <a:bodyPr/>
        <a:lstStyle/>
        <a:p>
          <a:endParaRPr lang="nl-NL"/>
        </a:p>
      </dgm:t>
    </dgm:pt>
    <dgm:pt modelId="{6D042BC8-EE07-4438-A7DA-B7F749317973}" type="pres">
      <dgm:prSet presAssocID="{814A2106-B3AE-450E-978E-A9165C9088A5}" presName="Name0" presStyleCnt="0">
        <dgm:presLayoutVars>
          <dgm:dir/>
          <dgm:resizeHandles val="exact"/>
        </dgm:presLayoutVars>
      </dgm:prSet>
      <dgm:spPr/>
    </dgm:pt>
    <dgm:pt modelId="{C1AA0FB6-8DDB-4EE9-9789-27853EDB5155}" type="pres">
      <dgm:prSet presAssocID="{11ECBC13-EB2B-4A6C-B2D5-93C3D49DCE28}" presName="node" presStyleLbl="node1" presStyleIdx="0" presStyleCnt="1">
        <dgm:presLayoutVars>
          <dgm:bulletEnabled val="1"/>
        </dgm:presLayoutVars>
      </dgm:prSet>
      <dgm:spPr/>
    </dgm:pt>
  </dgm:ptLst>
  <dgm:cxnLst>
    <dgm:cxn modelId="{DF317FBA-A355-4085-B8E2-AB833A7E15D0}" srcId="{814A2106-B3AE-450E-978E-A9165C9088A5}" destId="{11ECBC13-EB2B-4A6C-B2D5-93C3D49DCE28}" srcOrd="0" destOrd="0" parTransId="{3D4FCC7D-AFB1-4BA8-9E49-673AAAD214FE}" sibTransId="{EB3692AB-1FD2-467D-9137-72A9396579C8}"/>
    <dgm:cxn modelId="{0177D0C1-FDAC-456C-901E-143263F27A2E}" type="presOf" srcId="{814A2106-B3AE-450E-978E-A9165C9088A5}" destId="{6D042BC8-EE07-4438-A7DA-B7F749317973}" srcOrd="0" destOrd="0" presId="urn:microsoft.com/office/officeart/2005/8/layout/process1"/>
    <dgm:cxn modelId="{8199B4CD-B273-4786-9F8F-E01F537EA0E4}" type="presOf" srcId="{11ECBC13-EB2B-4A6C-B2D5-93C3D49DCE28}" destId="{C1AA0FB6-8DDB-4EE9-9789-27853EDB5155}" srcOrd="0" destOrd="0" presId="urn:microsoft.com/office/officeart/2005/8/layout/process1"/>
    <dgm:cxn modelId="{73E212F7-A71F-49C8-9FA8-65C57F6C2B81}" type="presParOf" srcId="{6D042BC8-EE07-4438-A7DA-B7F749317973}" destId="{C1AA0FB6-8DDB-4EE9-9789-27853EDB5155}" srcOrd="0" destOrd="0" presId="urn:microsoft.com/office/officeart/2005/8/layout/process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F4F40B7-8C84-41A8-AC70-EFAD7EB62973}" type="doc">
      <dgm:prSet loTypeId="urn:microsoft.com/office/officeart/2005/8/layout/process1" loCatId="process" qsTypeId="urn:microsoft.com/office/officeart/2005/8/quickstyle/simple1" qsCatId="simple" csTypeId="urn:microsoft.com/office/officeart/2005/8/colors/accent3_2" csCatId="accent3"/>
      <dgm:spPr/>
      <dgm:t>
        <a:bodyPr/>
        <a:lstStyle/>
        <a:p>
          <a:endParaRPr lang="nl-NL"/>
        </a:p>
      </dgm:t>
    </dgm:pt>
    <dgm:pt modelId="{826A9F32-DF99-431C-96AC-4325ADE6DD84}">
      <dgm:prSet/>
      <dgm:spPr/>
      <dgm:t>
        <a:bodyPr/>
        <a:lstStyle/>
        <a:p>
          <a:r>
            <a:rPr lang="en-US" b="1" dirty="0"/>
            <a:t>What percentage of your organization's revenue is generated from APIs</a:t>
          </a:r>
          <a:r>
            <a:rPr lang="nl-NL" b="1" dirty="0"/>
            <a:t>and API-related implementations?</a:t>
          </a:r>
          <a:endParaRPr lang="nl-NL" dirty="0"/>
        </a:p>
      </dgm:t>
    </dgm:pt>
    <dgm:pt modelId="{1E432537-2A4D-4FFB-8EAB-7E43C7E08382}" type="parTrans" cxnId="{AB12FAAA-4461-4E91-BBDB-18B01455CAB8}">
      <dgm:prSet/>
      <dgm:spPr/>
      <dgm:t>
        <a:bodyPr/>
        <a:lstStyle/>
        <a:p>
          <a:endParaRPr lang="nl-NL"/>
        </a:p>
      </dgm:t>
    </dgm:pt>
    <dgm:pt modelId="{35B555BD-2EF7-441C-BC4D-CE0B9C8F55D5}" type="sibTrans" cxnId="{AB12FAAA-4461-4E91-BBDB-18B01455CAB8}">
      <dgm:prSet/>
      <dgm:spPr/>
      <dgm:t>
        <a:bodyPr/>
        <a:lstStyle/>
        <a:p>
          <a:endParaRPr lang="nl-NL"/>
        </a:p>
      </dgm:t>
    </dgm:pt>
    <dgm:pt modelId="{3CF193C7-0389-47E8-AEC5-C8ACAAAC9A00}" type="pres">
      <dgm:prSet presAssocID="{0F4F40B7-8C84-41A8-AC70-EFAD7EB62973}" presName="Name0" presStyleCnt="0">
        <dgm:presLayoutVars>
          <dgm:dir/>
          <dgm:resizeHandles val="exact"/>
        </dgm:presLayoutVars>
      </dgm:prSet>
      <dgm:spPr/>
    </dgm:pt>
    <dgm:pt modelId="{87141EB4-91E0-449F-9E3F-4DFFA1C1529C}" type="pres">
      <dgm:prSet presAssocID="{826A9F32-DF99-431C-96AC-4325ADE6DD84}" presName="node" presStyleLbl="node1" presStyleIdx="0" presStyleCnt="1">
        <dgm:presLayoutVars>
          <dgm:bulletEnabled val="1"/>
        </dgm:presLayoutVars>
      </dgm:prSet>
      <dgm:spPr/>
    </dgm:pt>
  </dgm:ptLst>
  <dgm:cxnLst>
    <dgm:cxn modelId="{1BA37769-851A-4A17-93FE-EF6A7CDD7200}" type="presOf" srcId="{0F4F40B7-8C84-41A8-AC70-EFAD7EB62973}" destId="{3CF193C7-0389-47E8-AEC5-C8ACAAAC9A00}" srcOrd="0" destOrd="0" presId="urn:microsoft.com/office/officeart/2005/8/layout/process1"/>
    <dgm:cxn modelId="{B605A16D-2560-4DB5-8052-F8BE2E9EA5A9}" type="presOf" srcId="{826A9F32-DF99-431C-96AC-4325ADE6DD84}" destId="{87141EB4-91E0-449F-9E3F-4DFFA1C1529C}" srcOrd="0" destOrd="0" presId="urn:microsoft.com/office/officeart/2005/8/layout/process1"/>
    <dgm:cxn modelId="{AB12FAAA-4461-4E91-BBDB-18B01455CAB8}" srcId="{0F4F40B7-8C84-41A8-AC70-EFAD7EB62973}" destId="{826A9F32-DF99-431C-96AC-4325ADE6DD84}" srcOrd="0" destOrd="0" parTransId="{1E432537-2A4D-4FFB-8EAB-7E43C7E08382}" sibTransId="{35B555BD-2EF7-441C-BC4D-CE0B9C8F55D5}"/>
    <dgm:cxn modelId="{E373DABE-84A9-441E-B5EF-554ABB969E93}" type="presParOf" srcId="{3CF193C7-0389-47E8-AEC5-C8ACAAAC9A00}" destId="{87141EB4-91E0-449F-9E3F-4DFFA1C1529C}" srcOrd="0" destOrd="0" presId="urn:microsoft.com/office/officeart/2005/8/layout/process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ED66F15-60F8-4899-BACF-5973A81AB38C}"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nl-NL"/>
        </a:p>
      </dgm:t>
    </dgm:pt>
    <dgm:pt modelId="{F318ED3B-1747-481F-A0CA-18D0FE8D05E2}">
      <dgm:prSet/>
      <dgm:spPr/>
      <dgm:t>
        <a:bodyPr/>
        <a:lstStyle/>
        <a:p>
          <a:r>
            <a:rPr lang="nl-NL"/>
            <a:t>0% of revenue -  10%</a:t>
          </a:r>
        </a:p>
      </dgm:t>
    </dgm:pt>
    <dgm:pt modelId="{E1F20BDF-A2FD-43AC-BE09-580E5107DDAC}" type="parTrans" cxnId="{7FCA10C1-AFC0-4BC7-8C04-6C4D82A65567}">
      <dgm:prSet/>
      <dgm:spPr/>
      <dgm:t>
        <a:bodyPr/>
        <a:lstStyle/>
        <a:p>
          <a:endParaRPr lang="nl-NL"/>
        </a:p>
      </dgm:t>
    </dgm:pt>
    <dgm:pt modelId="{BED72808-00AC-4A95-900E-505BB8E51F11}" type="sibTrans" cxnId="{7FCA10C1-AFC0-4BC7-8C04-6C4D82A65567}">
      <dgm:prSet/>
      <dgm:spPr/>
      <dgm:t>
        <a:bodyPr/>
        <a:lstStyle/>
        <a:p>
          <a:endParaRPr lang="nl-NL"/>
        </a:p>
      </dgm:t>
    </dgm:pt>
    <dgm:pt modelId="{D068B170-D150-462D-8AAF-48DF9EC53407}">
      <dgm:prSet/>
      <dgm:spPr/>
      <dgm:t>
        <a:bodyPr/>
        <a:lstStyle/>
        <a:p>
          <a:r>
            <a:rPr lang="nl-NL"/>
            <a:t>1-10% of revenue – 15%</a:t>
          </a:r>
        </a:p>
      </dgm:t>
    </dgm:pt>
    <dgm:pt modelId="{1D7F061B-62E2-4E6C-88EF-8F7E90265540}" type="parTrans" cxnId="{7CBCCE05-C6D2-4BF8-9786-6E655C031FF7}">
      <dgm:prSet/>
      <dgm:spPr/>
      <dgm:t>
        <a:bodyPr/>
        <a:lstStyle/>
        <a:p>
          <a:endParaRPr lang="nl-NL"/>
        </a:p>
      </dgm:t>
    </dgm:pt>
    <dgm:pt modelId="{66461668-A7C2-4397-8DA4-2F16DD8A2A06}" type="sibTrans" cxnId="{7CBCCE05-C6D2-4BF8-9786-6E655C031FF7}">
      <dgm:prSet/>
      <dgm:spPr/>
      <dgm:t>
        <a:bodyPr/>
        <a:lstStyle/>
        <a:p>
          <a:endParaRPr lang="nl-NL"/>
        </a:p>
      </dgm:t>
    </dgm:pt>
    <dgm:pt modelId="{4FE68B0D-AE7B-44D7-996F-B87500A99EA9}">
      <dgm:prSet/>
      <dgm:spPr/>
      <dgm:t>
        <a:bodyPr/>
        <a:lstStyle/>
        <a:p>
          <a:r>
            <a:rPr lang="nl-NL"/>
            <a:t>11-25% of revenue – 35%</a:t>
          </a:r>
        </a:p>
      </dgm:t>
    </dgm:pt>
    <dgm:pt modelId="{8422E89B-4C1A-4B83-9DD2-83A2AEE6DFC0}" type="parTrans" cxnId="{09C70326-7879-48C1-B754-A9C0AAEB33AD}">
      <dgm:prSet/>
      <dgm:spPr/>
      <dgm:t>
        <a:bodyPr/>
        <a:lstStyle/>
        <a:p>
          <a:endParaRPr lang="nl-NL"/>
        </a:p>
      </dgm:t>
    </dgm:pt>
    <dgm:pt modelId="{800C9341-79C2-4E21-835C-9804FB3EFCB5}" type="sibTrans" cxnId="{09C70326-7879-48C1-B754-A9C0AAEB33AD}">
      <dgm:prSet/>
      <dgm:spPr/>
      <dgm:t>
        <a:bodyPr/>
        <a:lstStyle/>
        <a:p>
          <a:endParaRPr lang="nl-NL"/>
        </a:p>
      </dgm:t>
    </dgm:pt>
    <dgm:pt modelId="{4BBCB0B7-9B74-423E-AF3E-71BA4E8E31C5}">
      <dgm:prSet/>
      <dgm:spPr/>
      <dgm:t>
        <a:bodyPr/>
        <a:lstStyle/>
        <a:p>
          <a:r>
            <a:rPr lang="nl-NL"/>
            <a:t>26-50% of revenue – 24 %</a:t>
          </a:r>
        </a:p>
      </dgm:t>
    </dgm:pt>
    <dgm:pt modelId="{1D922096-1831-4FE1-A429-57F31FF61B91}" type="parTrans" cxnId="{28ED7ECC-76A7-4D20-A8F2-A71FA91D4CFE}">
      <dgm:prSet/>
      <dgm:spPr/>
      <dgm:t>
        <a:bodyPr/>
        <a:lstStyle/>
        <a:p>
          <a:endParaRPr lang="nl-NL"/>
        </a:p>
      </dgm:t>
    </dgm:pt>
    <dgm:pt modelId="{3717C1BE-D5FD-4A8C-AB2A-AD9FEA6F3907}" type="sibTrans" cxnId="{28ED7ECC-76A7-4D20-A8F2-A71FA91D4CFE}">
      <dgm:prSet/>
      <dgm:spPr/>
      <dgm:t>
        <a:bodyPr/>
        <a:lstStyle/>
        <a:p>
          <a:endParaRPr lang="nl-NL"/>
        </a:p>
      </dgm:t>
    </dgm:pt>
    <dgm:pt modelId="{C8992A4F-2FA8-455E-B307-3E96FCB2C87C}">
      <dgm:prSet/>
      <dgm:spPr/>
      <dgm:t>
        <a:bodyPr/>
        <a:lstStyle/>
        <a:p>
          <a:r>
            <a:rPr lang="nl-NL"/>
            <a:t>51-75% of revenue – 9%</a:t>
          </a:r>
        </a:p>
      </dgm:t>
    </dgm:pt>
    <dgm:pt modelId="{1AC00A21-E953-4A2F-974D-8EEA4A0CF360}" type="parTrans" cxnId="{38F777ED-8307-4414-8AC1-4C45339B1958}">
      <dgm:prSet/>
      <dgm:spPr/>
      <dgm:t>
        <a:bodyPr/>
        <a:lstStyle/>
        <a:p>
          <a:endParaRPr lang="nl-NL"/>
        </a:p>
      </dgm:t>
    </dgm:pt>
    <dgm:pt modelId="{596A7FA2-F6CE-4758-9204-711F27B2F505}" type="sibTrans" cxnId="{38F777ED-8307-4414-8AC1-4C45339B1958}">
      <dgm:prSet/>
      <dgm:spPr/>
      <dgm:t>
        <a:bodyPr/>
        <a:lstStyle/>
        <a:p>
          <a:endParaRPr lang="nl-NL"/>
        </a:p>
      </dgm:t>
    </dgm:pt>
    <dgm:pt modelId="{97C87AD4-5CA0-4428-8A24-25ACF7781422}">
      <dgm:prSet/>
      <dgm:spPr/>
      <dgm:t>
        <a:bodyPr/>
        <a:lstStyle/>
        <a:p>
          <a:r>
            <a:rPr lang="nl-NL"/>
            <a:t>76-100% of revenue – 2%</a:t>
          </a:r>
        </a:p>
      </dgm:t>
    </dgm:pt>
    <dgm:pt modelId="{434CB54C-82B4-4EF4-9E74-56CC2171F523}" type="parTrans" cxnId="{A9D41B2E-F335-4237-B3FD-39D632DBB940}">
      <dgm:prSet/>
      <dgm:spPr/>
      <dgm:t>
        <a:bodyPr/>
        <a:lstStyle/>
        <a:p>
          <a:endParaRPr lang="nl-NL"/>
        </a:p>
      </dgm:t>
    </dgm:pt>
    <dgm:pt modelId="{4CF03618-7186-4A28-A7CF-FD3940B8C10E}" type="sibTrans" cxnId="{A9D41B2E-F335-4237-B3FD-39D632DBB940}">
      <dgm:prSet/>
      <dgm:spPr/>
      <dgm:t>
        <a:bodyPr/>
        <a:lstStyle/>
        <a:p>
          <a:endParaRPr lang="nl-NL"/>
        </a:p>
      </dgm:t>
    </dgm:pt>
    <dgm:pt modelId="{14E286CE-92D9-4F81-B886-F15DCE6DFF30}">
      <dgm:prSet/>
      <dgm:spPr/>
      <dgm:t>
        <a:bodyPr/>
        <a:lstStyle/>
        <a:p>
          <a:r>
            <a:rPr lang="nl-NL"/>
            <a:t>Don't know – 5%</a:t>
          </a:r>
        </a:p>
      </dgm:t>
    </dgm:pt>
    <dgm:pt modelId="{376782B7-AA97-4DD0-AEF4-EFA5F66540A7}" type="parTrans" cxnId="{635DAB83-80FB-4DBC-8D8D-640788BCECA8}">
      <dgm:prSet/>
      <dgm:spPr/>
      <dgm:t>
        <a:bodyPr/>
        <a:lstStyle/>
        <a:p>
          <a:endParaRPr lang="nl-NL"/>
        </a:p>
      </dgm:t>
    </dgm:pt>
    <dgm:pt modelId="{E3B508D1-F44C-4CEB-BE30-F91F0A268759}" type="sibTrans" cxnId="{635DAB83-80FB-4DBC-8D8D-640788BCECA8}">
      <dgm:prSet/>
      <dgm:spPr/>
      <dgm:t>
        <a:bodyPr/>
        <a:lstStyle/>
        <a:p>
          <a:endParaRPr lang="nl-NL"/>
        </a:p>
      </dgm:t>
    </dgm:pt>
    <dgm:pt modelId="{A416B105-C25F-4D20-B63C-2224B1256776}" type="pres">
      <dgm:prSet presAssocID="{3ED66F15-60F8-4899-BACF-5973A81AB38C}" presName="linear" presStyleCnt="0">
        <dgm:presLayoutVars>
          <dgm:animLvl val="lvl"/>
          <dgm:resizeHandles val="exact"/>
        </dgm:presLayoutVars>
      </dgm:prSet>
      <dgm:spPr/>
    </dgm:pt>
    <dgm:pt modelId="{086C8160-7A99-4F6A-9DE7-A4507E7320AE}" type="pres">
      <dgm:prSet presAssocID="{F318ED3B-1747-481F-A0CA-18D0FE8D05E2}" presName="parentText" presStyleLbl="node1" presStyleIdx="0" presStyleCnt="7">
        <dgm:presLayoutVars>
          <dgm:chMax val="0"/>
          <dgm:bulletEnabled val="1"/>
        </dgm:presLayoutVars>
      </dgm:prSet>
      <dgm:spPr/>
    </dgm:pt>
    <dgm:pt modelId="{9D75D8C7-1D32-43B6-BC44-F306646F14F9}" type="pres">
      <dgm:prSet presAssocID="{BED72808-00AC-4A95-900E-505BB8E51F11}" presName="spacer" presStyleCnt="0"/>
      <dgm:spPr/>
    </dgm:pt>
    <dgm:pt modelId="{0819C2D7-F26C-4519-9623-A44798678D6C}" type="pres">
      <dgm:prSet presAssocID="{D068B170-D150-462D-8AAF-48DF9EC53407}" presName="parentText" presStyleLbl="node1" presStyleIdx="1" presStyleCnt="7">
        <dgm:presLayoutVars>
          <dgm:chMax val="0"/>
          <dgm:bulletEnabled val="1"/>
        </dgm:presLayoutVars>
      </dgm:prSet>
      <dgm:spPr/>
    </dgm:pt>
    <dgm:pt modelId="{6E8BD6E4-21CB-47A4-AA84-59BE60C5FF81}" type="pres">
      <dgm:prSet presAssocID="{66461668-A7C2-4397-8DA4-2F16DD8A2A06}" presName="spacer" presStyleCnt="0"/>
      <dgm:spPr/>
    </dgm:pt>
    <dgm:pt modelId="{172994F9-14EF-4FB1-A345-E4B16C82B4AE}" type="pres">
      <dgm:prSet presAssocID="{4FE68B0D-AE7B-44D7-996F-B87500A99EA9}" presName="parentText" presStyleLbl="node1" presStyleIdx="2" presStyleCnt="7">
        <dgm:presLayoutVars>
          <dgm:chMax val="0"/>
          <dgm:bulletEnabled val="1"/>
        </dgm:presLayoutVars>
      </dgm:prSet>
      <dgm:spPr/>
    </dgm:pt>
    <dgm:pt modelId="{F329FF19-6BBD-4BDF-A5DC-7628D4CF61FD}" type="pres">
      <dgm:prSet presAssocID="{800C9341-79C2-4E21-835C-9804FB3EFCB5}" presName="spacer" presStyleCnt="0"/>
      <dgm:spPr/>
    </dgm:pt>
    <dgm:pt modelId="{3D589C47-727D-4563-9A21-B5C22F0CEC9E}" type="pres">
      <dgm:prSet presAssocID="{4BBCB0B7-9B74-423E-AF3E-71BA4E8E31C5}" presName="parentText" presStyleLbl="node1" presStyleIdx="3" presStyleCnt="7">
        <dgm:presLayoutVars>
          <dgm:chMax val="0"/>
          <dgm:bulletEnabled val="1"/>
        </dgm:presLayoutVars>
      </dgm:prSet>
      <dgm:spPr/>
    </dgm:pt>
    <dgm:pt modelId="{63699653-B660-43E6-98C3-690A46540713}" type="pres">
      <dgm:prSet presAssocID="{3717C1BE-D5FD-4A8C-AB2A-AD9FEA6F3907}" presName="spacer" presStyleCnt="0"/>
      <dgm:spPr/>
    </dgm:pt>
    <dgm:pt modelId="{E350936B-DEB6-4AC5-BF5B-9D36F6B10F12}" type="pres">
      <dgm:prSet presAssocID="{C8992A4F-2FA8-455E-B307-3E96FCB2C87C}" presName="parentText" presStyleLbl="node1" presStyleIdx="4" presStyleCnt="7">
        <dgm:presLayoutVars>
          <dgm:chMax val="0"/>
          <dgm:bulletEnabled val="1"/>
        </dgm:presLayoutVars>
      </dgm:prSet>
      <dgm:spPr/>
    </dgm:pt>
    <dgm:pt modelId="{7B1ADD72-EA54-4869-AC90-4D549984ACEB}" type="pres">
      <dgm:prSet presAssocID="{596A7FA2-F6CE-4758-9204-711F27B2F505}" presName="spacer" presStyleCnt="0"/>
      <dgm:spPr/>
    </dgm:pt>
    <dgm:pt modelId="{C78451DF-C345-458A-8102-90FE782C0C8D}" type="pres">
      <dgm:prSet presAssocID="{97C87AD4-5CA0-4428-8A24-25ACF7781422}" presName="parentText" presStyleLbl="node1" presStyleIdx="5" presStyleCnt="7">
        <dgm:presLayoutVars>
          <dgm:chMax val="0"/>
          <dgm:bulletEnabled val="1"/>
        </dgm:presLayoutVars>
      </dgm:prSet>
      <dgm:spPr/>
    </dgm:pt>
    <dgm:pt modelId="{32FD69CA-C8A4-4005-BD9E-B560F2BDF00E}" type="pres">
      <dgm:prSet presAssocID="{4CF03618-7186-4A28-A7CF-FD3940B8C10E}" presName="spacer" presStyleCnt="0"/>
      <dgm:spPr/>
    </dgm:pt>
    <dgm:pt modelId="{E9D5A228-C214-4BA9-B4C8-710A02167EDD}" type="pres">
      <dgm:prSet presAssocID="{14E286CE-92D9-4F81-B886-F15DCE6DFF30}" presName="parentText" presStyleLbl="node1" presStyleIdx="6" presStyleCnt="7">
        <dgm:presLayoutVars>
          <dgm:chMax val="0"/>
          <dgm:bulletEnabled val="1"/>
        </dgm:presLayoutVars>
      </dgm:prSet>
      <dgm:spPr/>
    </dgm:pt>
  </dgm:ptLst>
  <dgm:cxnLst>
    <dgm:cxn modelId="{7CBCCE05-C6D2-4BF8-9786-6E655C031FF7}" srcId="{3ED66F15-60F8-4899-BACF-5973A81AB38C}" destId="{D068B170-D150-462D-8AAF-48DF9EC53407}" srcOrd="1" destOrd="0" parTransId="{1D7F061B-62E2-4E6C-88EF-8F7E90265540}" sibTransId="{66461668-A7C2-4397-8DA4-2F16DD8A2A06}"/>
    <dgm:cxn modelId="{08EDEA0E-2060-46D4-A872-6721231EA74A}" type="presOf" srcId="{D068B170-D150-462D-8AAF-48DF9EC53407}" destId="{0819C2D7-F26C-4519-9623-A44798678D6C}" srcOrd="0" destOrd="0" presId="urn:microsoft.com/office/officeart/2005/8/layout/vList2"/>
    <dgm:cxn modelId="{09C70326-7879-48C1-B754-A9C0AAEB33AD}" srcId="{3ED66F15-60F8-4899-BACF-5973A81AB38C}" destId="{4FE68B0D-AE7B-44D7-996F-B87500A99EA9}" srcOrd="2" destOrd="0" parTransId="{8422E89B-4C1A-4B83-9DD2-83A2AEE6DFC0}" sibTransId="{800C9341-79C2-4E21-835C-9804FB3EFCB5}"/>
    <dgm:cxn modelId="{A9D41B2E-F335-4237-B3FD-39D632DBB940}" srcId="{3ED66F15-60F8-4899-BACF-5973A81AB38C}" destId="{97C87AD4-5CA0-4428-8A24-25ACF7781422}" srcOrd="5" destOrd="0" parTransId="{434CB54C-82B4-4EF4-9E74-56CC2171F523}" sibTransId="{4CF03618-7186-4A28-A7CF-FD3940B8C10E}"/>
    <dgm:cxn modelId="{AA9E4F61-B36D-41C2-87F9-AAC52D781847}" type="presOf" srcId="{97C87AD4-5CA0-4428-8A24-25ACF7781422}" destId="{C78451DF-C345-458A-8102-90FE782C0C8D}" srcOrd="0" destOrd="0" presId="urn:microsoft.com/office/officeart/2005/8/layout/vList2"/>
    <dgm:cxn modelId="{66F2C44E-1EBF-4313-8F0D-0157F685CC74}" type="presOf" srcId="{14E286CE-92D9-4F81-B886-F15DCE6DFF30}" destId="{E9D5A228-C214-4BA9-B4C8-710A02167EDD}" srcOrd="0" destOrd="0" presId="urn:microsoft.com/office/officeart/2005/8/layout/vList2"/>
    <dgm:cxn modelId="{A9683750-DE84-4C37-9C1C-4540EAE9A59E}" type="presOf" srcId="{3ED66F15-60F8-4899-BACF-5973A81AB38C}" destId="{A416B105-C25F-4D20-B63C-2224B1256776}" srcOrd="0" destOrd="0" presId="urn:microsoft.com/office/officeart/2005/8/layout/vList2"/>
    <dgm:cxn modelId="{15F03657-E0AA-4FCB-855F-2064A21613CC}" type="presOf" srcId="{4BBCB0B7-9B74-423E-AF3E-71BA4E8E31C5}" destId="{3D589C47-727D-4563-9A21-B5C22F0CEC9E}" srcOrd="0" destOrd="0" presId="urn:microsoft.com/office/officeart/2005/8/layout/vList2"/>
    <dgm:cxn modelId="{635DAB83-80FB-4DBC-8D8D-640788BCECA8}" srcId="{3ED66F15-60F8-4899-BACF-5973A81AB38C}" destId="{14E286CE-92D9-4F81-B886-F15DCE6DFF30}" srcOrd="6" destOrd="0" parTransId="{376782B7-AA97-4DD0-AEF4-EFA5F66540A7}" sibTransId="{E3B508D1-F44C-4CEB-BE30-F91F0A268759}"/>
    <dgm:cxn modelId="{84B7D28E-6D20-431C-AFA2-00A45B68F643}" type="presOf" srcId="{4FE68B0D-AE7B-44D7-996F-B87500A99EA9}" destId="{172994F9-14EF-4FB1-A345-E4B16C82B4AE}" srcOrd="0" destOrd="0" presId="urn:microsoft.com/office/officeart/2005/8/layout/vList2"/>
    <dgm:cxn modelId="{50F2249A-19F6-4769-A356-302587DE39CF}" type="presOf" srcId="{C8992A4F-2FA8-455E-B307-3E96FCB2C87C}" destId="{E350936B-DEB6-4AC5-BF5B-9D36F6B10F12}" srcOrd="0" destOrd="0" presId="urn:microsoft.com/office/officeart/2005/8/layout/vList2"/>
    <dgm:cxn modelId="{E8B74FAA-E2D2-44E5-B3F5-6EBCEE76A160}" type="presOf" srcId="{F318ED3B-1747-481F-A0CA-18D0FE8D05E2}" destId="{086C8160-7A99-4F6A-9DE7-A4507E7320AE}" srcOrd="0" destOrd="0" presId="urn:microsoft.com/office/officeart/2005/8/layout/vList2"/>
    <dgm:cxn modelId="{7FCA10C1-AFC0-4BC7-8C04-6C4D82A65567}" srcId="{3ED66F15-60F8-4899-BACF-5973A81AB38C}" destId="{F318ED3B-1747-481F-A0CA-18D0FE8D05E2}" srcOrd="0" destOrd="0" parTransId="{E1F20BDF-A2FD-43AC-BE09-580E5107DDAC}" sibTransId="{BED72808-00AC-4A95-900E-505BB8E51F11}"/>
    <dgm:cxn modelId="{28ED7ECC-76A7-4D20-A8F2-A71FA91D4CFE}" srcId="{3ED66F15-60F8-4899-BACF-5973A81AB38C}" destId="{4BBCB0B7-9B74-423E-AF3E-71BA4E8E31C5}" srcOrd="3" destOrd="0" parTransId="{1D922096-1831-4FE1-A429-57F31FF61B91}" sibTransId="{3717C1BE-D5FD-4A8C-AB2A-AD9FEA6F3907}"/>
    <dgm:cxn modelId="{38F777ED-8307-4414-8AC1-4C45339B1958}" srcId="{3ED66F15-60F8-4899-BACF-5973A81AB38C}" destId="{C8992A4F-2FA8-455E-B307-3E96FCB2C87C}" srcOrd="4" destOrd="0" parTransId="{1AC00A21-E953-4A2F-974D-8EEA4A0CF360}" sibTransId="{596A7FA2-F6CE-4758-9204-711F27B2F505}"/>
    <dgm:cxn modelId="{7FAE199B-6283-4085-9D21-7759A8C1A41E}" type="presParOf" srcId="{A416B105-C25F-4D20-B63C-2224B1256776}" destId="{086C8160-7A99-4F6A-9DE7-A4507E7320AE}" srcOrd="0" destOrd="0" presId="urn:microsoft.com/office/officeart/2005/8/layout/vList2"/>
    <dgm:cxn modelId="{D2BEF592-D635-49A4-AA89-F03906EDBE17}" type="presParOf" srcId="{A416B105-C25F-4D20-B63C-2224B1256776}" destId="{9D75D8C7-1D32-43B6-BC44-F306646F14F9}" srcOrd="1" destOrd="0" presId="urn:microsoft.com/office/officeart/2005/8/layout/vList2"/>
    <dgm:cxn modelId="{9B2555D7-1316-4525-BD35-C1368BD3D029}" type="presParOf" srcId="{A416B105-C25F-4D20-B63C-2224B1256776}" destId="{0819C2D7-F26C-4519-9623-A44798678D6C}" srcOrd="2" destOrd="0" presId="urn:microsoft.com/office/officeart/2005/8/layout/vList2"/>
    <dgm:cxn modelId="{545F7705-0458-46D3-BBFF-1B47E950FF78}" type="presParOf" srcId="{A416B105-C25F-4D20-B63C-2224B1256776}" destId="{6E8BD6E4-21CB-47A4-AA84-59BE60C5FF81}" srcOrd="3" destOrd="0" presId="urn:microsoft.com/office/officeart/2005/8/layout/vList2"/>
    <dgm:cxn modelId="{6FBC6C9B-3285-48A9-A57E-FC21B4B3A649}" type="presParOf" srcId="{A416B105-C25F-4D20-B63C-2224B1256776}" destId="{172994F9-14EF-4FB1-A345-E4B16C82B4AE}" srcOrd="4" destOrd="0" presId="urn:microsoft.com/office/officeart/2005/8/layout/vList2"/>
    <dgm:cxn modelId="{DC36158E-1F30-4284-B372-FA52CE828F29}" type="presParOf" srcId="{A416B105-C25F-4D20-B63C-2224B1256776}" destId="{F329FF19-6BBD-4BDF-A5DC-7628D4CF61FD}" srcOrd="5" destOrd="0" presId="urn:microsoft.com/office/officeart/2005/8/layout/vList2"/>
    <dgm:cxn modelId="{0D499473-5795-4F42-BB66-9401C85A5847}" type="presParOf" srcId="{A416B105-C25F-4D20-B63C-2224B1256776}" destId="{3D589C47-727D-4563-9A21-B5C22F0CEC9E}" srcOrd="6" destOrd="0" presId="urn:microsoft.com/office/officeart/2005/8/layout/vList2"/>
    <dgm:cxn modelId="{678E295F-D23C-4402-8A4F-62BAE89F49B2}" type="presParOf" srcId="{A416B105-C25F-4D20-B63C-2224B1256776}" destId="{63699653-B660-43E6-98C3-690A46540713}" srcOrd="7" destOrd="0" presId="urn:microsoft.com/office/officeart/2005/8/layout/vList2"/>
    <dgm:cxn modelId="{05D13D36-C13A-4CDB-8B09-EBE3649C6D98}" type="presParOf" srcId="{A416B105-C25F-4D20-B63C-2224B1256776}" destId="{E350936B-DEB6-4AC5-BF5B-9D36F6B10F12}" srcOrd="8" destOrd="0" presId="urn:microsoft.com/office/officeart/2005/8/layout/vList2"/>
    <dgm:cxn modelId="{9E8FC89D-086E-4DA0-A5B6-B073ADC59642}" type="presParOf" srcId="{A416B105-C25F-4D20-B63C-2224B1256776}" destId="{7B1ADD72-EA54-4869-AC90-4D549984ACEB}" srcOrd="9" destOrd="0" presId="urn:microsoft.com/office/officeart/2005/8/layout/vList2"/>
    <dgm:cxn modelId="{D6F502F0-F2B4-46F1-9975-672BCC23961C}" type="presParOf" srcId="{A416B105-C25F-4D20-B63C-2224B1256776}" destId="{C78451DF-C345-458A-8102-90FE782C0C8D}" srcOrd="10" destOrd="0" presId="urn:microsoft.com/office/officeart/2005/8/layout/vList2"/>
    <dgm:cxn modelId="{1A94D2A6-EFC9-4B62-994B-7900A9B56E23}" type="presParOf" srcId="{A416B105-C25F-4D20-B63C-2224B1256776}" destId="{32FD69CA-C8A4-4005-BD9E-B560F2BDF00E}" srcOrd="11" destOrd="0" presId="urn:microsoft.com/office/officeart/2005/8/layout/vList2"/>
    <dgm:cxn modelId="{D5BA7925-9268-4073-BADD-D11449B92488}" type="presParOf" srcId="{A416B105-C25F-4D20-B63C-2224B1256776}" destId="{E9D5A228-C214-4BA9-B4C8-710A02167EDD}" srcOrd="12" destOrd="0" presId="urn:microsoft.com/office/officeart/2005/8/layout/vList2"/>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B4725FE-AD9D-44A9-A306-531BB16F942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nl-NL"/>
        </a:p>
      </dgm:t>
    </dgm:pt>
    <dgm:pt modelId="{21558EE9-1422-4DFD-837C-CA620FD159CF}">
      <dgm:prSet custT="1"/>
      <dgm:spPr>
        <a:solidFill>
          <a:srgbClr val="1EACDD"/>
        </a:solidFill>
      </dgm:spPr>
      <dgm:t>
        <a:bodyPr/>
        <a:lstStyle/>
        <a:p>
          <a:r>
            <a:rPr lang="en-US" sz="2400" dirty="0"/>
            <a:t>API management is the process of creating and publishing web APIs, enforcing their usage policies, controlling access and Security, nurturing the subscriber community, collecting and analyzing usage statistics, and reporting on perform</a:t>
          </a:r>
          <a:r>
            <a:rPr lang="en-US" sz="2400" b="0" dirty="0"/>
            <a:t>an</a:t>
          </a:r>
          <a:r>
            <a:rPr lang="en-US" sz="2400" dirty="0"/>
            <a:t>ce</a:t>
          </a:r>
          <a:endParaRPr lang="nl-NL" sz="2400" dirty="0"/>
        </a:p>
      </dgm:t>
    </dgm:pt>
    <dgm:pt modelId="{DEBF359F-3307-4908-8730-E35AB1A3729C}" type="parTrans" cxnId="{1D79D78B-36F7-4B16-91C7-9243B4D3D03A}">
      <dgm:prSet/>
      <dgm:spPr/>
      <dgm:t>
        <a:bodyPr/>
        <a:lstStyle/>
        <a:p>
          <a:endParaRPr lang="nl-NL"/>
        </a:p>
      </dgm:t>
    </dgm:pt>
    <dgm:pt modelId="{8242A7BF-9FDD-4965-8B3E-47AA7A87D80E}" type="sibTrans" cxnId="{1D79D78B-36F7-4B16-91C7-9243B4D3D03A}">
      <dgm:prSet/>
      <dgm:spPr/>
      <dgm:t>
        <a:bodyPr/>
        <a:lstStyle/>
        <a:p>
          <a:endParaRPr lang="nl-NL"/>
        </a:p>
      </dgm:t>
    </dgm:pt>
    <dgm:pt modelId="{0895F980-3F0E-4E15-AFAC-5A150ACEDEF9}" type="pres">
      <dgm:prSet presAssocID="{FB4725FE-AD9D-44A9-A306-531BB16F9427}" presName="linear" presStyleCnt="0">
        <dgm:presLayoutVars>
          <dgm:animLvl val="lvl"/>
          <dgm:resizeHandles val="exact"/>
        </dgm:presLayoutVars>
      </dgm:prSet>
      <dgm:spPr/>
    </dgm:pt>
    <dgm:pt modelId="{37923B48-B328-4062-A590-61A926988A62}" type="pres">
      <dgm:prSet presAssocID="{21558EE9-1422-4DFD-837C-CA620FD159CF}" presName="parentText" presStyleLbl="node1" presStyleIdx="0" presStyleCnt="1">
        <dgm:presLayoutVars>
          <dgm:chMax val="0"/>
          <dgm:bulletEnabled val="1"/>
        </dgm:presLayoutVars>
      </dgm:prSet>
      <dgm:spPr/>
    </dgm:pt>
  </dgm:ptLst>
  <dgm:cxnLst>
    <dgm:cxn modelId="{083EBC45-4F56-4D78-B3E2-D03C0AF24D4A}" type="presOf" srcId="{FB4725FE-AD9D-44A9-A306-531BB16F9427}" destId="{0895F980-3F0E-4E15-AFAC-5A150ACEDEF9}" srcOrd="0" destOrd="0" presId="urn:microsoft.com/office/officeart/2005/8/layout/vList2"/>
    <dgm:cxn modelId="{1D79D78B-36F7-4B16-91C7-9243B4D3D03A}" srcId="{FB4725FE-AD9D-44A9-A306-531BB16F9427}" destId="{21558EE9-1422-4DFD-837C-CA620FD159CF}" srcOrd="0" destOrd="0" parTransId="{DEBF359F-3307-4908-8730-E35AB1A3729C}" sibTransId="{8242A7BF-9FDD-4965-8B3E-47AA7A87D80E}"/>
    <dgm:cxn modelId="{DBB6C0DF-698A-4200-8204-93864393A893}" type="presOf" srcId="{21558EE9-1422-4DFD-837C-CA620FD159CF}" destId="{37923B48-B328-4062-A590-61A926988A62}" srcOrd="0" destOrd="0" presId="urn:microsoft.com/office/officeart/2005/8/layout/vList2"/>
    <dgm:cxn modelId="{98804EAF-EE73-4191-9ACC-6B65066C004F}" type="presParOf" srcId="{0895F980-3F0E-4E15-AFAC-5A150ACEDEF9}" destId="{37923B48-B328-4062-A590-61A926988A62}"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7B22C87-AF1E-44AA-A874-F394CA045B00}"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nl-NL"/>
        </a:p>
      </dgm:t>
    </dgm:pt>
    <dgm:pt modelId="{F31E4C4C-DDDE-4308-BB72-6E87DC948C39}">
      <dgm:prSet/>
      <dgm:spPr>
        <a:solidFill>
          <a:srgbClr val="1EACDD"/>
        </a:solidFill>
      </dgm:spPr>
      <dgm:t>
        <a:bodyPr/>
        <a:lstStyle/>
        <a:p>
          <a:r>
            <a:rPr lang="nl-NL" dirty="0"/>
            <a:t>APIGEE Edge </a:t>
          </a:r>
        </a:p>
      </dgm:t>
    </dgm:pt>
    <dgm:pt modelId="{C2CAEADF-32BD-42B8-BF3D-FF89A492C32C}" type="parTrans" cxnId="{9BB449D5-6A87-4719-A0FB-8A62BC3341BF}">
      <dgm:prSet/>
      <dgm:spPr/>
      <dgm:t>
        <a:bodyPr/>
        <a:lstStyle/>
        <a:p>
          <a:endParaRPr lang="nl-NL"/>
        </a:p>
      </dgm:t>
    </dgm:pt>
    <dgm:pt modelId="{24C787AE-E06C-43FA-BBC2-525AB12CE7BE}" type="sibTrans" cxnId="{9BB449D5-6A87-4719-A0FB-8A62BC3341BF}">
      <dgm:prSet/>
      <dgm:spPr/>
      <dgm:t>
        <a:bodyPr/>
        <a:lstStyle/>
        <a:p>
          <a:endParaRPr lang="nl-NL"/>
        </a:p>
      </dgm:t>
    </dgm:pt>
    <dgm:pt modelId="{A5C18C32-BE8F-4E1B-850C-53D7D57E9591}">
      <dgm:prSet/>
      <dgm:spPr>
        <a:solidFill>
          <a:srgbClr val="1EACDD"/>
        </a:solidFill>
      </dgm:spPr>
      <dgm:t>
        <a:bodyPr/>
        <a:lstStyle/>
        <a:p>
          <a:r>
            <a:rPr lang="nl-NL" dirty="0"/>
            <a:t>APIGEE Sense </a:t>
          </a:r>
        </a:p>
      </dgm:t>
    </dgm:pt>
    <dgm:pt modelId="{66CCB172-FC65-44AF-BAE2-0A7A4CB95E57}" type="parTrans" cxnId="{011CCDCF-3E89-4212-B6BE-14FCFE0859BB}">
      <dgm:prSet/>
      <dgm:spPr/>
      <dgm:t>
        <a:bodyPr/>
        <a:lstStyle/>
        <a:p>
          <a:endParaRPr lang="nl-NL"/>
        </a:p>
      </dgm:t>
    </dgm:pt>
    <dgm:pt modelId="{5BC63215-70DF-477E-943A-07469A263A35}" type="sibTrans" cxnId="{011CCDCF-3E89-4212-B6BE-14FCFE0859BB}">
      <dgm:prSet/>
      <dgm:spPr/>
      <dgm:t>
        <a:bodyPr/>
        <a:lstStyle/>
        <a:p>
          <a:endParaRPr lang="nl-NL"/>
        </a:p>
      </dgm:t>
    </dgm:pt>
    <dgm:pt modelId="{B4FC4E6B-6CD5-4E59-AB0E-F956DBA6115F}">
      <dgm:prSet/>
      <dgm:spPr>
        <a:solidFill>
          <a:srgbClr val="1EACDD"/>
        </a:solidFill>
      </dgm:spPr>
      <dgm:t>
        <a:bodyPr/>
        <a:lstStyle/>
        <a:p>
          <a:r>
            <a:rPr lang="nl-NL" dirty="0"/>
            <a:t>APIGEE Monitization </a:t>
          </a:r>
        </a:p>
      </dgm:t>
    </dgm:pt>
    <dgm:pt modelId="{19D1A3E8-8DFC-4B55-8FD0-4C84C9440D31}" type="parTrans" cxnId="{85EEF10B-D21B-45E3-B31D-E0DBFEF4EDBF}">
      <dgm:prSet/>
      <dgm:spPr/>
      <dgm:t>
        <a:bodyPr/>
        <a:lstStyle/>
        <a:p>
          <a:endParaRPr lang="nl-NL"/>
        </a:p>
      </dgm:t>
    </dgm:pt>
    <dgm:pt modelId="{657F853F-EF35-4975-B72E-313881C6CAFD}" type="sibTrans" cxnId="{85EEF10B-D21B-45E3-B31D-E0DBFEF4EDBF}">
      <dgm:prSet/>
      <dgm:spPr/>
      <dgm:t>
        <a:bodyPr/>
        <a:lstStyle/>
        <a:p>
          <a:endParaRPr lang="nl-NL"/>
        </a:p>
      </dgm:t>
    </dgm:pt>
    <dgm:pt modelId="{4FBD35DF-C02D-4383-A1D3-5E0B0B828441}" type="pres">
      <dgm:prSet presAssocID="{27B22C87-AF1E-44AA-A874-F394CA045B00}" presName="CompostProcess" presStyleCnt="0">
        <dgm:presLayoutVars>
          <dgm:dir/>
          <dgm:resizeHandles val="exact"/>
        </dgm:presLayoutVars>
      </dgm:prSet>
      <dgm:spPr/>
    </dgm:pt>
    <dgm:pt modelId="{271E81FF-9497-4076-90DD-A96FF91ADEE8}" type="pres">
      <dgm:prSet presAssocID="{27B22C87-AF1E-44AA-A874-F394CA045B00}" presName="arrow" presStyleLbl="bgShp" presStyleIdx="0" presStyleCnt="1"/>
      <dgm:spPr/>
    </dgm:pt>
    <dgm:pt modelId="{41852975-CEE2-476B-B604-D0F6DA023866}" type="pres">
      <dgm:prSet presAssocID="{27B22C87-AF1E-44AA-A874-F394CA045B00}" presName="linearProcess" presStyleCnt="0"/>
      <dgm:spPr/>
    </dgm:pt>
    <dgm:pt modelId="{DFA6D721-DC5B-444D-AB83-79757855FBF6}" type="pres">
      <dgm:prSet presAssocID="{F31E4C4C-DDDE-4308-BB72-6E87DC948C39}" presName="textNode" presStyleLbl="node1" presStyleIdx="0" presStyleCnt="3">
        <dgm:presLayoutVars>
          <dgm:bulletEnabled val="1"/>
        </dgm:presLayoutVars>
      </dgm:prSet>
      <dgm:spPr/>
    </dgm:pt>
    <dgm:pt modelId="{052CA555-5F60-4E14-A10D-42D2E5D7CAD2}" type="pres">
      <dgm:prSet presAssocID="{24C787AE-E06C-43FA-BBC2-525AB12CE7BE}" presName="sibTrans" presStyleCnt="0"/>
      <dgm:spPr/>
    </dgm:pt>
    <dgm:pt modelId="{9A80F47D-6280-4EC5-A6AF-2A9DFA11DD26}" type="pres">
      <dgm:prSet presAssocID="{A5C18C32-BE8F-4E1B-850C-53D7D57E9591}" presName="textNode" presStyleLbl="node1" presStyleIdx="1" presStyleCnt="3">
        <dgm:presLayoutVars>
          <dgm:bulletEnabled val="1"/>
        </dgm:presLayoutVars>
      </dgm:prSet>
      <dgm:spPr/>
    </dgm:pt>
    <dgm:pt modelId="{64B3071F-7051-4DEA-AF3C-08333C304362}" type="pres">
      <dgm:prSet presAssocID="{5BC63215-70DF-477E-943A-07469A263A35}" presName="sibTrans" presStyleCnt="0"/>
      <dgm:spPr/>
    </dgm:pt>
    <dgm:pt modelId="{BA7E27A8-3157-411A-A908-0FDDF6E1A011}" type="pres">
      <dgm:prSet presAssocID="{B4FC4E6B-6CD5-4E59-AB0E-F956DBA6115F}" presName="textNode" presStyleLbl="node1" presStyleIdx="2" presStyleCnt="3">
        <dgm:presLayoutVars>
          <dgm:bulletEnabled val="1"/>
        </dgm:presLayoutVars>
      </dgm:prSet>
      <dgm:spPr/>
    </dgm:pt>
  </dgm:ptLst>
  <dgm:cxnLst>
    <dgm:cxn modelId="{FB2F4502-B7D2-4C99-ACDA-1680E0512870}" type="presOf" srcId="{B4FC4E6B-6CD5-4E59-AB0E-F956DBA6115F}" destId="{BA7E27A8-3157-411A-A908-0FDDF6E1A011}" srcOrd="0" destOrd="0" presId="urn:microsoft.com/office/officeart/2005/8/layout/hProcess9"/>
    <dgm:cxn modelId="{85EEF10B-D21B-45E3-B31D-E0DBFEF4EDBF}" srcId="{27B22C87-AF1E-44AA-A874-F394CA045B00}" destId="{B4FC4E6B-6CD5-4E59-AB0E-F956DBA6115F}" srcOrd="2" destOrd="0" parTransId="{19D1A3E8-8DFC-4B55-8FD0-4C84C9440D31}" sibTransId="{657F853F-EF35-4975-B72E-313881C6CAFD}"/>
    <dgm:cxn modelId="{946DC61E-8945-4E0B-8822-A98986B16544}" type="presOf" srcId="{F31E4C4C-DDDE-4308-BB72-6E87DC948C39}" destId="{DFA6D721-DC5B-444D-AB83-79757855FBF6}" srcOrd="0" destOrd="0" presId="urn:microsoft.com/office/officeart/2005/8/layout/hProcess9"/>
    <dgm:cxn modelId="{385EA926-E864-4A80-8ADD-D14E3010551E}" type="presOf" srcId="{27B22C87-AF1E-44AA-A874-F394CA045B00}" destId="{4FBD35DF-C02D-4383-A1D3-5E0B0B828441}" srcOrd="0" destOrd="0" presId="urn:microsoft.com/office/officeart/2005/8/layout/hProcess9"/>
    <dgm:cxn modelId="{011CCDCF-3E89-4212-B6BE-14FCFE0859BB}" srcId="{27B22C87-AF1E-44AA-A874-F394CA045B00}" destId="{A5C18C32-BE8F-4E1B-850C-53D7D57E9591}" srcOrd="1" destOrd="0" parTransId="{66CCB172-FC65-44AF-BAE2-0A7A4CB95E57}" sibTransId="{5BC63215-70DF-477E-943A-07469A263A35}"/>
    <dgm:cxn modelId="{9BB449D5-6A87-4719-A0FB-8A62BC3341BF}" srcId="{27B22C87-AF1E-44AA-A874-F394CA045B00}" destId="{F31E4C4C-DDDE-4308-BB72-6E87DC948C39}" srcOrd="0" destOrd="0" parTransId="{C2CAEADF-32BD-42B8-BF3D-FF89A492C32C}" sibTransId="{24C787AE-E06C-43FA-BBC2-525AB12CE7BE}"/>
    <dgm:cxn modelId="{098F28E1-B486-468A-989F-F7B3F0B19A5E}" type="presOf" srcId="{A5C18C32-BE8F-4E1B-850C-53D7D57E9591}" destId="{9A80F47D-6280-4EC5-A6AF-2A9DFA11DD26}" srcOrd="0" destOrd="0" presId="urn:microsoft.com/office/officeart/2005/8/layout/hProcess9"/>
    <dgm:cxn modelId="{BA992678-7FD3-4E73-B9FE-E651CE67F0C1}" type="presParOf" srcId="{4FBD35DF-C02D-4383-A1D3-5E0B0B828441}" destId="{271E81FF-9497-4076-90DD-A96FF91ADEE8}" srcOrd="0" destOrd="0" presId="urn:microsoft.com/office/officeart/2005/8/layout/hProcess9"/>
    <dgm:cxn modelId="{FF3F5EBE-1CA9-40DA-A885-7ECAC2C63FF3}" type="presParOf" srcId="{4FBD35DF-C02D-4383-A1D3-5E0B0B828441}" destId="{41852975-CEE2-476B-B604-D0F6DA023866}" srcOrd="1" destOrd="0" presId="urn:microsoft.com/office/officeart/2005/8/layout/hProcess9"/>
    <dgm:cxn modelId="{3ED43A1A-0DB3-4653-BC28-02A155EDB317}" type="presParOf" srcId="{41852975-CEE2-476B-B604-D0F6DA023866}" destId="{DFA6D721-DC5B-444D-AB83-79757855FBF6}" srcOrd="0" destOrd="0" presId="urn:microsoft.com/office/officeart/2005/8/layout/hProcess9"/>
    <dgm:cxn modelId="{EF956C5E-6DEA-4463-973B-FEFD69FECDCE}" type="presParOf" srcId="{41852975-CEE2-476B-B604-D0F6DA023866}" destId="{052CA555-5F60-4E14-A10D-42D2E5D7CAD2}" srcOrd="1" destOrd="0" presId="urn:microsoft.com/office/officeart/2005/8/layout/hProcess9"/>
    <dgm:cxn modelId="{A9C87ECA-EEBE-478C-93F2-4617AAE61382}" type="presParOf" srcId="{41852975-CEE2-476B-B604-D0F6DA023866}" destId="{9A80F47D-6280-4EC5-A6AF-2A9DFA11DD26}" srcOrd="2" destOrd="0" presId="urn:microsoft.com/office/officeart/2005/8/layout/hProcess9"/>
    <dgm:cxn modelId="{C1A1FC6B-C53D-489F-A26B-394C7DBF3202}" type="presParOf" srcId="{41852975-CEE2-476B-B604-D0F6DA023866}" destId="{64B3071F-7051-4DEA-AF3C-08333C304362}" srcOrd="3" destOrd="0" presId="urn:microsoft.com/office/officeart/2005/8/layout/hProcess9"/>
    <dgm:cxn modelId="{6B633507-72FD-4092-AD7D-49E21E80906D}" type="presParOf" srcId="{41852975-CEE2-476B-B604-D0F6DA023866}" destId="{BA7E27A8-3157-411A-A908-0FDDF6E1A011}"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38354DF-C15B-5C40-B7C8-4E33CFC20EF2}" type="doc">
      <dgm:prSet loTypeId="urn:microsoft.com/office/officeart/2005/8/layout/cycle3" loCatId="" qsTypeId="urn:microsoft.com/office/officeart/2005/8/quickstyle/simple1" qsCatId="simple" csTypeId="urn:microsoft.com/office/officeart/2005/8/colors/accent2_5" csCatId="accent2" phldr="1"/>
      <dgm:spPr/>
      <dgm:t>
        <a:bodyPr/>
        <a:lstStyle/>
        <a:p>
          <a:endParaRPr lang="en-US"/>
        </a:p>
      </dgm:t>
    </dgm:pt>
    <dgm:pt modelId="{D54A0FA1-65D5-384B-A6FF-07E5EFA8241C}">
      <dgm:prSet phldrT="[Text]" custT="1"/>
      <dgm:spPr>
        <a:xfrm>
          <a:off x="1344297" y="554410"/>
          <a:ext cx="1240828" cy="620414"/>
        </a:xfrm>
        <a:solidFill>
          <a:srgbClr val="C0504D">
            <a:alpha val="90000"/>
            <a:hueOff val="0"/>
            <a:satOff val="0"/>
            <a:lumOff val="0"/>
            <a:alphaOff val="-40000"/>
          </a:srgbClr>
        </a:solidFill>
        <a:ln w="25400" cap="flat" cmpd="sng" algn="ctr">
          <a:solidFill>
            <a:sysClr val="window" lastClr="FFFFFF">
              <a:hueOff val="0"/>
              <a:satOff val="0"/>
              <a:lumOff val="0"/>
              <a:alphaOff val="0"/>
            </a:sysClr>
          </a:solidFill>
          <a:prstDash val="solid"/>
        </a:ln>
        <a:effectLst/>
      </dgm:spPr>
      <dgm:t>
        <a:bodyPr/>
        <a:lstStyle/>
        <a:p>
          <a:r>
            <a:rPr lang="nl-NL" sz="1800" b="1" dirty="0">
              <a:latin typeface="Calibri" panose="020F0502020204030204" pitchFamily="34" charset="0"/>
              <a:cs typeface="Calibri" panose="020F0502020204030204" pitchFamily="34" charset="0"/>
            </a:rPr>
            <a:t>Monitze</a:t>
          </a:r>
          <a:r>
            <a:rPr lang="nl-NL" sz="2200" dirty="0"/>
            <a:t> </a:t>
          </a:r>
          <a:r>
            <a:rPr lang="en-US" sz="2200" dirty="0">
              <a:solidFill>
                <a:sysClr val="window" lastClr="FFFFFF"/>
              </a:solidFill>
              <a:latin typeface="Calibri"/>
              <a:ea typeface="+mn-ea"/>
              <a:cs typeface="+mn-cs"/>
            </a:rPr>
            <a:t> </a:t>
          </a:r>
        </a:p>
      </dgm:t>
    </dgm:pt>
    <dgm:pt modelId="{EB0EE6E3-A157-D543-A22F-6C770369918C}" type="parTrans" cxnId="{76E04BF0-6D68-9542-9DB6-28477AA674A1}">
      <dgm:prSet/>
      <dgm:spPr/>
      <dgm:t>
        <a:bodyPr/>
        <a:lstStyle/>
        <a:p>
          <a:endParaRPr lang="en-US">
            <a:solidFill>
              <a:schemeClr val="accent3">
                <a:lumMod val="50000"/>
              </a:schemeClr>
            </a:solidFill>
          </a:endParaRPr>
        </a:p>
      </dgm:t>
    </dgm:pt>
    <dgm:pt modelId="{9F8AD68C-67A5-654B-A165-A74B0D4E2D12}" type="sibTrans" cxnId="{76E04BF0-6D68-9542-9DB6-28477AA674A1}">
      <dgm:prSet/>
      <dgm:spPr/>
      <dgm:t>
        <a:bodyPr/>
        <a:lstStyle/>
        <a:p>
          <a:endParaRPr lang="en-US">
            <a:solidFill>
              <a:schemeClr val="accent3">
                <a:lumMod val="50000"/>
              </a:schemeClr>
            </a:solidFill>
          </a:endParaRPr>
        </a:p>
      </dgm:t>
    </dgm:pt>
    <dgm:pt modelId="{328F70DC-7133-8E4B-A601-091EA7AC6A00}">
      <dgm:prSet phldrT="[Text]"/>
      <dgm:spPr>
        <a:xfrm>
          <a:off x="791086" y="1889980"/>
          <a:ext cx="1240828" cy="620414"/>
        </a:xfrm>
        <a:solidFill>
          <a:srgbClr val="C0504D">
            <a:alpha val="90000"/>
            <a:hueOff val="0"/>
            <a:satOff val="0"/>
            <a:lumOff val="0"/>
            <a:alphaOff val="-34286"/>
          </a:srgbClr>
        </a:solidFill>
        <a:ln w="25400" cap="flat" cmpd="sng" algn="ctr">
          <a:solidFill>
            <a:sysClr val="window" lastClr="FFFFFF">
              <a:hueOff val="0"/>
              <a:satOff val="0"/>
              <a:lumOff val="0"/>
              <a:alphaOff val="0"/>
            </a:sysClr>
          </a:solidFill>
          <a:prstDash val="solid"/>
        </a:ln>
        <a:effectLst/>
      </dgm:spPr>
      <dgm:t>
        <a:bodyPr/>
        <a:lstStyle/>
        <a:p>
          <a:r>
            <a:rPr lang="en-US" dirty="0">
              <a:solidFill>
                <a:sysClr val="window" lastClr="FFFFFF"/>
              </a:solidFill>
              <a:latin typeface="Calibri"/>
              <a:ea typeface="+mn-ea"/>
              <a:cs typeface="+mn-cs"/>
            </a:rPr>
            <a:t>Analyze </a:t>
          </a:r>
        </a:p>
      </dgm:t>
    </dgm:pt>
    <dgm:pt modelId="{7CDB7A79-5D68-1E42-9974-6494F7257BB7}" type="sibTrans" cxnId="{E228221A-F306-CA4E-975B-041B0E50F0FE}">
      <dgm:prSet/>
      <dgm:spPr/>
      <dgm:t>
        <a:bodyPr/>
        <a:lstStyle/>
        <a:p>
          <a:endParaRPr lang="en-US">
            <a:solidFill>
              <a:schemeClr val="accent3">
                <a:lumMod val="50000"/>
              </a:schemeClr>
            </a:solidFill>
          </a:endParaRPr>
        </a:p>
      </dgm:t>
    </dgm:pt>
    <dgm:pt modelId="{148FEE05-07DE-3647-8D6A-0C628E52CDA5}" type="parTrans" cxnId="{E228221A-F306-CA4E-975B-041B0E50F0FE}">
      <dgm:prSet/>
      <dgm:spPr/>
      <dgm:t>
        <a:bodyPr/>
        <a:lstStyle/>
        <a:p>
          <a:endParaRPr lang="en-US">
            <a:solidFill>
              <a:schemeClr val="accent3">
                <a:lumMod val="50000"/>
              </a:schemeClr>
            </a:solidFill>
          </a:endParaRPr>
        </a:p>
      </dgm:t>
    </dgm:pt>
    <dgm:pt modelId="{5316FC3C-1E07-1247-A16E-408C495CBB84}">
      <dgm:prSet phldrT="[Text]"/>
      <dgm:spPr>
        <a:xfrm>
          <a:off x="1344297" y="3225549"/>
          <a:ext cx="1240828" cy="620414"/>
        </a:xfrm>
        <a:solidFill>
          <a:srgbClr val="C0504D">
            <a:alpha val="90000"/>
            <a:hueOff val="0"/>
            <a:satOff val="0"/>
            <a:lumOff val="0"/>
            <a:alphaOff val="-28571"/>
          </a:srgbClr>
        </a:solidFill>
        <a:ln w="25400" cap="flat" cmpd="sng" algn="ctr">
          <a:solidFill>
            <a:sysClr val="window" lastClr="FFFFFF">
              <a:hueOff val="0"/>
              <a:satOff val="0"/>
              <a:lumOff val="0"/>
              <a:alphaOff val="0"/>
            </a:sysClr>
          </a:solidFill>
          <a:prstDash val="solid"/>
        </a:ln>
        <a:effectLst/>
      </dgm:spPr>
      <dgm:t>
        <a:bodyPr/>
        <a:lstStyle/>
        <a:p>
          <a:r>
            <a:rPr lang="en-US" dirty="0">
              <a:solidFill>
                <a:sysClr val="window" lastClr="FFFFFF"/>
              </a:solidFill>
              <a:latin typeface="Calibri"/>
              <a:ea typeface="+mn-ea"/>
              <a:cs typeface="+mn-cs"/>
            </a:rPr>
            <a:t>Monitor</a:t>
          </a:r>
        </a:p>
      </dgm:t>
    </dgm:pt>
    <dgm:pt modelId="{C70C690B-DDBA-EB44-9BD9-72656AF0B04D}" type="sibTrans" cxnId="{50CC0683-3568-C44D-9BE8-64998325D1F2}">
      <dgm:prSet/>
      <dgm:spPr/>
      <dgm:t>
        <a:bodyPr/>
        <a:lstStyle/>
        <a:p>
          <a:endParaRPr lang="en-US">
            <a:solidFill>
              <a:schemeClr val="accent3">
                <a:lumMod val="50000"/>
              </a:schemeClr>
            </a:solidFill>
          </a:endParaRPr>
        </a:p>
      </dgm:t>
    </dgm:pt>
    <dgm:pt modelId="{2FF77D45-7A0D-A944-9D46-0C64F60188E5}" type="parTrans" cxnId="{50CC0683-3568-C44D-9BE8-64998325D1F2}">
      <dgm:prSet/>
      <dgm:spPr/>
      <dgm:t>
        <a:bodyPr/>
        <a:lstStyle/>
        <a:p>
          <a:endParaRPr lang="en-US">
            <a:solidFill>
              <a:schemeClr val="accent3">
                <a:lumMod val="50000"/>
              </a:schemeClr>
            </a:solidFill>
          </a:endParaRPr>
        </a:p>
      </dgm:t>
    </dgm:pt>
    <dgm:pt modelId="{843BFC7C-4194-0546-92C6-A76950BB3EEB}">
      <dgm:prSet phldrT="[Text]"/>
      <dgm:spPr>
        <a:xfrm>
          <a:off x="2679867" y="3778760"/>
          <a:ext cx="1240828" cy="620414"/>
        </a:xfrm>
        <a:solidFill>
          <a:srgbClr val="C0504D">
            <a:alpha val="90000"/>
            <a:hueOff val="0"/>
            <a:satOff val="0"/>
            <a:lumOff val="0"/>
            <a:alphaOff val="-22857"/>
          </a:srgbClr>
        </a:solidFill>
        <a:ln w="25400" cap="flat" cmpd="sng" algn="ctr">
          <a:solidFill>
            <a:sysClr val="window" lastClr="FFFFFF">
              <a:hueOff val="0"/>
              <a:satOff val="0"/>
              <a:lumOff val="0"/>
              <a:alphaOff val="0"/>
            </a:sysClr>
          </a:solidFill>
          <a:prstDash val="solid"/>
        </a:ln>
        <a:effectLst/>
      </dgm:spPr>
      <dgm:t>
        <a:bodyPr/>
        <a:lstStyle/>
        <a:p>
          <a:r>
            <a:rPr lang="en-US" dirty="0">
              <a:solidFill>
                <a:sysClr val="window" lastClr="FFFFFF"/>
              </a:solidFill>
              <a:latin typeface="Calibri"/>
              <a:ea typeface="+mn-ea"/>
              <a:cs typeface="+mn-cs"/>
            </a:rPr>
            <a:t>Scale</a:t>
          </a:r>
        </a:p>
      </dgm:t>
    </dgm:pt>
    <dgm:pt modelId="{B1B6112F-26BE-C64E-AC0A-39CF834CF401}" type="sibTrans" cxnId="{CB487EF3-498F-674A-BB67-EB793F09DE99}">
      <dgm:prSet/>
      <dgm:spPr/>
      <dgm:t>
        <a:bodyPr/>
        <a:lstStyle/>
        <a:p>
          <a:endParaRPr lang="en-US">
            <a:solidFill>
              <a:schemeClr val="accent3">
                <a:lumMod val="50000"/>
              </a:schemeClr>
            </a:solidFill>
          </a:endParaRPr>
        </a:p>
      </dgm:t>
    </dgm:pt>
    <dgm:pt modelId="{07E0505B-DFC5-A44F-9094-A335B2FFD920}" type="parTrans" cxnId="{CB487EF3-498F-674A-BB67-EB793F09DE99}">
      <dgm:prSet/>
      <dgm:spPr/>
      <dgm:t>
        <a:bodyPr/>
        <a:lstStyle/>
        <a:p>
          <a:endParaRPr lang="en-US">
            <a:solidFill>
              <a:schemeClr val="accent3">
                <a:lumMod val="50000"/>
              </a:schemeClr>
            </a:solidFill>
          </a:endParaRPr>
        </a:p>
      </dgm:t>
    </dgm:pt>
    <dgm:pt modelId="{D34FDC6F-C96F-6641-A78A-BC0930329724}">
      <dgm:prSet phldrT="[Text]"/>
      <dgm:spPr>
        <a:xfrm>
          <a:off x="4015436" y="3225549"/>
          <a:ext cx="1240828" cy="620414"/>
        </a:xfrm>
        <a:solidFill>
          <a:srgbClr val="C0504D">
            <a:alpha val="90000"/>
            <a:hueOff val="0"/>
            <a:satOff val="0"/>
            <a:lumOff val="0"/>
            <a:alphaOff val="-17143"/>
          </a:srgbClr>
        </a:solidFill>
        <a:ln w="25400" cap="flat" cmpd="sng" algn="ctr">
          <a:solidFill>
            <a:sysClr val="window" lastClr="FFFFFF">
              <a:hueOff val="0"/>
              <a:satOff val="0"/>
              <a:lumOff val="0"/>
              <a:alphaOff val="0"/>
            </a:sysClr>
          </a:solidFill>
          <a:prstDash val="solid"/>
        </a:ln>
        <a:effectLst/>
      </dgm:spPr>
      <dgm:t>
        <a:bodyPr/>
        <a:lstStyle/>
        <a:p>
          <a:r>
            <a:rPr lang="en-US" dirty="0">
              <a:solidFill>
                <a:sysClr val="window" lastClr="FFFFFF"/>
              </a:solidFill>
              <a:latin typeface="Calibri"/>
              <a:ea typeface="+mn-ea"/>
              <a:cs typeface="+mn-cs"/>
            </a:rPr>
            <a:t>Publish</a:t>
          </a:r>
        </a:p>
      </dgm:t>
    </dgm:pt>
    <dgm:pt modelId="{1833998B-2D37-1F45-A76B-9A87231D3C5C}" type="sibTrans" cxnId="{483F47D1-9DD5-684D-A29D-2DAE97D28516}">
      <dgm:prSet/>
      <dgm:spPr/>
      <dgm:t>
        <a:bodyPr/>
        <a:lstStyle/>
        <a:p>
          <a:endParaRPr lang="en-US">
            <a:solidFill>
              <a:schemeClr val="accent3">
                <a:lumMod val="50000"/>
              </a:schemeClr>
            </a:solidFill>
          </a:endParaRPr>
        </a:p>
      </dgm:t>
    </dgm:pt>
    <dgm:pt modelId="{4199B7F6-5184-3C43-9E18-E6C91AD1CC45}" type="parTrans" cxnId="{483F47D1-9DD5-684D-A29D-2DAE97D28516}">
      <dgm:prSet/>
      <dgm:spPr/>
      <dgm:t>
        <a:bodyPr/>
        <a:lstStyle/>
        <a:p>
          <a:endParaRPr lang="en-US">
            <a:solidFill>
              <a:schemeClr val="accent3">
                <a:lumMod val="50000"/>
              </a:schemeClr>
            </a:solidFill>
          </a:endParaRPr>
        </a:p>
      </dgm:t>
    </dgm:pt>
    <dgm:pt modelId="{A2D6F8CC-2FDD-114C-A6E7-21984E6289FB}">
      <dgm:prSet phldrT="[Text]"/>
      <dgm:spPr>
        <a:xfrm>
          <a:off x="4568647" y="1889980"/>
          <a:ext cx="1240828" cy="620414"/>
        </a:xfrm>
        <a:solidFill>
          <a:srgbClr val="C0504D">
            <a:alpha val="90000"/>
            <a:hueOff val="0"/>
            <a:satOff val="0"/>
            <a:lumOff val="0"/>
            <a:alphaOff val="-11429"/>
          </a:srgbClr>
        </a:solidFill>
        <a:ln w="25400" cap="flat" cmpd="sng" algn="ctr">
          <a:solidFill>
            <a:sysClr val="window" lastClr="FFFFFF">
              <a:hueOff val="0"/>
              <a:satOff val="0"/>
              <a:lumOff val="0"/>
              <a:alphaOff val="0"/>
            </a:sysClr>
          </a:solidFill>
          <a:prstDash val="solid"/>
        </a:ln>
        <a:effectLst/>
      </dgm:spPr>
      <dgm:t>
        <a:bodyPr/>
        <a:lstStyle/>
        <a:p>
          <a:r>
            <a:rPr lang="en-US" dirty="0">
              <a:solidFill>
                <a:sysClr val="window" lastClr="FFFFFF"/>
              </a:solidFill>
              <a:latin typeface="Calibri"/>
              <a:ea typeface="+mn-ea"/>
              <a:cs typeface="+mn-cs"/>
            </a:rPr>
            <a:t>Security</a:t>
          </a:r>
        </a:p>
      </dgm:t>
    </dgm:pt>
    <dgm:pt modelId="{83EB0027-A39F-9144-842B-D650E1639430}" type="sibTrans" cxnId="{91DB9020-226A-CD4A-9F42-E3CB5CFA7B24}">
      <dgm:prSet/>
      <dgm:spPr/>
      <dgm:t>
        <a:bodyPr/>
        <a:lstStyle/>
        <a:p>
          <a:endParaRPr lang="en-US">
            <a:solidFill>
              <a:schemeClr val="accent3">
                <a:lumMod val="50000"/>
              </a:schemeClr>
            </a:solidFill>
          </a:endParaRPr>
        </a:p>
      </dgm:t>
    </dgm:pt>
    <dgm:pt modelId="{0E8FB0CF-242B-734C-A1FE-EB50698659B5}" type="parTrans" cxnId="{91DB9020-226A-CD4A-9F42-E3CB5CFA7B24}">
      <dgm:prSet/>
      <dgm:spPr/>
      <dgm:t>
        <a:bodyPr/>
        <a:lstStyle/>
        <a:p>
          <a:endParaRPr lang="en-US">
            <a:solidFill>
              <a:schemeClr val="accent3">
                <a:lumMod val="50000"/>
              </a:schemeClr>
            </a:solidFill>
          </a:endParaRPr>
        </a:p>
      </dgm:t>
    </dgm:pt>
    <dgm:pt modelId="{11DD059D-1EC8-094A-89F3-28EE9CF7E604}">
      <dgm:prSet phldrT="[Text]"/>
      <dgm:spPr>
        <a:xfrm>
          <a:off x="4015436" y="554410"/>
          <a:ext cx="1240828" cy="620414"/>
        </a:xfrm>
        <a:solidFill>
          <a:srgbClr val="C0504D">
            <a:alpha val="90000"/>
            <a:hueOff val="0"/>
            <a:satOff val="0"/>
            <a:lumOff val="0"/>
            <a:alphaOff val="-5714"/>
          </a:srgbClr>
        </a:solidFill>
        <a:ln w="25400" cap="flat" cmpd="sng" algn="ctr">
          <a:solidFill>
            <a:sysClr val="window" lastClr="FFFFFF">
              <a:hueOff val="0"/>
              <a:satOff val="0"/>
              <a:lumOff val="0"/>
              <a:alphaOff val="0"/>
            </a:sysClr>
          </a:solidFill>
          <a:prstDash val="solid"/>
        </a:ln>
        <a:effectLst/>
      </dgm:spPr>
      <dgm:t>
        <a:bodyPr/>
        <a:lstStyle/>
        <a:p>
          <a:r>
            <a:rPr lang="en-US" dirty="0">
              <a:solidFill>
                <a:sysClr val="window" lastClr="FFFFFF"/>
              </a:solidFill>
              <a:latin typeface="Calibri"/>
              <a:ea typeface="+mn-ea"/>
              <a:cs typeface="+mn-cs"/>
            </a:rPr>
            <a:t>Develop</a:t>
          </a:r>
        </a:p>
      </dgm:t>
    </dgm:pt>
    <dgm:pt modelId="{FB79A359-67D7-4B40-AF4A-E9A77E251134}" type="sibTrans" cxnId="{021A8622-C58E-F745-AFAF-EE1973E664C8}">
      <dgm:prSet/>
      <dgm:spPr/>
      <dgm:t>
        <a:bodyPr/>
        <a:lstStyle/>
        <a:p>
          <a:endParaRPr lang="en-US">
            <a:solidFill>
              <a:schemeClr val="accent3">
                <a:lumMod val="50000"/>
              </a:schemeClr>
            </a:solidFill>
          </a:endParaRPr>
        </a:p>
      </dgm:t>
    </dgm:pt>
    <dgm:pt modelId="{46D73C9C-1809-ED4B-BEEC-49CA70D9D398}" type="parTrans" cxnId="{021A8622-C58E-F745-AFAF-EE1973E664C8}">
      <dgm:prSet/>
      <dgm:spPr/>
      <dgm:t>
        <a:bodyPr/>
        <a:lstStyle/>
        <a:p>
          <a:endParaRPr lang="en-US">
            <a:solidFill>
              <a:schemeClr val="accent3">
                <a:lumMod val="50000"/>
              </a:schemeClr>
            </a:solidFill>
          </a:endParaRPr>
        </a:p>
      </dgm:t>
    </dgm:pt>
    <dgm:pt modelId="{2FD4131A-4ACC-9645-9ED4-2EC8FDC8CA0F}">
      <dgm:prSet phldrT="[Text]"/>
      <dgm:spPr>
        <a:xfrm>
          <a:off x="2679867" y="1200"/>
          <a:ext cx="1240828" cy="620414"/>
        </a:xfrm>
        <a:solidFill>
          <a:srgbClr val="C0504D">
            <a:alpha val="90000"/>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dirty="0">
              <a:solidFill>
                <a:sysClr val="window" lastClr="FFFFFF"/>
              </a:solidFill>
              <a:latin typeface="Calibri"/>
              <a:ea typeface="+mn-ea"/>
              <a:cs typeface="+mn-cs"/>
            </a:rPr>
            <a:t>Design</a:t>
          </a:r>
        </a:p>
      </dgm:t>
    </dgm:pt>
    <dgm:pt modelId="{C5D53636-FFC2-F24B-B5C6-E06382A52F5E}" type="sibTrans" cxnId="{A2DDF1C2-5B48-D748-B0CD-EB35ED869D4C}">
      <dgm:prSet/>
      <dgm:spPr>
        <a:xfrm>
          <a:off x="1085686" y="-39405"/>
          <a:ext cx="4429189" cy="4429189"/>
        </a:xfrm>
        <a:solidFill>
          <a:srgbClr val="C0504D">
            <a:tint val="40000"/>
            <a:hueOff val="0"/>
            <a:satOff val="0"/>
            <a:lumOff val="0"/>
            <a:alphaOff val="0"/>
          </a:srgbClr>
        </a:solidFill>
        <a:ln>
          <a:noFill/>
        </a:ln>
        <a:effectLst/>
      </dgm:spPr>
      <dgm:t>
        <a:bodyPr/>
        <a:lstStyle/>
        <a:p>
          <a:endParaRPr lang="en-US">
            <a:solidFill>
              <a:schemeClr val="accent3">
                <a:lumMod val="50000"/>
              </a:schemeClr>
            </a:solidFill>
          </a:endParaRPr>
        </a:p>
      </dgm:t>
    </dgm:pt>
    <dgm:pt modelId="{5BB87E27-7121-F540-8261-14ED3F637A84}" type="parTrans" cxnId="{A2DDF1C2-5B48-D748-B0CD-EB35ED869D4C}">
      <dgm:prSet/>
      <dgm:spPr/>
      <dgm:t>
        <a:bodyPr/>
        <a:lstStyle/>
        <a:p>
          <a:endParaRPr lang="en-US">
            <a:solidFill>
              <a:schemeClr val="accent3">
                <a:lumMod val="50000"/>
              </a:schemeClr>
            </a:solidFill>
          </a:endParaRPr>
        </a:p>
      </dgm:t>
    </dgm:pt>
    <dgm:pt modelId="{6B5A0E6B-C8D6-5A46-B4EF-E57925AA2CAE}" type="pres">
      <dgm:prSet presAssocID="{938354DF-C15B-5C40-B7C8-4E33CFC20EF2}" presName="Name0" presStyleCnt="0">
        <dgm:presLayoutVars>
          <dgm:dir/>
          <dgm:resizeHandles val="exact"/>
        </dgm:presLayoutVars>
      </dgm:prSet>
      <dgm:spPr/>
    </dgm:pt>
    <dgm:pt modelId="{55395C44-EBDE-6F45-B931-204D12D49A75}" type="pres">
      <dgm:prSet presAssocID="{938354DF-C15B-5C40-B7C8-4E33CFC20EF2}" presName="cycle" presStyleCnt="0"/>
      <dgm:spPr/>
    </dgm:pt>
    <dgm:pt modelId="{A58D57D6-50B2-E745-B7D4-7B4544F5924B}" type="pres">
      <dgm:prSet presAssocID="{2FD4131A-4ACC-9645-9ED4-2EC8FDC8CA0F}" presName="nodeFirstNode" presStyleLbl="node1" presStyleIdx="0" presStyleCnt="8">
        <dgm:presLayoutVars>
          <dgm:bulletEnabled val="1"/>
        </dgm:presLayoutVars>
      </dgm:prSet>
      <dgm:spPr>
        <a:prstGeom prst="roundRect">
          <a:avLst/>
        </a:prstGeom>
      </dgm:spPr>
    </dgm:pt>
    <dgm:pt modelId="{B53994A5-135F-8043-A44B-B4407CC944D7}" type="pres">
      <dgm:prSet presAssocID="{C5D53636-FFC2-F24B-B5C6-E06382A52F5E}" presName="sibTransFirstNode" presStyleLbl="bgShp" presStyleIdx="0" presStyleCnt="1"/>
      <dgm:spPr>
        <a:prstGeom prst="circularArrow">
          <a:avLst>
            <a:gd name="adj1" fmla="val 5544"/>
            <a:gd name="adj2" fmla="val 330680"/>
            <a:gd name="adj3" fmla="val 14648370"/>
            <a:gd name="adj4" fmla="val 16874734"/>
            <a:gd name="adj5" fmla="val 5757"/>
          </a:avLst>
        </a:prstGeom>
      </dgm:spPr>
    </dgm:pt>
    <dgm:pt modelId="{7E5B7ACF-A8D8-BF46-AE6C-89E412BA0A2E}" type="pres">
      <dgm:prSet presAssocID="{11DD059D-1EC8-094A-89F3-28EE9CF7E604}" presName="nodeFollowingNodes" presStyleLbl="node1" presStyleIdx="1" presStyleCnt="8">
        <dgm:presLayoutVars>
          <dgm:bulletEnabled val="1"/>
        </dgm:presLayoutVars>
      </dgm:prSet>
      <dgm:spPr>
        <a:prstGeom prst="roundRect">
          <a:avLst/>
        </a:prstGeom>
      </dgm:spPr>
    </dgm:pt>
    <dgm:pt modelId="{91037BDA-100E-3C4D-9F9B-BCA6B695FE3A}" type="pres">
      <dgm:prSet presAssocID="{A2D6F8CC-2FDD-114C-A6E7-21984E6289FB}" presName="nodeFollowingNodes" presStyleLbl="node1" presStyleIdx="2" presStyleCnt="8">
        <dgm:presLayoutVars>
          <dgm:bulletEnabled val="1"/>
        </dgm:presLayoutVars>
      </dgm:prSet>
      <dgm:spPr>
        <a:prstGeom prst="roundRect">
          <a:avLst/>
        </a:prstGeom>
      </dgm:spPr>
    </dgm:pt>
    <dgm:pt modelId="{7365467A-3B5B-1E48-ADDD-624A433C7EE2}" type="pres">
      <dgm:prSet presAssocID="{D34FDC6F-C96F-6641-A78A-BC0930329724}" presName="nodeFollowingNodes" presStyleLbl="node1" presStyleIdx="3" presStyleCnt="8">
        <dgm:presLayoutVars>
          <dgm:bulletEnabled val="1"/>
        </dgm:presLayoutVars>
      </dgm:prSet>
      <dgm:spPr>
        <a:prstGeom prst="roundRect">
          <a:avLst/>
        </a:prstGeom>
      </dgm:spPr>
    </dgm:pt>
    <dgm:pt modelId="{D5C57C60-255F-1A49-AA2A-447A2923C527}" type="pres">
      <dgm:prSet presAssocID="{843BFC7C-4194-0546-92C6-A76950BB3EEB}" presName="nodeFollowingNodes" presStyleLbl="node1" presStyleIdx="4" presStyleCnt="8">
        <dgm:presLayoutVars>
          <dgm:bulletEnabled val="1"/>
        </dgm:presLayoutVars>
      </dgm:prSet>
      <dgm:spPr>
        <a:prstGeom prst="roundRect">
          <a:avLst/>
        </a:prstGeom>
      </dgm:spPr>
    </dgm:pt>
    <dgm:pt modelId="{43A2994C-A7D2-624A-9013-00941C345948}" type="pres">
      <dgm:prSet presAssocID="{5316FC3C-1E07-1247-A16E-408C495CBB84}" presName="nodeFollowingNodes" presStyleLbl="node1" presStyleIdx="5" presStyleCnt="8">
        <dgm:presLayoutVars>
          <dgm:bulletEnabled val="1"/>
        </dgm:presLayoutVars>
      </dgm:prSet>
      <dgm:spPr>
        <a:prstGeom prst="roundRect">
          <a:avLst/>
        </a:prstGeom>
      </dgm:spPr>
    </dgm:pt>
    <dgm:pt modelId="{055D4ACE-80EC-A04D-AEAE-92CCF4F49824}" type="pres">
      <dgm:prSet presAssocID="{328F70DC-7133-8E4B-A601-091EA7AC6A00}" presName="nodeFollowingNodes" presStyleLbl="node1" presStyleIdx="6" presStyleCnt="8">
        <dgm:presLayoutVars>
          <dgm:bulletEnabled val="1"/>
        </dgm:presLayoutVars>
      </dgm:prSet>
      <dgm:spPr>
        <a:prstGeom prst="roundRect">
          <a:avLst/>
        </a:prstGeom>
      </dgm:spPr>
    </dgm:pt>
    <dgm:pt modelId="{2A9C7660-253F-CA40-B887-FCF496F88057}" type="pres">
      <dgm:prSet presAssocID="{D54A0FA1-65D5-384B-A6FF-07E5EFA8241C}" presName="nodeFollowingNodes" presStyleLbl="node1" presStyleIdx="7" presStyleCnt="8">
        <dgm:presLayoutVars>
          <dgm:bulletEnabled val="1"/>
        </dgm:presLayoutVars>
      </dgm:prSet>
      <dgm:spPr>
        <a:prstGeom prst="roundRect">
          <a:avLst/>
        </a:prstGeom>
      </dgm:spPr>
    </dgm:pt>
  </dgm:ptLst>
  <dgm:cxnLst>
    <dgm:cxn modelId="{85D01007-3E36-B24D-99A2-E1781176D401}" type="presOf" srcId="{D34FDC6F-C96F-6641-A78A-BC0930329724}" destId="{7365467A-3B5B-1E48-ADDD-624A433C7EE2}" srcOrd="0" destOrd="0" presId="urn:microsoft.com/office/officeart/2005/8/layout/cycle3"/>
    <dgm:cxn modelId="{56523808-F20A-914D-8420-EED281C57D3D}" type="presOf" srcId="{A2D6F8CC-2FDD-114C-A6E7-21984E6289FB}" destId="{91037BDA-100E-3C4D-9F9B-BCA6B695FE3A}" srcOrd="0" destOrd="0" presId="urn:microsoft.com/office/officeart/2005/8/layout/cycle3"/>
    <dgm:cxn modelId="{E228221A-F306-CA4E-975B-041B0E50F0FE}" srcId="{938354DF-C15B-5C40-B7C8-4E33CFC20EF2}" destId="{328F70DC-7133-8E4B-A601-091EA7AC6A00}" srcOrd="6" destOrd="0" parTransId="{148FEE05-07DE-3647-8D6A-0C628E52CDA5}" sibTransId="{7CDB7A79-5D68-1E42-9974-6494F7257BB7}"/>
    <dgm:cxn modelId="{91DB9020-226A-CD4A-9F42-E3CB5CFA7B24}" srcId="{938354DF-C15B-5C40-B7C8-4E33CFC20EF2}" destId="{A2D6F8CC-2FDD-114C-A6E7-21984E6289FB}" srcOrd="2" destOrd="0" parTransId="{0E8FB0CF-242B-734C-A1FE-EB50698659B5}" sibTransId="{83EB0027-A39F-9144-842B-D650E1639430}"/>
    <dgm:cxn modelId="{021A8622-C58E-F745-AFAF-EE1973E664C8}" srcId="{938354DF-C15B-5C40-B7C8-4E33CFC20EF2}" destId="{11DD059D-1EC8-094A-89F3-28EE9CF7E604}" srcOrd="1" destOrd="0" parTransId="{46D73C9C-1809-ED4B-BEEC-49CA70D9D398}" sibTransId="{FB79A359-67D7-4B40-AF4A-E9A77E251134}"/>
    <dgm:cxn modelId="{5CB0F722-3275-324E-A846-F8F6F460D8CE}" type="presOf" srcId="{D54A0FA1-65D5-384B-A6FF-07E5EFA8241C}" destId="{2A9C7660-253F-CA40-B887-FCF496F88057}" srcOrd="0" destOrd="0" presId="urn:microsoft.com/office/officeart/2005/8/layout/cycle3"/>
    <dgm:cxn modelId="{FDBD6534-A906-CD48-B2E1-5012B236793A}" type="presOf" srcId="{938354DF-C15B-5C40-B7C8-4E33CFC20EF2}" destId="{6B5A0E6B-C8D6-5A46-B4EF-E57925AA2CAE}" srcOrd="0" destOrd="0" presId="urn:microsoft.com/office/officeart/2005/8/layout/cycle3"/>
    <dgm:cxn modelId="{3EB3C16E-825B-9143-8382-18D8F0886172}" type="presOf" srcId="{C5D53636-FFC2-F24B-B5C6-E06382A52F5E}" destId="{B53994A5-135F-8043-A44B-B4407CC944D7}" srcOrd="0" destOrd="0" presId="urn:microsoft.com/office/officeart/2005/8/layout/cycle3"/>
    <dgm:cxn modelId="{C3050675-C4F9-3542-9E09-F81F6D9B6612}" type="presOf" srcId="{11DD059D-1EC8-094A-89F3-28EE9CF7E604}" destId="{7E5B7ACF-A8D8-BF46-AE6C-89E412BA0A2E}" srcOrd="0" destOrd="0" presId="urn:microsoft.com/office/officeart/2005/8/layout/cycle3"/>
    <dgm:cxn modelId="{84A7D856-817A-3B49-ADDE-67C2729770CA}" type="presOf" srcId="{2FD4131A-4ACC-9645-9ED4-2EC8FDC8CA0F}" destId="{A58D57D6-50B2-E745-B7D4-7B4544F5924B}" srcOrd="0" destOrd="0" presId="urn:microsoft.com/office/officeart/2005/8/layout/cycle3"/>
    <dgm:cxn modelId="{50CC0683-3568-C44D-9BE8-64998325D1F2}" srcId="{938354DF-C15B-5C40-B7C8-4E33CFC20EF2}" destId="{5316FC3C-1E07-1247-A16E-408C495CBB84}" srcOrd="5" destOrd="0" parTransId="{2FF77D45-7A0D-A944-9D46-0C64F60188E5}" sibTransId="{C70C690B-DDBA-EB44-9BD9-72656AF0B04D}"/>
    <dgm:cxn modelId="{ED6CCE8F-B218-854C-82DC-4E4538907A04}" type="presOf" srcId="{5316FC3C-1E07-1247-A16E-408C495CBB84}" destId="{43A2994C-A7D2-624A-9013-00941C345948}" srcOrd="0" destOrd="0" presId="urn:microsoft.com/office/officeart/2005/8/layout/cycle3"/>
    <dgm:cxn modelId="{225B3FC1-AD3A-0D4D-B3CA-1BB1D6232A5D}" type="presOf" srcId="{843BFC7C-4194-0546-92C6-A76950BB3EEB}" destId="{D5C57C60-255F-1A49-AA2A-447A2923C527}" srcOrd="0" destOrd="0" presId="urn:microsoft.com/office/officeart/2005/8/layout/cycle3"/>
    <dgm:cxn modelId="{A2DDF1C2-5B48-D748-B0CD-EB35ED869D4C}" srcId="{938354DF-C15B-5C40-B7C8-4E33CFC20EF2}" destId="{2FD4131A-4ACC-9645-9ED4-2EC8FDC8CA0F}" srcOrd="0" destOrd="0" parTransId="{5BB87E27-7121-F540-8261-14ED3F637A84}" sibTransId="{C5D53636-FFC2-F24B-B5C6-E06382A52F5E}"/>
    <dgm:cxn modelId="{483F47D1-9DD5-684D-A29D-2DAE97D28516}" srcId="{938354DF-C15B-5C40-B7C8-4E33CFC20EF2}" destId="{D34FDC6F-C96F-6641-A78A-BC0930329724}" srcOrd="3" destOrd="0" parTransId="{4199B7F6-5184-3C43-9E18-E6C91AD1CC45}" sibTransId="{1833998B-2D37-1F45-A76B-9A87231D3C5C}"/>
    <dgm:cxn modelId="{76E04BF0-6D68-9542-9DB6-28477AA674A1}" srcId="{938354DF-C15B-5C40-B7C8-4E33CFC20EF2}" destId="{D54A0FA1-65D5-384B-A6FF-07E5EFA8241C}" srcOrd="7" destOrd="0" parTransId="{EB0EE6E3-A157-D543-A22F-6C770369918C}" sibTransId="{9F8AD68C-67A5-654B-A165-A74B0D4E2D12}"/>
    <dgm:cxn modelId="{CB487EF3-498F-674A-BB67-EB793F09DE99}" srcId="{938354DF-C15B-5C40-B7C8-4E33CFC20EF2}" destId="{843BFC7C-4194-0546-92C6-A76950BB3EEB}" srcOrd="4" destOrd="0" parTransId="{07E0505B-DFC5-A44F-9094-A335B2FFD920}" sibTransId="{B1B6112F-26BE-C64E-AC0A-39CF834CF401}"/>
    <dgm:cxn modelId="{0A47DBFE-262F-B442-859E-8EA51960D358}" type="presOf" srcId="{328F70DC-7133-8E4B-A601-091EA7AC6A00}" destId="{055D4ACE-80EC-A04D-AEAE-92CCF4F49824}" srcOrd="0" destOrd="0" presId="urn:microsoft.com/office/officeart/2005/8/layout/cycle3"/>
    <dgm:cxn modelId="{E2FE2C25-FB55-0542-B0D2-0754BE2147FF}" type="presParOf" srcId="{6B5A0E6B-C8D6-5A46-B4EF-E57925AA2CAE}" destId="{55395C44-EBDE-6F45-B931-204D12D49A75}" srcOrd="0" destOrd="0" presId="urn:microsoft.com/office/officeart/2005/8/layout/cycle3"/>
    <dgm:cxn modelId="{AB82B3ED-4D1E-174F-A6B8-3268BE6DA318}" type="presParOf" srcId="{55395C44-EBDE-6F45-B931-204D12D49A75}" destId="{A58D57D6-50B2-E745-B7D4-7B4544F5924B}" srcOrd="0" destOrd="0" presId="urn:microsoft.com/office/officeart/2005/8/layout/cycle3"/>
    <dgm:cxn modelId="{DDCE7FE8-89EB-334A-979E-4C2CE3CD82EB}" type="presParOf" srcId="{55395C44-EBDE-6F45-B931-204D12D49A75}" destId="{B53994A5-135F-8043-A44B-B4407CC944D7}" srcOrd="1" destOrd="0" presId="urn:microsoft.com/office/officeart/2005/8/layout/cycle3"/>
    <dgm:cxn modelId="{9511E56C-81C4-A643-8724-1DB0AA61D266}" type="presParOf" srcId="{55395C44-EBDE-6F45-B931-204D12D49A75}" destId="{7E5B7ACF-A8D8-BF46-AE6C-89E412BA0A2E}" srcOrd="2" destOrd="0" presId="urn:microsoft.com/office/officeart/2005/8/layout/cycle3"/>
    <dgm:cxn modelId="{A5F02FEA-8C13-6B42-8B6F-E13A4605109B}" type="presParOf" srcId="{55395C44-EBDE-6F45-B931-204D12D49A75}" destId="{91037BDA-100E-3C4D-9F9B-BCA6B695FE3A}" srcOrd="3" destOrd="0" presId="urn:microsoft.com/office/officeart/2005/8/layout/cycle3"/>
    <dgm:cxn modelId="{E5597FC0-514A-7F42-81DF-E4A5BB9CE8F4}" type="presParOf" srcId="{55395C44-EBDE-6F45-B931-204D12D49A75}" destId="{7365467A-3B5B-1E48-ADDD-624A433C7EE2}" srcOrd="4" destOrd="0" presId="urn:microsoft.com/office/officeart/2005/8/layout/cycle3"/>
    <dgm:cxn modelId="{E4730E06-8804-F84A-87EA-8A05BE9F0154}" type="presParOf" srcId="{55395C44-EBDE-6F45-B931-204D12D49A75}" destId="{D5C57C60-255F-1A49-AA2A-447A2923C527}" srcOrd="5" destOrd="0" presId="urn:microsoft.com/office/officeart/2005/8/layout/cycle3"/>
    <dgm:cxn modelId="{5A0A221C-7679-324B-93B5-8832AE974444}" type="presParOf" srcId="{55395C44-EBDE-6F45-B931-204D12D49A75}" destId="{43A2994C-A7D2-624A-9013-00941C345948}" srcOrd="6" destOrd="0" presId="urn:microsoft.com/office/officeart/2005/8/layout/cycle3"/>
    <dgm:cxn modelId="{1A8B452C-3ED8-EC4D-A3AD-3DB9FA694420}" type="presParOf" srcId="{55395C44-EBDE-6F45-B931-204D12D49A75}" destId="{055D4ACE-80EC-A04D-AEAE-92CCF4F49824}" srcOrd="7" destOrd="0" presId="urn:microsoft.com/office/officeart/2005/8/layout/cycle3"/>
    <dgm:cxn modelId="{74605911-E86D-7C4E-BA7D-E07E03D7D604}" type="presParOf" srcId="{55395C44-EBDE-6F45-B931-204D12D49A75}" destId="{2A9C7660-253F-CA40-B887-FCF496F88057}" srcOrd="8" destOrd="0" presId="urn:microsoft.com/office/officeart/2005/8/layout/cycle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2C8BE8C0-8B7D-4FB6-BF2B-6AF5EED7D85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nl-NL"/>
        </a:p>
      </dgm:t>
    </dgm:pt>
    <dgm:pt modelId="{47962F01-6F29-4617-BDC1-F6A68BB94E0F}">
      <dgm:prSet/>
      <dgm:spPr>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dgm:spPr>
      <dgm:t>
        <a:bodyPr/>
        <a:lstStyle/>
        <a:p>
          <a:r>
            <a:rPr lang="nl-NL" dirty="0"/>
            <a:t>User  - OAuth 2.0,MFA, Fedrated login, IP Access control</a:t>
          </a:r>
        </a:p>
      </dgm:t>
    </dgm:pt>
    <dgm:pt modelId="{1BD866B0-0491-40E6-8B7B-D99F7AC5B85E}" type="parTrans" cxnId="{FA738455-42D2-450C-B0A0-1702B4750251}">
      <dgm:prSet/>
      <dgm:spPr/>
      <dgm:t>
        <a:bodyPr/>
        <a:lstStyle/>
        <a:p>
          <a:endParaRPr lang="nl-NL"/>
        </a:p>
      </dgm:t>
    </dgm:pt>
    <dgm:pt modelId="{B1599EB3-ED75-4655-839B-89C0770F7EE3}" type="sibTrans" cxnId="{FA738455-42D2-450C-B0A0-1702B4750251}">
      <dgm:prSet/>
      <dgm:spPr/>
      <dgm:t>
        <a:bodyPr/>
        <a:lstStyle/>
        <a:p>
          <a:endParaRPr lang="nl-NL"/>
        </a:p>
      </dgm:t>
    </dgm:pt>
    <dgm:pt modelId="{029AAB55-69D2-4BCB-AEF4-ACADC2A55667}">
      <dgm:prSet/>
      <dgm:spPr>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dgm:spPr>
      <dgm:t>
        <a:bodyPr/>
        <a:lstStyle/>
        <a:p>
          <a:r>
            <a:rPr lang="nl-NL"/>
            <a:t>APP  - API key, OAuth 2.0, Mutual TLS</a:t>
          </a:r>
        </a:p>
      </dgm:t>
    </dgm:pt>
    <dgm:pt modelId="{35FE9A5B-D3F2-404D-B9A1-12FADC4D5837}" type="parTrans" cxnId="{B11A4054-22B0-4A9F-A3A4-4061A3762B36}">
      <dgm:prSet/>
      <dgm:spPr/>
      <dgm:t>
        <a:bodyPr/>
        <a:lstStyle/>
        <a:p>
          <a:endParaRPr lang="nl-NL"/>
        </a:p>
      </dgm:t>
    </dgm:pt>
    <dgm:pt modelId="{9F002AAD-3705-46DE-86AD-090F0088BB29}" type="sibTrans" cxnId="{B11A4054-22B0-4A9F-A3A4-4061A3762B36}">
      <dgm:prSet/>
      <dgm:spPr/>
      <dgm:t>
        <a:bodyPr/>
        <a:lstStyle/>
        <a:p>
          <a:endParaRPr lang="nl-NL"/>
        </a:p>
      </dgm:t>
    </dgm:pt>
    <dgm:pt modelId="{F51CD172-4CD8-4E59-A040-D417EBD812F2}">
      <dgm:prSet/>
      <dgm:spPr>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dgm:spPr>
      <dgm:t>
        <a:bodyPr/>
        <a:lstStyle/>
        <a:p>
          <a:r>
            <a:rPr lang="nl-NL"/>
            <a:t>Developer – RBAC, SSO</a:t>
          </a:r>
        </a:p>
      </dgm:t>
    </dgm:pt>
    <dgm:pt modelId="{952B8029-E4AC-4336-A723-927134CA29D5}" type="parTrans" cxnId="{36FCDE00-8367-495B-8DDB-FA2DEFB08F5F}">
      <dgm:prSet/>
      <dgm:spPr/>
      <dgm:t>
        <a:bodyPr/>
        <a:lstStyle/>
        <a:p>
          <a:endParaRPr lang="nl-NL"/>
        </a:p>
      </dgm:t>
    </dgm:pt>
    <dgm:pt modelId="{E1BC1BC8-C1A0-4F7F-90F6-740C35EF44B3}" type="sibTrans" cxnId="{36FCDE00-8367-495B-8DDB-FA2DEFB08F5F}">
      <dgm:prSet/>
      <dgm:spPr/>
      <dgm:t>
        <a:bodyPr/>
        <a:lstStyle/>
        <a:p>
          <a:endParaRPr lang="nl-NL"/>
        </a:p>
      </dgm:t>
    </dgm:pt>
    <dgm:pt modelId="{806104FA-EECE-41B0-916D-BC91F914D8E8}">
      <dgm:prSet/>
      <dgm:spPr>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dgm:spPr>
      <dgm:t>
        <a:bodyPr/>
        <a:lstStyle/>
        <a:p>
          <a:r>
            <a:rPr lang="nl-NL" dirty="0"/>
            <a:t>API - Threat Protection, OAuth 2.0, Quota, Bot detction </a:t>
          </a:r>
        </a:p>
      </dgm:t>
    </dgm:pt>
    <dgm:pt modelId="{FAED455F-BE78-4141-A93A-FB847EB98AEC}" type="parTrans" cxnId="{707F65C4-1BFA-445C-B631-62A34373CEDE}">
      <dgm:prSet/>
      <dgm:spPr/>
      <dgm:t>
        <a:bodyPr/>
        <a:lstStyle/>
        <a:p>
          <a:endParaRPr lang="nl-NL"/>
        </a:p>
      </dgm:t>
    </dgm:pt>
    <dgm:pt modelId="{F5300F8C-1025-44EA-A858-62DE569A30D2}" type="sibTrans" cxnId="{707F65C4-1BFA-445C-B631-62A34373CEDE}">
      <dgm:prSet/>
      <dgm:spPr/>
      <dgm:t>
        <a:bodyPr/>
        <a:lstStyle/>
        <a:p>
          <a:endParaRPr lang="nl-NL"/>
        </a:p>
      </dgm:t>
    </dgm:pt>
    <dgm:pt modelId="{A7269050-5E7E-471B-9574-8B7C72B11928}">
      <dgm:prSet/>
      <dgm:spPr>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dgm:spPr>
      <dgm:t>
        <a:bodyPr/>
        <a:lstStyle/>
        <a:p>
          <a:r>
            <a:rPr lang="nl-NL" dirty="0"/>
            <a:t>API Team -  RBAC,LDAP Audit.</a:t>
          </a:r>
        </a:p>
      </dgm:t>
    </dgm:pt>
    <dgm:pt modelId="{C86D6B94-AF4E-4653-A9A0-F25A50B028F1}" type="parTrans" cxnId="{B27FA090-6F31-41B7-A46C-93E19EE9EABB}">
      <dgm:prSet/>
      <dgm:spPr/>
      <dgm:t>
        <a:bodyPr/>
        <a:lstStyle/>
        <a:p>
          <a:endParaRPr lang="nl-NL"/>
        </a:p>
      </dgm:t>
    </dgm:pt>
    <dgm:pt modelId="{83D384A2-3DD8-4107-8AA8-27D7DCE04FF1}" type="sibTrans" cxnId="{B27FA090-6F31-41B7-A46C-93E19EE9EABB}">
      <dgm:prSet/>
      <dgm:spPr/>
      <dgm:t>
        <a:bodyPr/>
        <a:lstStyle/>
        <a:p>
          <a:endParaRPr lang="nl-NL"/>
        </a:p>
      </dgm:t>
    </dgm:pt>
    <dgm:pt modelId="{A995582A-1032-420F-940A-BB31F4217909}">
      <dgm:prSet/>
      <dgm:spPr>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dgm:spPr>
      <dgm:t>
        <a:bodyPr/>
        <a:lstStyle/>
        <a:p>
          <a:r>
            <a:rPr lang="nl-NL" dirty="0"/>
            <a:t>Backend -  Mutual TLS, Southbond VPN and IP Access control </a:t>
          </a:r>
        </a:p>
      </dgm:t>
    </dgm:pt>
    <dgm:pt modelId="{4A624492-C735-451E-AB65-FFBA1DBAD39A}" type="parTrans" cxnId="{8B3CAA4D-D04A-4D66-AB84-F624028725C6}">
      <dgm:prSet/>
      <dgm:spPr/>
      <dgm:t>
        <a:bodyPr/>
        <a:lstStyle/>
        <a:p>
          <a:endParaRPr lang="nl-NL"/>
        </a:p>
      </dgm:t>
    </dgm:pt>
    <dgm:pt modelId="{DB31C152-44F4-41A3-A0EF-72A2C0A48CAC}" type="sibTrans" cxnId="{8B3CAA4D-D04A-4D66-AB84-F624028725C6}">
      <dgm:prSet/>
      <dgm:spPr/>
      <dgm:t>
        <a:bodyPr/>
        <a:lstStyle/>
        <a:p>
          <a:endParaRPr lang="nl-NL"/>
        </a:p>
      </dgm:t>
    </dgm:pt>
    <dgm:pt modelId="{63B3F916-C322-4E23-84BE-A6FB680ECBC5}" type="pres">
      <dgm:prSet presAssocID="{2C8BE8C0-8B7D-4FB6-BF2B-6AF5EED7D852}" presName="linear" presStyleCnt="0">
        <dgm:presLayoutVars>
          <dgm:animLvl val="lvl"/>
          <dgm:resizeHandles val="exact"/>
        </dgm:presLayoutVars>
      </dgm:prSet>
      <dgm:spPr/>
    </dgm:pt>
    <dgm:pt modelId="{62E6F04A-1B87-455A-858C-E8900566DFE1}" type="pres">
      <dgm:prSet presAssocID="{47962F01-6F29-4617-BDC1-F6A68BB94E0F}" presName="parentText" presStyleLbl="node1" presStyleIdx="0" presStyleCnt="6">
        <dgm:presLayoutVars>
          <dgm:chMax val="0"/>
          <dgm:bulletEnabled val="1"/>
        </dgm:presLayoutVars>
      </dgm:prSet>
      <dgm:spPr/>
    </dgm:pt>
    <dgm:pt modelId="{9584B01F-70AB-4A7A-B7CF-C9C02DEB986A}" type="pres">
      <dgm:prSet presAssocID="{B1599EB3-ED75-4655-839B-89C0770F7EE3}" presName="spacer" presStyleCnt="0"/>
      <dgm:spPr/>
    </dgm:pt>
    <dgm:pt modelId="{234C04E0-AED4-4B30-83DF-108347A3D107}" type="pres">
      <dgm:prSet presAssocID="{029AAB55-69D2-4BCB-AEF4-ACADC2A55667}" presName="parentText" presStyleLbl="node1" presStyleIdx="1" presStyleCnt="6">
        <dgm:presLayoutVars>
          <dgm:chMax val="0"/>
          <dgm:bulletEnabled val="1"/>
        </dgm:presLayoutVars>
      </dgm:prSet>
      <dgm:spPr/>
    </dgm:pt>
    <dgm:pt modelId="{24CFFD2E-E4B0-4BE7-8CF2-C7E0A3D7CB33}" type="pres">
      <dgm:prSet presAssocID="{9F002AAD-3705-46DE-86AD-090F0088BB29}" presName="spacer" presStyleCnt="0"/>
      <dgm:spPr/>
    </dgm:pt>
    <dgm:pt modelId="{62FC2115-150F-4884-A861-E521884DEBBF}" type="pres">
      <dgm:prSet presAssocID="{F51CD172-4CD8-4E59-A040-D417EBD812F2}" presName="parentText" presStyleLbl="node1" presStyleIdx="2" presStyleCnt="6">
        <dgm:presLayoutVars>
          <dgm:chMax val="0"/>
          <dgm:bulletEnabled val="1"/>
        </dgm:presLayoutVars>
      </dgm:prSet>
      <dgm:spPr/>
    </dgm:pt>
    <dgm:pt modelId="{507A7DBD-5B52-4A41-AA9D-5EBA49DA4118}" type="pres">
      <dgm:prSet presAssocID="{E1BC1BC8-C1A0-4F7F-90F6-740C35EF44B3}" presName="spacer" presStyleCnt="0"/>
      <dgm:spPr/>
    </dgm:pt>
    <dgm:pt modelId="{9362F872-0B96-43C8-A76D-F6F5C7E5987E}" type="pres">
      <dgm:prSet presAssocID="{806104FA-EECE-41B0-916D-BC91F914D8E8}" presName="parentText" presStyleLbl="node1" presStyleIdx="3" presStyleCnt="6">
        <dgm:presLayoutVars>
          <dgm:chMax val="0"/>
          <dgm:bulletEnabled val="1"/>
        </dgm:presLayoutVars>
      </dgm:prSet>
      <dgm:spPr/>
    </dgm:pt>
    <dgm:pt modelId="{E71442CB-9426-45F7-9A2D-0AF705C197A6}" type="pres">
      <dgm:prSet presAssocID="{F5300F8C-1025-44EA-A858-62DE569A30D2}" presName="spacer" presStyleCnt="0"/>
      <dgm:spPr/>
    </dgm:pt>
    <dgm:pt modelId="{C4E2B8C0-A8BE-4A29-8861-2E97F4D47612}" type="pres">
      <dgm:prSet presAssocID="{A7269050-5E7E-471B-9574-8B7C72B11928}" presName="parentText" presStyleLbl="node1" presStyleIdx="4" presStyleCnt="6">
        <dgm:presLayoutVars>
          <dgm:chMax val="0"/>
          <dgm:bulletEnabled val="1"/>
        </dgm:presLayoutVars>
      </dgm:prSet>
      <dgm:spPr/>
    </dgm:pt>
    <dgm:pt modelId="{5846056A-7957-4801-8A7B-3DBB8F278CCE}" type="pres">
      <dgm:prSet presAssocID="{83D384A2-3DD8-4107-8AA8-27D7DCE04FF1}" presName="spacer" presStyleCnt="0"/>
      <dgm:spPr/>
    </dgm:pt>
    <dgm:pt modelId="{6A8FF7FC-E487-4AA7-9984-EF67B9F2D13E}" type="pres">
      <dgm:prSet presAssocID="{A995582A-1032-420F-940A-BB31F4217909}" presName="parentText" presStyleLbl="node1" presStyleIdx="5" presStyleCnt="6">
        <dgm:presLayoutVars>
          <dgm:chMax val="0"/>
          <dgm:bulletEnabled val="1"/>
        </dgm:presLayoutVars>
      </dgm:prSet>
      <dgm:spPr/>
    </dgm:pt>
  </dgm:ptLst>
  <dgm:cxnLst>
    <dgm:cxn modelId="{36FCDE00-8367-495B-8DDB-FA2DEFB08F5F}" srcId="{2C8BE8C0-8B7D-4FB6-BF2B-6AF5EED7D852}" destId="{F51CD172-4CD8-4E59-A040-D417EBD812F2}" srcOrd="2" destOrd="0" parTransId="{952B8029-E4AC-4336-A723-927134CA29D5}" sibTransId="{E1BC1BC8-C1A0-4F7F-90F6-740C35EF44B3}"/>
    <dgm:cxn modelId="{84A02924-4E7D-48F1-B9B4-1CA1966CF317}" type="presOf" srcId="{F51CD172-4CD8-4E59-A040-D417EBD812F2}" destId="{62FC2115-150F-4884-A861-E521884DEBBF}" srcOrd="0" destOrd="0" presId="urn:microsoft.com/office/officeart/2005/8/layout/vList2"/>
    <dgm:cxn modelId="{41100A46-6263-4957-98D4-7016F1A0315D}" type="presOf" srcId="{806104FA-EECE-41B0-916D-BC91F914D8E8}" destId="{9362F872-0B96-43C8-A76D-F6F5C7E5987E}" srcOrd="0" destOrd="0" presId="urn:microsoft.com/office/officeart/2005/8/layout/vList2"/>
    <dgm:cxn modelId="{8B3CAA4D-D04A-4D66-AB84-F624028725C6}" srcId="{2C8BE8C0-8B7D-4FB6-BF2B-6AF5EED7D852}" destId="{A995582A-1032-420F-940A-BB31F4217909}" srcOrd="5" destOrd="0" parTransId="{4A624492-C735-451E-AB65-FFBA1DBAD39A}" sibTransId="{DB31C152-44F4-41A3-A0EF-72A2C0A48CAC}"/>
    <dgm:cxn modelId="{336CAD6E-6AB1-443B-AD88-14E320E1A852}" type="presOf" srcId="{A995582A-1032-420F-940A-BB31F4217909}" destId="{6A8FF7FC-E487-4AA7-9984-EF67B9F2D13E}" srcOrd="0" destOrd="0" presId="urn:microsoft.com/office/officeart/2005/8/layout/vList2"/>
    <dgm:cxn modelId="{B11A4054-22B0-4A9F-A3A4-4061A3762B36}" srcId="{2C8BE8C0-8B7D-4FB6-BF2B-6AF5EED7D852}" destId="{029AAB55-69D2-4BCB-AEF4-ACADC2A55667}" srcOrd="1" destOrd="0" parTransId="{35FE9A5B-D3F2-404D-B9A1-12FADC4D5837}" sibTransId="{9F002AAD-3705-46DE-86AD-090F0088BB29}"/>
    <dgm:cxn modelId="{FA738455-42D2-450C-B0A0-1702B4750251}" srcId="{2C8BE8C0-8B7D-4FB6-BF2B-6AF5EED7D852}" destId="{47962F01-6F29-4617-BDC1-F6A68BB94E0F}" srcOrd="0" destOrd="0" parTransId="{1BD866B0-0491-40E6-8B7B-D99F7AC5B85E}" sibTransId="{B1599EB3-ED75-4655-839B-89C0770F7EE3}"/>
    <dgm:cxn modelId="{B27FA090-6F31-41B7-A46C-93E19EE9EABB}" srcId="{2C8BE8C0-8B7D-4FB6-BF2B-6AF5EED7D852}" destId="{A7269050-5E7E-471B-9574-8B7C72B11928}" srcOrd="4" destOrd="0" parTransId="{C86D6B94-AF4E-4653-A9A0-F25A50B028F1}" sibTransId="{83D384A2-3DD8-4107-8AA8-27D7DCE04FF1}"/>
    <dgm:cxn modelId="{707F65C4-1BFA-445C-B631-62A34373CEDE}" srcId="{2C8BE8C0-8B7D-4FB6-BF2B-6AF5EED7D852}" destId="{806104FA-EECE-41B0-916D-BC91F914D8E8}" srcOrd="3" destOrd="0" parTransId="{FAED455F-BE78-4141-A93A-FB847EB98AEC}" sibTransId="{F5300F8C-1025-44EA-A858-62DE569A30D2}"/>
    <dgm:cxn modelId="{89D9FAD3-11AF-4A49-8C28-1ED61737B3D8}" type="presOf" srcId="{029AAB55-69D2-4BCB-AEF4-ACADC2A55667}" destId="{234C04E0-AED4-4B30-83DF-108347A3D107}" srcOrd="0" destOrd="0" presId="urn:microsoft.com/office/officeart/2005/8/layout/vList2"/>
    <dgm:cxn modelId="{0BFA87E8-1A61-4109-8A88-F1FEDCEA28BD}" type="presOf" srcId="{2C8BE8C0-8B7D-4FB6-BF2B-6AF5EED7D852}" destId="{63B3F916-C322-4E23-84BE-A6FB680ECBC5}" srcOrd="0" destOrd="0" presId="urn:microsoft.com/office/officeart/2005/8/layout/vList2"/>
    <dgm:cxn modelId="{ACE55BEF-D3DB-4733-A95B-E7DBBB5E0926}" type="presOf" srcId="{A7269050-5E7E-471B-9574-8B7C72B11928}" destId="{C4E2B8C0-A8BE-4A29-8861-2E97F4D47612}" srcOrd="0" destOrd="0" presId="urn:microsoft.com/office/officeart/2005/8/layout/vList2"/>
    <dgm:cxn modelId="{76124CF8-7199-4E06-AD87-2460FE3C3092}" type="presOf" srcId="{47962F01-6F29-4617-BDC1-F6A68BB94E0F}" destId="{62E6F04A-1B87-455A-858C-E8900566DFE1}" srcOrd="0" destOrd="0" presId="urn:microsoft.com/office/officeart/2005/8/layout/vList2"/>
    <dgm:cxn modelId="{9B9A4017-8B68-4124-9ADC-E7B76776ECD3}" type="presParOf" srcId="{63B3F916-C322-4E23-84BE-A6FB680ECBC5}" destId="{62E6F04A-1B87-455A-858C-E8900566DFE1}" srcOrd="0" destOrd="0" presId="urn:microsoft.com/office/officeart/2005/8/layout/vList2"/>
    <dgm:cxn modelId="{54E5C27C-09D6-44C3-94B1-F3F95FF3D2BC}" type="presParOf" srcId="{63B3F916-C322-4E23-84BE-A6FB680ECBC5}" destId="{9584B01F-70AB-4A7A-B7CF-C9C02DEB986A}" srcOrd="1" destOrd="0" presId="urn:microsoft.com/office/officeart/2005/8/layout/vList2"/>
    <dgm:cxn modelId="{2F75319B-01E6-4910-836E-68EDEC676183}" type="presParOf" srcId="{63B3F916-C322-4E23-84BE-A6FB680ECBC5}" destId="{234C04E0-AED4-4B30-83DF-108347A3D107}" srcOrd="2" destOrd="0" presId="urn:microsoft.com/office/officeart/2005/8/layout/vList2"/>
    <dgm:cxn modelId="{2AA3D5DD-BFEC-4AD6-A285-F4181BDCB0A4}" type="presParOf" srcId="{63B3F916-C322-4E23-84BE-A6FB680ECBC5}" destId="{24CFFD2E-E4B0-4BE7-8CF2-C7E0A3D7CB33}" srcOrd="3" destOrd="0" presId="urn:microsoft.com/office/officeart/2005/8/layout/vList2"/>
    <dgm:cxn modelId="{5FB5574D-18B1-4FFF-BB1B-DC1E42E2B0A5}" type="presParOf" srcId="{63B3F916-C322-4E23-84BE-A6FB680ECBC5}" destId="{62FC2115-150F-4884-A861-E521884DEBBF}" srcOrd="4" destOrd="0" presId="urn:microsoft.com/office/officeart/2005/8/layout/vList2"/>
    <dgm:cxn modelId="{D7290FD0-7EDF-4DD4-B13C-4217C717BAF3}" type="presParOf" srcId="{63B3F916-C322-4E23-84BE-A6FB680ECBC5}" destId="{507A7DBD-5B52-4A41-AA9D-5EBA49DA4118}" srcOrd="5" destOrd="0" presId="urn:microsoft.com/office/officeart/2005/8/layout/vList2"/>
    <dgm:cxn modelId="{F3192FA9-5700-4E9C-9AE4-9D7EB8BE3542}" type="presParOf" srcId="{63B3F916-C322-4E23-84BE-A6FB680ECBC5}" destId="{9362F872-0B96-43C8-A76D-F6F5C7E5987E}" srcOrd="6" destOrd="0" presId="urn:microsoft.com/office/officeart/2005/8/layout/vList2"/>
    <dgm:cxn modelId="{6A25D2B6-F010-426C-A02A-C7E004C092D1}" type="presParOf" srcId="{63B3F916-C322-4E23-84BE-A6FB680ECBC5}" destId="{E71442CB-9426-45F7-9A2D-0AF705C197A6}" srcOrd="7" destOrd="0" presId="urn:microsoft.com/office/officeart/2005/8/layout/vList2"/>
    <dgm:cxn modelId="{6AB4D83B-848D-446F-94DF-B9EC7AC185F1}" type="presParOf" srcId="{63B3F916-C322-4E23-84BE-A6FB680ECBC5}" destId="{C4E2B8C0-A8BE-4A29-8861-2E97F4D47612}" srcOrd="8" destOrd="0" presId="urn:microsoft.com/office/officeart/2005/8/layout/vList2"/>
    <dgm:cxn modelId="{9196488B-587C-495C-AEAE-6F079021017F}" type="presParOf" srcId="{63B3F916-C322-4E23-84BE-A6FB680ECBC5}" destId="{5846056A-7957-4801-8A7B-3DBB8F278CCE}" srcOrd="9" destOrd="0" presId="urn:microsoft.com/office/officeart/2005/8/layout/vList2"/>
    <dgm:cxn modelId="{17E45E24-8664-45D8-9AA0-F8CFF9A51671}" type="presParOf" srcId="{63B3F916-C322-4E23-84BE-A6FB680ECBC5}" destId="{6A8FF7FC-E487-4AA7-9984-EF67B9F2D13E}"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2D2B1D-6782-4926-8B4D-91715D6319D8}">
      <dsp:nvSpPr>
        <dsp:cNvPr id="0" name=""/>
        <dsp:cNvSpPr/>
      </dsp:nvSpPr>
      <dsp:spPr>
        <a:xfrm>
          <a:off x="2686" y="0"/>
          <a:ext cx="3272448" cy="806836"/>
        </a:xfrm>
        <a:prstGeom prst="chevron">
          <a:avLst/>
        </a:prstGeom>
        <a:solidFill>
          <a:srgbClr val="12ABD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2"/>
              </a:solidFill>
              <a:latin typeface="+mj-lt"/>
              <a:ea typeface="+mj-ea"/>
              <a:cs typeface="+mj-cs"/>
            </a:rPr>
            <a:t>Strategy</a:t>
          </a:r>
          <a:endParaRPr lang="en-US" sz="1600" b="1" kern="1200" dirty="0"/>
        </a:p>
      </dsp:txBody>
      <dsp:txXfrm>
        <a:off x="406104" y="0"/>
        <a:ext cx="2465612" cy="806836"/>
      </dsp:txXfrm>
    </dsp:sp>
    <dsp:sp modelId="{88AEDFAE-AC01-4D9E-99B6-37B49A0545A2}">
      <dsp:nvSpPr>
        <dsp:cNvPr id="0" name=""/>
        <dsp:cNvSpPr/>
      </dsp:nvSpPr>
      <dsp:spPr>
        <a:xfrm>
          <a:off x="2947889" y="0"/>
          <a:ext cx="3272448" cy="806836"/>
        </a:xfrm>
        <a:prstGeom prst="chevron">
          <a:avLst/>
        </a:prstGeom>
        <a:solidFill>
          <a:schemeClr val="accent1">
            <a:hueOff val="0"/>
            <a:satOff val="0"/>
            <a:lumOff val="0"/>
            <a:alphaOff val="0"/>
          </a:schemeClr>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rgbClr val="EDEDED"/>
              </a:solidFill>
              <a:latin typeface="Verdana"/>
              <a:ea typeface="+mn-ea"/>
              <a:cs typeface="+mn-cs"/>
            </a:rPr>
            <a:t>Execution</a:t>
          </a:r>
          <a:endParaRPr lang="en-US" sz="1600" b="1" kern="1200" dirty="0"/>
        </a:p>
      </dsp:txBody>
      <dsp:txXfrm>
        <a:off x="3351307" y="0"/>
        <a:ext cx="2465612" cy="806836"/>
      </dsp:txXfrm>
    </dsp:sp>
    <dsp:sp modelId="{8E7ECE7A-1B71-49BA-A774-E8E037F3F7EC}">
      <dsp:nvSpPr>
        <dsp:cNvPr id="0" name=""/>
        <dsp:cNvSpPr/>
      </dsp:nvSpPr>
      <dsp:spPr>
        <a:xfrm>
          <a:off x="5893093" y="0"/>
          <a:ext cx="3272448" cy="806836"/>
        </a:xfrm>
        <a:prstGeom prst="chevron">
          <a:avLst/>
        </a:prstGeom>
        <a:solidFill>
          <a:srgbClr val="2C004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Result</a:t>
          </a:r>
        </a:p>
      </dsp:txBody>
      <dsp:txXfrm>
        <a:off x="6296511" y="0"/>
        <a:ext cx="2465612" cy="80683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1386DA-8A23-452D-8A5E-3DD90D8CD059}">
      <dsp:nvSpPr>
        <dsp:cNvPr id="0" name=""/>
        <dsp:cNvSpPr/>
      </dsp:nvSpPr>
      <dsp:spPr>
        <a:xfrm>
          <a:off x="0" y="70081"/>
          <a:ext cx="3307195" cy="676260"/>
        </a:xfrm>
        <a:prstGeom prst="roundRect">
          <a:avLst/>
        </a:prstGeom>
        <a:gradFill rotWithShape="0">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t>• Registration and key credentialing</a:t>
          </a:r>
          <a:endParaRPr lang="nl-NL" sz="1700" kern="1200" dirty="0"/>
        </a:p>
      </dsp:txBody>
      <dsp:txXfrm>
        <a:off x="33012" y="103093"/>
        <a:ext cx="3241171" cy="610236"/>
      </dsp:txXfrm>
    </dsp:sp>
    <dsp:sp modelId="{067B2DE9-9561-48D6-82A4-42240981F27C}">
      <dsp:nvSpPr>
        <dsp:cNvPr id="0" name=""/>
        <dsp:cNvSpPr/>
      </dsp:nvSpPr>
      <dsp:spPr>
        <a:xfrm>
          <a:off x="0" y="795301"/>
          <a:ext cx="3307195" cy="676260"/>
        </a:xfrm>
        <a:prstGeom prst="roundRect">
          <a:avLst/>
        </a:prstGeom>
        <a:gradFill rotWithShape="0">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a:t>• Documentation</a:t>
          </a:r>
          <a:endParaRPr lang="nl-NL" sz="1700" kern="1200"/>
        </a:p>
      </dsp:txBody>
      <dsp:txXfrm>
        <a:off x="33012" y="828313"/>
        <a:ext cx="3241171" cy="610236"/>
      </dsp:txXfrm>
    </dsp:sp>
    <dsp:sp modelId="{E5C528E8-A989-4B76-A36A-101D4D060DDF}">
      <dsp:nvSpPr>
        <dsp:cNvPr id="0" name=""/>
        <dsp:cNvSpPr/>
      </dsp:nvSpPr>
      <dsp:spPr>
        <a:xfrm>
          <a:off x="0" y="1520521"/>
          <a:ext cx="3307195" cy="676260"/>
        </a:xfrm>
        <a:prstGeom prst="roundRect">
          <a:avLst/>
        </a:prstGeom>
        <a:gradFill rotWithShape="0">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a:t>• Support channels</a:t>
          </a:r>
          <a:endParaRPr lang="nl-NL" sz="1700" kern="1200"/>
        </a:p>
      </dsp:txBody>
      <dsp:txXfrm>
        <a:off x="33012" y="1553533"/>
        <a:ext cx="3241171" cy="610236"/>
      </dsp:txXfrm>
    </dsp:sp>
    <dsp:sp modelId="{AD67FD2C-A564-47F0-A7C4-AF2AB1A34845}">
      <dsp:nvSpPr>
        <dsp:cNvPr id="0" name=""/>
        <dsp:cNvSpPr/>
      </dsp:nvSpPr>
      <dsp:spPr>
        <a:xfrm>
          <a:off x="0" y="2245742"/>
          <a:ext cx="3307195" cy="676260"/>
        </a:xfrm>
        <a:prstGeom prst="roundRect">
          <a:avLst/>
        </a:prstGeom>
        <a:gradFill rotWithShape="0">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a:t>• Blogs and forums</a:t>
          </a:r>
          <a:endParaRPr lang="nl-NL" sz="1700" kern="1200"/>
        </a:p>
      </dsp:txBody>
      <dsp:txXfrm>
        <a:off x="33012" y="2278754"/>
        <a:ext cx="3241171" cy="610236"/>
      </dsp:txXfrm>
    </dsp:sp>
    <dsp:sp modelId="{14782738-1DF3-4F35-AC4C-62399F3D7AC7}">
      <dsp:nvSpPr>
        <dsp:cNvPr id="0" name=""/>
        <dsp:cNvSpPr/>
      </dsp:nvSpPr>
      <dsp:spPr>
        <a:xfrm>
          <a:off x="0" y="2970962"/>
          <a:ext cx="3307195" cy="676260"/>
        </a:xfrm>
        <a:prstGeom prst="roundRect">
          <a:avLst/>
        </a:prstGeom>
        <a:gradFill rotWithShape="0">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t>• SDKs and other resources</a:t>
          </a:r>
          <a:endParaRPr lang="nl-NL" sz="1700" kern="1200" dirty="0"/>
        </a:p>
      </dsp:txBody>
      <dsp:txXfrm>
        <a:off x="33012" y="3003974"/>
        <a:ext cx="3241171" cy="610236"/>
      </dsp:txXfrm>
    </dsp:sp>
    <dsp:sp modelId="{F81A71FA-8424-47C9-8A4B-47A1E1BBFA7E}">
      <dsp:nvSpPr>
        <dsp:cNvPr id="0" name=""/>
        <dsp:cNvSpPr/>
      </dsp:nvSpPr>
      <dsp:spPr>
        <a:xfrm>
          <a:off x="0" y="3696182"/>
          <a:ext cx="3307195" cy="676260"/>
        </a:xfrm>
        <a:prstGeom prst="roundRect">
          <a:avLst/>
        </a:prstGeom>
        <a:gradFill rotWithShape="0">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t>• App Gallery for inspiration</a:t>
          </a:r>
          <a:endParaRPr lang="nl-NL" sz="1700" kern="1200" dirty="0"/>
        </a:p>
      </dsp:txBody>
      <dsp:txXfrm>
        <a:off x="33012" y="3729194"/>
        <a:ext cx="3241171" cy="610236"/>
      </dsp:txXfrm>
    </dsp:sp>
    <dsp:sp modelId="{CE398D62-3FD0-4256-91A8-5F5B092D1DC0}">
      <dsp:nvSpPr>
        <dsp:cNvPr id="0" name=""/>
        <dsp:cNvSpPr/>
      </dsp:nvSpPr>
      <dsp:spPr>
        <a:xfrm>
          <a:off x="0" y="4421401"/>
          <a:ext cx="3307195" cy="676260"/>
        </a:xfrm>
        <a:prstGeom prst="roundRect">
          <a:avLst/>
        </a:prstGeom>
        <a:gradFill rotWithShape="0">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t>• Value Prop and Terms of Service</a:t>
          </a:r>
          <a:endParaRPr lang="nl-NL" sz="1700" kern="1200" dirty="0"/>
        </a:p>
      </dsp:txBody>
      <dsp:txXfrm>
        <a:off x="33012" y="4454413"/>
        <a:ext cx="3241171" cy="61023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FFD16A-0F7A-487C-8243-5ECAB2F6721B}">
      <dsp:nvSpPr>
        <dsp:cNvPr id="0" name=""/>
        <dsp:cNvSpPr/>
      </dsp:nvSpPr>
      <dsp:spPr>
        <a:xfrm>
          <a:off x="2139" y="0"/>
          <a:ext cx="2242635" cy="3831771"/>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r>
            <a:rPr lang="en-US" sz="2600" kern="1200"/>
            <a:t>Various revenue models</a:t>
          </a:r>
          <a:endParaRPr lang="nl-NL" sz="2600" kern="1200"/>
        </a:p>
      </dsp:txBody>
      <dsp:txXfrm>
        <a:off x="2139" y="1532708"/>
        <a:ext cx="2242635" cy="1532708"/>
      </dsp:txXfrm>
    </dsp:sp>
    <dsp:sp modelId="{5027FE3B-B09F-499E-9961-FC8E756117F2}">
      <dsp:nvSpPr>
        <dsp:cNvPr id="0" name=""/>
        <dsp:cNvSpPr/>
      </dsp:nvSpPr>
      <dsp:spPr>
        <a:xfrm>
          <a:off x="485467" y="229906"/>
          <a:ext cx="1275979" cy="1275979"/>
        </a:xfrm>
        <a:prstGeom prst="ellipse">
          <a:avLst/>
        </a:prstGeom>
        <a:blipFill>
          <a:blip xmlns:r="http://schemas.openxmlformats.org/officeDocument/2006/relationships" r:embed="rId1">
            <a:extLst>
              <a:ext uri="{28A0092B-C50C-407E-A947-70E740481C1C}">
                <a14:useLocalDpi xmlns:a14="http://schemas.microsoft.com/office/drawing/2010/main" val="0"/>
              </a:ext>
              <a:ext uri="{837473B0-CC2E-450A-ABE3-18F120FF3D39}">
                <a1611:picAttrSrcUrl xmlns:a1611="http://schemas.microsoft.com/office/drawing/2016/11/main" r:i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AF6809C-A090-482B-ABD4-6DFC3020B87C}">
      <dsp:nvSpPr>
        <dsp:cNvPr id="0" name=""/>
        <dsp:cNvSpPr/>
      </dsp:nvSpPr>
      <dsp:spPr>
        <a:xfrm>
          <a:off x="2312053" y="0"/>
          <a:ext cx="2242635" cy="3831771"/>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r>
            <a:rPr lang="en-US" sz="2600" kern="1200"/>
            <a:t>Payment and billing capabilities</a:t>
          </a:r>
          <a:endParaRPr lang="nl-NL" sz="2600" kern="1200"/>
        </a:p>
      </dsp:txBody>
      <dsp:txXfrm>
        <a:off x="2312053" y="1532708"/>
        <a:ext cx="2242635" cy="1532708"/>
      </dsp:txXfrm>
    </dsp:sp>
    <dsp:sp modelId="{9112257A-5429-4CF6-95E9-ED60954212DF}">
      <dsp:nvSpPr>
        <dsp:cNvPr id="0" name=""/>
        <dsp:cNvSpPr/>
      </dsp:nvSpPr>
      <dsp:spPr>
        <a:xfrm>
          <a:off x="2795381" y="229906"/>
          <a:ext cx="1275979" cy="1275979"/>
        </a:xfrm>
        <a:prstGeom prst="ellipse">
          <a:avLst/>
        </a:prstGeom>
        <a:blipFill>
          <a:blip xmlns:r="http://schemas.openxmlformats.org/officeDocument/2006/relationships"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a:stretch>
            <a:fillRect l="-4000" r="-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B3759C5-C2BB-462E-A1FB-CA198969D634}">
      <dsp:nvSpPr>
        <dsp:cNvPr id="0" name=""/>
        <dsp:cNvSpPr/>
      </dsp:nvSpPr>
      <dsp:spPr>
        <a:xfrm>
          <a:off x="4621968" y="0"/>
          <a:ext cx="2242635" cy="3831771"/>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r>
            <a:rPr lang="en-US" sz="2600" kern="1200"/>
            <a:t>Flexible reporting </a:t>
          </a:r>
          <a:endParaRPr lang="nl-NL" sz="2600" kern="1200"/>
        </a:p>
      </dsp:txBody>
      <dsp:txXfrm>
        <a:off x="4621968" y="1532708"/>
        <a:ext cx="2242635" cy="1532708"/>
      </dsp:txXfrm>
    </dsp:sp>
    <dsp:sp modelId="{A1E3E9B6-F773-4896-8244-6B138003BDA4}">
      <dsp:nvSpPr>
        <dsp:cNvPr id="0" name=""/>
        <dsp:cNvSpPr/>
      </dsp:nvSpPr>
      <dsp:spPr>
        <a:xfrm>
          <a:off x="5105295" y="229906"/>
          <a:ext cx="1275979" cy="1275979"/>
        </a:xfrm>
        <a:prstGeom prst="ellipse">
          <a:avLst/>
        </a:prstGeom>
        <a:blipFill>
          <a:blip xmlns:r="http://schemas.openxmlformats.org/officeDocument/2006/relationships"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a:stretch>
            <a:fillRect l="-14000" r="-1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CAB7BC0-C059-48FC-920D-22B72179EC61}">
      <dsp:nvSpPr>
        <dsp:cNvPr id="0" name=""/>
        <dsp:cNvSpPr/>
      </dsp:nvSpPr>
      <dsp:spPr>
        <a:xfrm>
          <a:off x="6931882" y="0"/>
          <a:ext cx="2242635" cy="3831771"/>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r>
            <a:rPr lang="en-US" sz="2600" kern="1200"/>
            <a:t>Developer portal Integration</a:t>
          </a:r>
          <a:endParaRPr lang="nl-NL" sz="2600" kern="1200"/>
        </a:p>
      </dsp:txBody>
      <dsp:txXfrm>
        <a:off x="6931882" y="1532708"/>
        <a:ext cx="2242635" cy="1532708"/>
      </dsp:txXfrm>
    </dsp:sp>
    <dsp:sp modelId="{C1F125AF-A4C9-4ECA-8273-EC2F304C15E1}">
      <dsp:nvSpPr>
        <dsp:cNvPr id="0" name=""/>
        <dsp:cNvSpPr/>
      </dsp:nvSpPr>
      <dsp:spPr>
        <a:xfrm>
          <a:off x="7415209" y="229906"/>
          <a:ext cx="1275979" cy="1275979"/>
        </a:xfrm>
        <a:prstGeom prst="ellipse">
          <a:avLst/>
        </a:prstGeom>
        <a:blipFill>
          <a:blip xmlns:r="http://schemas.openxmlformats.org/officeDocument/2006/relationships"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a:stretch>
            <a:fillRect l="-17000" r="-1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50A4D1D-23BA-4573-B669-E3C10A618319}">
      <dsp:nvSpPr>
        <dsp:cNvPr id="0" name=""/>
        <dsp:cNvSpPr/>
      </dsp:nvSpPr>
      <dsp:spPr>
        <a:xfrm>
          <a:off x="367066" y="3065416"/>
          <a:ext cx="8442524" cy="574765"/>
        </a:xfrm>
        <a:prstGeom prst="leftRightArrow">
          <a:avLst/>
        </a:prstGeom>
        <a:solidFill>
          <a:schemeClr val="accent2">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4D9623-4BBA-46EA-B48C-EFACCA8974E8}">
      <dsp:nvSpPr>
        <dsp:cNvPr id="0" name=""/>
        <dsp:cNvSpPr/>
      </dsp:nvSpPr>
      <dsp:spPr>
        <a:xfrm>
          <a:off x="1308812" y="0"/>
          <a:ext cx="4998465" cy="4998465"/>
        </a:xfrm>
        <a:prstGeom prst="triangl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D09D773-E1C6-44BB-BF20-A4035836B0CE}">
      <dsp:nvSpPr>
        <dsp:cNvPr id="0" name=""/>
        <dsp:cNvSpPr/>
      </dsp:nvSpPr>
      <dsp:spPr>
        <a:xfrm>
          <a:off x="3808044" y="501394"/>
          <a:ext cx="3249002" cy="243577"/>
        </a:xfrm>
        <a:prstGeom prst="round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rgbClr val="000000">
                  <a:hueOff val="0"/>
                  <a:satOff val="0"/>
                  <a:lumOff val="0"/>
                  <a:alphaOff val="0"/>
                </a:srgbClr>
              </a:solidFill>
              <a:latin typeface="Verdana"/>
              <a:ea typeface="+mn-ea"/>
              <a:cs typeface="+mn-cs"/>
            </a:rPr>
            <a:t>API Name</a:t>
          </a:r>
          <a:endParaRPr lang="nl-NL" sz="1400" kern="1200" dirty="0">
            <a:solidFill>
              <a:srgbClr val="000000">
                <a:hueOff val="0"/>
                <a:satOff val="0"/>
                <a:lumOff val="0"/>
                <a:alphaOff val="0"/>
              </a:srgbClr>
            </a:solidFill>
            <a:latin typeface="Verdana"/>
            <a:ea typeface="+mn-ea"/>
            <a:cs typeface="+mn-cs"/>
          </a:endParaRPr>
        </a:p>
      </dsp:txBody>
      <dsp:txXfrm>
        <a:off x="3819934" y="513284"/>
        <a:ext cx="3225222" cy="219797"/>
      </dsp:txXfrm>
    </dsp:sp>
    <dsp:sp modelId="{BC57E02B-AB42-4FAD-9D35-1BC6D0AC9BBF}">
      <dsp:nvSpPr>
        <dsp:cNvPr id="0" name=""/>
        <dsp:cNvSpPr/>
      </dsp:nvSpPr>
      <dsp:spPr>
        <a:xfrm>
          <a:off x="3808044" y="775419"/>
          <a:ext cx="3249002" cy="243577"/>
        </a:xfrm>
        <a:prstGeom prst="round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Proxy revision </a:t>
          </a:r>
          <a:endParaRPr lang="nl-NL" sz="1400" kern="1200" dirty="0"/>
        </a:p>
      </dsp:txBody>
      <dsp:txXfrm>
        <a:off x="3819934" y="787309"/>
        <a:ext cx="3225222" cy="219797"/>
      </dsp:txXfrm>
    </dsp:sp>
    <dsp:sp modelId="{B061420B-5117-44FC-9F03-D147F889CE71}">
      <dsp:nvSpPr>
        <dsp:cNvPr id="0" name=""/>
        <dsp:cNvSpPr/>
      </dsp:nvSpPr>
      <dsp:spPr>
        <a:xfrm>
          <a:off x="3808044" y="1049444"/>
          <a:ext cx="3249002" cy="427505"/>
        </a:xfrm>
        <a:prstGeom prst="round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The inbound and outbound target path</a:t>
          </a:r>
          <a:endParaRPr lang="nl-NL" sz="1400" kern="1200" dirty="0"/>
        </a:p>
      </dsp:txBody>
      <dsp:txXfrm>
        <a:off x="3828913" y="1070313"/>
        <a:ext cx="3207264" cy="385767"/>
      </dsp:txXfrm>
    </dsp:sp>
    <dsp:sp modelId="{B56BDB53-C19D-4173-8546-7462AB8F8AE1}">
      <dsp:nvSpPr>
        <dsp:cNvPr id="0" name=""/>
        <dsp:cNvSpPr/>
      </dsp:nvSpPr>
      <dsp:spPr>
        <a:xfrm>
          <a:off x="3808044" y="1507396"/>
          <a:ext cx="3249002" cy="243577"/>
        </a:xfrm>
        <a:prstGeom prst="round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HTTP Operations</a:t>
          </a:r>
          <a:endParaRPr lang="nl-NL" sz="1400" kern="1200" dirty="0"/>
        </a:p>
      </dsp:txBody>
      <dsp:txXfrm>
        <a:off x="3819934" y="1519286"/>
        <a:ext cx="3225222" cy="219797"/>
      </dsp:txXfrm>
    </dsp:sp>
    <dsp:sp modelId="{38BCF966-0A01-4AD8-9735-29A6A5C54DD1}">
      <dsp:nvSpPr>
        <dsp:cNvPr id="0" name=""/>
        <dsp:cNvSpPr/>
      </dsp:nvSpPr>
      <dsp:spPr>
        <a:xfrm>
          <a:off x="3808044" y="1781421"/>
          <a:ext cx="3249002" cy="243577"/>
        </a:xfrm>
        <a:prstGeom prst="roundRect">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ecurity Details</a:t>
          </a:r>
          <a:endParaRPr lang="nl-NL" sz="1400" kern="1200" dirty="0"/>
        </a:p>
      </dsp:txBody>
      <dsp:txXfrm>
        <a:off x="3819934" y="1793311"/>
        <a:ext cx="3225222" cy="219797"/>
      </dsp:txXfrm>
    </dsp:sp>
    <dsp:sp modelId="{88BC8BC4-1645-4D77-877E-3AB40DB50BBA}">
      <dsp:nvSpPr>
        <dsp:cNvPr id="0" name=""/>
        <dsp:cNvSpPr/>
      </dsp:nvSpPr>
      <dsp:spPr>
        <a:xfrm>
          <a:off x="3808044" y="2055446"/>
          <a:ext cx="3249002" cy="243577"/>
        </a:xfrm>
        <a:prstGeom prst="round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CROS configuration</a:t>
          </a:r>
          <a:endParaRPr lang="nl-NL" sz="1400" kern="1200" dirty="0"/>
        </a:p>
      </dsp:txBody>
      <dsp:txXfrm>
        <a:off x="3819934" y="2067336"/>
        <a:ext cx="3225222" cy="219797"/>
      </dsp:txXfrm>
    </dsp:sp>
    <dsp:sp modelId="{D229F20F-5A3E-4247-A1B7-9DCEB770CB3B}">
      <dsp:nvSpPr>
        <dsp:cNvPr id="0" name=""/>
        <dsp:cNvSpPr/>
      </dsp:nvSpPr>
      <dsp:spPr>
        <a:xfrm>
          <a:off x="3808044" y="2329471"/>
          <a:ext cx="3249002" cy="243577"/>
        </a:xfrm>
        <a:prstGeom prst="round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Traffic management policies </a:t>
          </a:r>
          <a:endParaRPr lang="nl-NL" sz="1400" kern="1200" dirty="0"/>
        </a:p>
      </dsp:txBody>
      <dsp:txXfrm>
        <a:off x="3819934" y="2341361"/>
        <a:ext cx="3225222" cy="219797"/>
      </dsp:txXfrm>
    </dsp:sp>
    <dsp:sp modelId="{CDB906D3-FD2D-4C15-8D73-D9DF21E10FE8}">
      <dsp:nvSpPr>
        <dsp:cNvPr id="0" name=""/>
        <dsp:cNvSpPr/>
      </dsp:nvSpPr>
      <dsp:spPr>
        <a:xfrm>
          <a:off x="3808044" y="2603495"/>
          <a:ext cx="3249002" cy="243577"/>
        </a:xfrm>
        <a:prstGeom prst="round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Transformation policies </a:t>
          </a:r>
          <a:endParaRPr lang="nl-NL" sz="1400" kern="1200" dirty="0"/>
        </a:p>
      </dsp:txBody>
      <dsp:txXfrm>
        <a:off x="3819934" y="2615385"/>
        <a:ext cx="3225222" cy="219797"/>
      </dsp:txXfrm>
    </dsp:sp>
    <dsp:sp modelId="{2B0F27DD-8647-4B08-938E-53EB7FA9AAAB}">
      <dsp:nvSpPr>
        <dsp:cNvPr id="0" name=""/>
        <dsp:cNvSpPr/>
      </dsp:nvSpPr>
      <dsp:spPr>
        <a:xfrm>
          <a:off x="3808044" y="2877520"/>
          <a:ext cx="3249002" cy="243577"/>
        </a:xfrm>
        <a:prstGeom prst="round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ediation policies </a:t>
          </a:r>
          <a:endParaRPr lang="nl-NL" sz="1400" kern="1200" dirty="0"/>
        </a:p>
      </dsp:txBody>
      <dsp:txXfrm>
        <a:off x="3819934" y="2889410"/>
        <a:ext cx="3225222" cy="219797"/>
      </dsp:txXfrm>
    </dsp:sp>
    <dsp:sp modelId="{BB3F5436-BABD-4CA6-A757-44EF22F155D4}">
      <dsp:nvSpPr>
        <dsp:cNvPr id="0" name=""/>
        <dsp:cNvSpPr/>
      </dsp:nvSpPr>
      <dsp:spPr>
        <a:xfrm>
          <a:off x="3808044" y="3151545"/>
          <a:ext cx="3249002" cy="243577"/>
        </a:xfrm>
        <a:prstGeom prst="roundRect">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Cache policies</a:t>
          </a:r>
          <a:endParaRPr lang="nl-NL" sz="1400" kern="1200" dirty="0"/>
        </a:p>
      </dsp:txBody>
      <dsp:txXfrm>
        <a:off x="3819934" y="3163435"/>
        <a:ext cx="3225222" cy="219797"/>
      </dsp:txXfrm>
    </dsp:sp>
    <dsp:sp modelId="{D046C90A-FEF3-476F-9558-1DA5FDDC4A78}">
      <dsp:nvSpPr>
        <dsp:cNvPr id="0" name=""/>
        <dsp:cNvSpPr/>
      </dsp:nvSpPr>
      <dsp:spPr>
        <a:xfrm>
          <a:off x="3808044" y="3425570"/>
          <a:ext cx="3249002" cy="243577"/>
        </a:xfrm>
        <a:prstGeom prst="round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Extension policies </a:t>
          </a:r>
          <a:endParaRPr lang="nl-NL" sz="1400" kern="1200" dirty="0"/>
        </a:p>
      </dsp:txBody>
      <dsp:txXfrm>
        <a:off x="3819934" y="3437460"/>
        <a:ext cx="3225222" cy="219797"/>
      </dsp:txXfrm>
    </dsp:sp>
    <dsp:sp modelId="{D2CA4251-EEAB-4120-A3CD-0C432FF32573}">
      <dsp:nvSpPr>
        <dsp:cNvPr id="0" name=""/>
        <dsp:cNvSpPr/>
      </dsp:nvSpPr>
      <dsp:spPr>
        <a:xfrm>
          <a:off x="3808044" y="3699594"/>
          <a:ext cx="3249002" cy="493003"/>
        </a:xfrm>
        <a:prstGeom prst="round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rgbClr val="000000">
                  <a:hueOff val="0"/>
                  <a:satOff val="0"/>
                  <a:lumOff val="0"/>
                  <a:alphaOff val="0"/>
                </a:srgbClr>
              </a:solidFill>
              <a:latin typeface="Verdana"/>
              <a:ea typeface="+mn-ea"/>
              <a:cs typeface="+mn-cs"/>
            </a:rPr>
            <a:t>Plan Name and their associated services </a:t>
          </a:r>
          <a:endParaRPr lang="nl-NL" sz="1400" kern="1200" dirty="0">
            <a:solidFill>
              <a:srgbClr val="000000">
                <a:hueOff val="0"/>
                <a:satOff val="0"/>
                <a:lumOff val="0"/>
                <a:alphaOff val="0"/>
              </a:srgbClr>
            </a:solidFill>
            <a:latin typeface="Verdana"/>
            <a:ea typeface="+mn-ea"/>
            <a:cs typeface="+mn-cs"/>
          </a:endParaRPr>
        </a:p>
      </dsp:txBody>
      <dsp:txXfrm>
        <a:off x="3832110" y="3723660"/>
        <a:ext cx="3200870" cy="444871"/>
      </dsp:txXfrm>
    </dsp:sp>
    <dsp:sp modelId="{B729C06F-8002-4EDD-AD88-32CD38B91497}">
      <dsp:nvSpPr>
        <dsp:cNvPr id="0" name=""/>
        <dsp:cNvSpPr/>
      </dsp:nvSpPr>
      <dsp:spPr>
        <a:xfrm>
          <a:off x="3808044" y="4223045"/>
          <a:ext cx="3249002" cy="243577"/>
        </a:xfrm>
        <a:prstGeom prst="round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Communication details </a:t>
          </a:r>
          <a:endParaRPr lang="nl-NL" sz="1400" kern="1200" dirty="0"/>
        </a:p>
      </dsp:txBody>
      <dsp:txXfrm>
        <a:off x="3819934" y="4234935"/>
        <a:ext cx="3225222" cy="219797"/>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4ACF58-0727-4E0B-8486-BCE682FEFB33}">
      <dsp:nvSpPr>
        <dsp:cNvPr id="0" name=""/>
        <dsp:cNvSpPr/>
      </dsp:nvSpPr>
      <dsp:spPr>
        <a:xfrm>
          <a:off x="4195943" y="1584"/>
          <a:ext cx="1124494" cy="1124494"/>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nl-NL" sz="1300" b="1" kern="1200" dirty="0"/>
            <a:t>Development Team</a:t>
          </a:r>
        </a:p>
      </dsp:txBody>
      <dsp:txXfrm>
        <a:off x="4360621" y="166262"/>
        <a:ext cx="795138" cy="795138"/>
      </dsp:txXfrm>
    </dsp:sp>
    <dsp:sp modelId="{F5A21CA7-2EC2-4A03-B2BE-E611C628DD39}">
      <dsp:nvSpPr>
        <dsp:cNvPr id="0" name=""/>
        <dsp:cNvSpPr/>
      </dsp:nvSpPr>
      <dsp:spPr>
        <a:xfrm rot="1350000">
          <a:off x="5380961" y="693980"/>
          <a:ext cx="299106" cy="379516"/>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nl-NL" sz="1100" kern="1200"/>
        </a:p>
      </dsp:txBody>
      <dsp:txXfrm>
        <a:off x="5384376" y="752714"/>
        <a:ext cx="209374" cy="227710"/>
      </dsp:txXfrm>
    </dsp:sp>
    <dsp:sp modelId="{8B2CC8C2-E9EC-414A-8238-6B94678C5678}">
      <dsp:nvSpPr>
        <dsp:cNvPr id="0" name=""/>
        <dsp:cNvSpPr/>
      </dsp:nvSpPr>
      <dsp:spPr>
        <a:xfrm>
          <a:off x="5756233" y="647877"/>
          <a:ext cx="1124494" cy="1124494"/>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nl-NL" sz="1300" b="1" kern="1200" dirty="0"/>
            <a:t>Source Code in version control </a:t>
          </a:r>
        </a:p>
      </dsp:txBody>
      <dsp:txXfrm>
        <a:off x="5920911" y="812555"/>
        <a:ext cx="795138" cy="795138"/>
      </dsp:txXfrm>
    </dsp:sp>
    <dsp:sp modelId="{BF83B055-84F1-44CA-8069-C9357DEF781B}">
      <dsp:nvSpPr>
        <dsp:cNvPr id="0" name=""/>
        <dsp:cNvSpPr/>
      </dsp:nvSpPr>
      <dsp:spPr>
        <a:xfrm rot="4050000">
          <a:off x="6488834" y="1792690"/>
          <a:ext cx="299106" cy="379516"/>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nl-NL" sz="1100" kern="1200"/>
        </a:p>
      </dsp:txBody>
      <dsp:txXfrm>
        <a:off x="6516531" y="1827142"/>
        <a:ext cx="209374" cy="227710"/>
      </dsp:txXfrm>
    </dsp:sp>
    <dsp:sp modelId="{C248802B-10F8-41B7-BD3D-706AD66DAA90}">
      <dsp:nvSpPr>
        <dsp:cNvPr id="0" name=""/>
        <dsp:cNvSpPr/>
      </dsp:nvSpPr>
      <dsp:spPr>
        <a:xfrm>
          <a:off x="6402526" y="2208167"/>
          <a:ext cx="1124494" cy="1124494"/>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nl-NL" sz="1300" b="1" kern="1200" dirty="0"/>
            <a:t>Build Process triggered</a:t>
          </a:r>
        </a:p>
      </dsp:txBody>
      <dsp:txXfrm>
        <a:off x="6567204" y="2372845"/>
        <a:ext cx="795138" cy="795138"/>
      </dsp:txXfrm>
    </dsp:sp>
    <dsp:sp modelId="{049F3CC0-781C-4396-883A-3C8240D17679}">
      <dsp:nvSpPr>
        <dsp:cNvPr id="0" name=""/>
        <dsp:cNvSpPr/>
      </dsp:nvSpPr>
      <dsp:spPr>
        <a:xfrm rot="6750000">
          <a:off x="6495313" y="3352980"/>
          <a:ext cx="299106" cy="379516"/>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nl-NL" sz="1100" kern="1200"/>
        </a:p>
      </dsp:txBody>
      <dsp:txXfrm rot="10800000">
        <a:off x="6557348" y="3387432"/>
        <a:ext cx="209374" cy="227710"/>
      </dsp:txXfrm>
    </dsp:sp>
    <dsp:sp modelId="{159A5624-1DA9-410E-B8EB-3B0058BC84A7}">
      <dsp:nvSpPr>
        <dsp:cNvPr id="0" name=""/>
        <dsp:cNvSpPr/>
      </dsp:nvSpPr>
      <dsp:spPr>
        <a:xfrm>
          <a:off x="5756233" y="3768457"/>
          <a:ext cx="1124494" cy="1124494"/>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nl-NL" sz="1300" b="1" kern="1200" dirty="0"/>
            <a:t>Code Qulaity analysis and unit test</a:t>
          </a:r>
        </a:p>
      </dsp:txBody>
      <dsp:txXfrm>
        <a:off x="5920911" y="3933135"/>
        <a:ext cx="795138" cy="795138"/>
      </dsp:txXfrm>
    </dsp:sp>
    <dsp:sp modelId="{1A59DE83-3643-4C6E-AB50-CBA2535A8A80}">
      <dsp:nvSpPr>
        <dsp:cNvPr id="0" name=""/>
        <dsp:cNvSpPr/>
      </dsp:nvSpPr>
      <dsp:spPr>
        <a:xfrm rot="9450000">
          <a:off x="5396603" y="4460852"/>
          <a:ext cx="299106" cy="379516"/>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nl-NL" sz="1100" kern="1200"/>
        </a:p>
      </dsp:txBody>
      <dsp:txXfrm rot="10800000">
        <a:off x="5482920" y="4519586"/>
        <a:ext cx="209374" cy="227710"/>
      </dsp:txXfrm>
    </dsp:sp>
    <dsp:sp modelId="{668948FA-4092-4A61-997D-8428DFB88754}">
      <dsp:nvSpPr>
        <dsp:cNvPr id="0" name=""/>
        <dsp:cNvSpPr/>
      </dsp:nvSpPr>
      <dsp:spPr>
        <a:xfrm>
          <a:off x="4195943" y="4414750"/>
          <a:ext cx="1124494" cy="1124494"/>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nl-NL" sz="1300" b="1" kern="1200" dirty="0"/>
            <a:t>Deploy API bundle </a:t>
          </a:r>
        </a:p>
      </dsp:txBody>
      <dsp:txXfrm>
        <a:off x="4360621" y="4579428"/>
        <a:ext cx="795138" cy="795138"/>
      </dsp:txXfrm>
    </dsp:sp>
    <dsp:sp modelId="{C52755DE-C614-4A79-A964-F2B9E5DF9F0B}">
      <dsp:nvSpPr>
        <dsp:cNvPr id="0" name=""/>
        <dsp:cNvSpPr/>
      </dsp:nvSpPr>
      <dsp:spPr>
        <a:xfrm rot="12150000">
          <a:off x="3898728" y="4483577"/>
          <a:ext cx="252716" cy="379516"/>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nl-NL" sz="1100" kern="1200"/>
        </a:p>
      </dsp:txBody>
      <dsp:txXfrm rot="10800000">
        <a:off x="3971657" y="4573987"/>
        <a:ext cx="176901" cy="227710"/>
      </dsp:txXfrm>
    </dsp:sp>
    <dsp:sp modelId="{B2B7438D-0DD1-4195-A364-6CCB8ED15F60}">
      <dsp:nvSpPr>
        <dsp:cNvPr id="0" name=""/>
        <dsp:cNvSpPr/>
      </dsp:nvSpPr>
      <dsp:spPr>
        <a:xfrm>
          <a:off x="2548393" y="3679369"/>
          <a:ext cx="1299015" cy="1302670"/>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nl-NL" sz="1300" b="1" kern="1200" dirty="0"/>
            <a:t>Functaional Test or performace Test</a:t>
          </a:r>
        </a:p>
      </dsp:txBody>
      <dsp:txXfrm>
        <a:off x="2738629" y="3870141"/>
        <a:ext cx="918543" cy="921126"/>
      </dsp:txXfrm>
    </dsp:sp>
    <dsp:sp modelId="{922B9DDB-C703-4D19-B073-B24504A9C94F}">
      <dsp:nvSpPr>
        <dsp:cNvPr id="0" name=""/>
        <dsp:cNvSpPr/>
      </dsp:nvSpPr>
      <dsp:spPr>
        <a:xfrm rot="14850000">
          <a:off x="2734473" y="3326361"/>
          <a:ext cx="252031" cy="379516"/>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nl-NL" sz="1100" kern="1200"/>
        </a:p>
      </dsp:txBody>
      <dsp:txXfrm rot="10800000">
        <a:off x="2786745" y="3437191"/>
        <a:ext cx="176422" cy="227710"/>
      </dsp:txXfrm>
    </dsp:sp>
    <dsp:sp modelId="{0997AD0A-3B62-4681-8B89-75168713E264}">
      <dsp:nvSpPr>
        <dsp:cNvPr id="0" name=""/>
        <dsp:cNvSpPr/>
      </dsp:nvSpPr>
      <dsp:spPr>
        <a:xfrm>
          <a:off x="1989360" y="2208167"/>
          <a:ext cx="1124494" cy="1124494"/>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nl-NL" sz="1300" b="1" kern="1200" dirty="0"/>
            <a:t>Publish the Reports </a:t>
          </a:r>
        </a:p>
      </dsp:txBody>
      <dsp:txXfrm>
        <a:off x="2154038" y="2372845"/>
        <a:ext cx="795138" cy="795138"/>
      </dsp:txXfrm>
    </dsp:sp>
    <dsp:sp modelId="{3969CC58-05F9-4822-A7DA-A4ED5DD306FE}">
      <dsp:nvSpPr>
        <dsp:cNvPr id="0" name=""/>
        <dsp:cNvSpPr/>
      </dsp:nvSpPr>
      <dsp:spPr>
        <a:xfrm rot="17550000">
          <a:off x="2721962" y="1808332"/>
          <a:ext cx="299106" cy="379516"/>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nl-NL" sz="1100" kern="1200"/>
        </a:p>
      </dsp:txBody>
      <dsp:txXfrm>
        <a:off x="2749659" y="1925686"/>
        <a:ext cx="209374" cy="227710"/>
      </dsp:txXfrm>
    </dsp:sp>
    <dsp:sp modelId="{8FDE9D1A-3B18-4D63-B23F-88950D63028B}">
      <dsp:nvSpPr>
        <dsp:cNvPr id="0" name=""/>
        <dsp:cNvSpPr/>
      </dsp:nvSpPr>
      <dsp:spPr>
        <a:xfrm>
          <a:off x="2635654" y="647877"/>
          <a:ext cx="1124494" cy="1124494"/>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nl-NL" sz="1300" b="1" kern="1200" dirty="0"/>
            <a:t>Update the Docs </a:t>
          </a:r>
        </a:p>
      </dsp:txBody>
      <dsp:txXfrm>
        <a:off x="2800332" y="812555"/>
        <a:ext cx="795138" cy="795138"/>
      </dsp:txXfrm>
    </dsp:sp>
    <dsp:sp modelId="{F2D23A5B-287F-463B-B90D-7BC71BF37694}">
      <dsp:nvSpPr>
        <dsp:cNvPr id="0" name=""/>
        <dsp:cNvSpPr/>
      </dsp:nvSpPr>
      <dsp:spPr>
        <a:xfrm rot="20250000">
          <a:off x="3820672" y="700459"/>
          <a:ext cx="299106" cy="379516"/>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nl-NL" sz="1100" kern="1200"/>
        </a:p>
      </dsp:txBody>
      <dsp:txXfrm>
        <a:off x="3824087" y="793531"/>
        <a:ext cx="209374" cy="22771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61643B-28C4-420F-BCC7-B36560842276}">
      <dsp:nvSpPr>
        <dsp:cNvPr id="0" name=""/>
        <dsp:cNvSpPr/>
      </dsp:nvSpPr>
      <dsp:spPr>
        <a:xfrm>
          <a:off x="2577" y="1510495"/>
          <a:ext cx="1241983" cy="1047644"/>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nl-NL" sz="1600" kern="1200" dirty="0"/>
            <a:t>Source Code </a:t>
          </a:r>
        </a:p>
      </dsp:txBody>
      <dsp:txXfrm>
        <a:off x="33261" y="1541179"/>
        <a:ext cx="1180615" cy="986276"/>
      </dsp:txXfrm>
    </dsp:sp>
    <dsp:sp modelId="{C530C862-689E-4F61-A86F-56BB473C94D3}">
      <dsp:nvSpPr>
        <dsp:cNvPr id="0" name=""/>
        <dsp:cNvSpPr/>
      </dsp:nvSpPr>
      <dsp:spPr>
        <a:xfrm>
          <a:off x="126775" y="2558139"/>
          <a:ext cx="124198" cy="727932"/>
        </a:xfrm>
        <a:custGeom>
          <a:avLst/>
          <a:gdLst/>
          <a:ahLst/>
          <a:cxnLst/>
          <a:rect l="0" t="0" r="0" b="0"/>
          <a:pathLst>
            <a:path>
              <a:moveTo>
                <a:pt x="0" y="0"/>
              </a:moveTo>
              <a:lnTo>
                <a:pt x="0" y="727932"/>
              </a:lnTo>
              <a:lnTo>
                <a:pt x="124198" y="727932"/>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BDF4843-B4F0-4EC8-8366-9C4FF0A17A96}">
      <dsp:nvSpPr>
        <dsp:cNvPr id="0" name=""/>
        <dsp:cNvSpPr/>
      </dsp:nvSpPr>
      <dsp:spPr>
        <a:xfrm>
          <a:off x="250973" y="2713387"/>
          <a:ext cx="993586" cy="1145369"/>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nl-NL" sz="1600" kern="1200" dirty="0"/>
            <a:t>GitHub, Bitbucket</a:t>
          </a:r>
        </a:p>
      </dsp:txBody>
      <dsp:txXfrm>
        <a:off x="280074" y="2742488"/>
        <a:ext cx="935384" cy="1087167"/>
      </dsp:txXfrm>
    </dsp:sp>
    <dsp:sp modelId="{2F145268-403F-42C4-BB18-4A65691BF136}">
      <dsp:nvSpPr>
        <dsp:cNvPr id="0" name=""/>
        <dsp:cNvSpPr/>
      </dsp:nvSpPr>
      <dsp:spPr>
        <a:xfrm>
          <a:off x="1555056" y="1510495"/>
          <a:ext cx="1241983" cy="1066211"/>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nl-NL" sz="1600" kern="1200" dirty="0"/>
            <a:t>Build</a:t>
          </a:r>
          <a:r>
            <a:rPr lang="nl-NL" sz="1100" kern="1200" dirty="0"/>
            <a:t> </a:t>
          </a:r>
        </a:p>
      </dsp:txBody>
      <dsp:txXfrm>
        <a:off x="1586284" y="1541723"/>
        <a:ext cx="1179527" cy="1003755"/>
      </dsp:txXfrm>
    </dsp:sp>
    <dsp:sp modelId="{7EE1EBE7-3987-4CC3-9FE6-8461A8808B3E}">
      <dsp:nvSpPr>
        <dsp:cNvPr id="0" name=""/>
        <dsp:cNvSpPr/>
      </dsp:nvSpPr>
      <dsp:spPr>
        <a:xfrm>
          <a:off x="1679254" y="2576707"/>
          <a:ext cx="124198" cy="697454"/>
        </a:xfrm>
        <a:custGeom>
          <a:avLst/>
          <a:gdLst/>
          <a:ahLst/>
          <a:cxnLst/>
          <a:rect l="0" t="0" r="0" b="0"/>
          <a:pathLst>
            <a:path>
              <a:moveTo>
                <a:pt x="0" y="0"/>
              </a:moveTo>
              <a:lnTo>
                <a:pt x="0" y="697454"/>
              </a:lnTo>
              <a:lnTo>
                <a:pt x="124198" y="697454"/>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2C4992F-F28F-46A0-8B26-4A3A5EB2F252}">
      <dsp:nvSpPr>
        <dsp:cNvPr id="0" name=""/>
        <dsp:cNvSpPr/>
      </dsp:nvSpPr>
      <dsp:spPr>
        <a:xfrm>
          <a:off x="1803453" y="2731955"/>
          <a:ext cx="1083824" cy="1084413"/>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nl-NL" sz="1600" kern="1200" dirty="0"/>
            <a:t>Bamboo, jenkins.</a:t>
          </a:r>
        </a:p>
      </dsp:txBody>
      <dsp:txXfrm>
        <a:off x="1835197" y="2763699"/>
        <a:ext cx="1020336" cy="1020925"/>
      </dsp:txXfrm>
    </dsp:sp>
    <dsp:sp modelId="{6D08E2B6-BE93-4DFD-88FD-5F0987B52E69}">
      <dsp:nvSpPr>
        <dsp:cNvPr id="0" name=""/>
        <dsp:cNvSpPr/>
      </dsp:nvSpPr>
      <dsp:spPr>
        <a:xfrm>
          <a:off x="3107535" y="1510495"/>
          <a:ext cx="1241983" cy="1066211"/>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nl-NL" sz="1600" kern="1200" dirty="0"/>
            <a:t>Code quality analysis and Unit testing </a:t>
          </a:r>
        </a:p>
      </dsp:txBody>
      <dsp:txXfrm>
        <a:off x="3138763" y="1541723"/>
        <a:ext cx="1179527" cy="1003755"/>
      </dsp:txXfrm>
    </dsp:sp>
    <dsp:sp modelId="{946A9B53-6303-4203-BFF9-30E754873D29}">
      <dsp:nvSpPr>
        <dsp:cNvPr id="0" name=""/>
        <dsp:cNvSpPr/>
      </dsp:nvSpPr>
      <dsp:spPr>
        <a:xfrm>
          <a:off x="3231734" y="2576707"/>
          <a:ext cx="124198" cy="708054"/>
        </a:xfrm>
        <a:custGeom>
          <a:avLst/>
          <a:gdLst/>
          <a:ahLst/>
          <a:cxnLst/>
          <a:rect l="0" t="0" r="0" b="0"/>
          <a:pathLst>
            <a:path>
              <a:moveTo>
                <a:pt x="0" y="0"/>
              </a:moveTo>
              <a:lnTo>
                <a:pt x="0" y="708054"/>
              </a:lnTo>
              <a:lnTo>
                <a:pt x="124198" y="708054"/>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A499DA1-8F1C-4ED6-B7BB-CAED285271CA}">
      <dsp:nvSpPr>
        <dsp:cNvPr id="0" name=""/>
        <dsp:cNvSpPr/>
      </dsp:nvSpPr>
      <dsp:spPr>
        <a:xfrm>
          <a:off x="3355932" y="2731955"/>
          <a:ext cx="1178910" cy="1105613"/>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nl-NL" sz="1600" kern="1200" dirty="0"/>
            <a:t>Jslint,Sonar, apifortress</a:t>
          </a:r>
        </a:p>
      </dsp:txBody>
      <dsp:txXfrm>
        <a:off x="3388314" y="2764337"/>
        <a:ext cx="1114146" cy="1040849"/>
      </dsp:txXfrm>
    </dsp:sp>
    <dsp:sp modelId="{D11C7A08-B721-4CCD-A7EE-1A923E109D18}">
      <dsp:nvSpPr>
        <dsp:cNvPr id="0" name=""/>
        <dsp:cNvSpPr/>
      </dsp:nvSpPr>
      <dsp:spPr>
        <a:xfrm>
          <a:off x="4660015" y="1510495"/>
          <a:ext cx="1241983" cy="1045017"/>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nl-NL" sz="1600" kern="1200" dirty="0"/>
            <a:t>Deploy API Proxy </a:t>
          </a:r>
        </a:p>
      </dsp:txBody>
      <dsp:txXfrm>
        <a:off x="4690623" y="1541103"/>
        <a:ext cx="1180767" cy="983801"/>
      </dsp:txXfrm>
    </dsp:sp>
    <dsp:sp modelId="{D050225E-0827-4FBA-8C0E-E7C834C6F5B2}">
      <dsp:nvSpPr>
        <dsp:cNvPr id="0" name=""/>
        <dsp:cNvSpPr/>
      </dsp:nvSpPr>
      <dsp:spPr>
        <a:xfrm>
          <a:off x="4784213" y="2555512"/>
          <a:ext cx="124198" cy="729246"/>
        </a:xfrm>
        <a:custGeom>
          <a:avLst/>
          <a:gdLst/>
          <a:ahLst/>
          <a:cxnLst/>
          <a:rect l="0" t="0" r="0" b="0"/>
          <a:pathLst>
            <a:path>
              <a:moveTo>
                <a:pt x="0" y="0"/>
              </a:moveTo>
              <a:lnTo>
                <a:pt x="0" y="729246"/>
              </a:lnTo>
              <a:lnTo>
                <a:pt x="124198" y="729246"/>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09D2783-8C9C-4614-B320-AFDE73A3EF7B}">
      <dsp:nvSpPr>
        <dsp:cNvPr id="0" name=""/>
        <dsp:cNvSpPr/>
      </dsp:nvSpPr>
      <dsp:spPr>
        <a:xfrm>
          <a:off x="4908412" y="2710760"/>
          <a:ext cx="993586" cy="1147996"/>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nl-NL" sz="1600" kern="1200" dirty="0"/>
            <a:t>Xl Deploy, jenkins</a:t>
          </a:r>
        </a:p>
      </dsp:txBody>
      <dsp:txXfrm>
        <a:off x="4937513" y="2739861"/>
        <a:ext cx="935384" cy="1089794"/>
      </dsp:txXfrm>
    </dsp:sp>
    <dsp:sp modelId="{968F3ACD-816D-4215-8FE3-24697294ECEA}">
      <dsp:nvSpPr>
        <dsp:cNvPr id="0" name=""/>
        <dsp:cNvSpPr/>
      </dsp:nvSpPr>
      <dsp:spPr>
        <a:xfrm>
          <a:off x="6212494" y="1510495"/>
          <a:ext cx="1241983" cy="986824"/>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nl-NL" sz="1600" kern="1200" dirty="0"/>
            <a:t>Functional test &amp; Performace Test.</a:t>
          </a:r>
        </a:p>
      </dsp:txBody>
      <dsp:txXfrm>
        <a:off x="6241397" y="1539398"/>
        <a:ext cx="1184177" cy="929018"/>
      </dsp:txXfrm>
    </dsp:sp>
    <dsp:sp modelId="{31E6D1DB-24D1-4389-BF2C-24EE6A3A6E53}">
      <dsp:nvSpPr>
        <dsp:cNvPr id="0" name=""/>
        <dsp:cNvSpPr/>
      </dsp:nvSpPr>
      <dsp:spPr>
        <a:xfrm>
          <a:off x="6336693" y="2497319"/>
          <a:ext cx="124198" cy="747745"/>
        </a:xfrm>
        <a:custGeom>
          <a:avLst/>
          <a:gdLst/>
          <a:ahLst/>
          <a:cxnLst/>
          <a:rect l="0" t="0" r="0" b="0"/>
          <a:pathLst>
            <a:path>
              <a:moveTo>
                <a:pt x="0" y="0"/>
              </a:moveTo>
              <a:lnTo>
                <a:pt x="0" y="747745"/>
              </a:lnTo>
              <a:lnTo>
                <a:pt x="124198" y="747745"/>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A693EC-7BE2-4D7A-BF36-9994B63C91FC}">
      <dsp:nvSpPr>
        <dsp:cNvPr id="0" name=""/>
        <dsp:cNvSpPr/>
      </dsp:nvSpPr>
      <dsp:spPr>
        <a:xfrm>
          <a:off x="6460891" y="2652567"/>
          <a:ext cx="1120746" cy="1184995"/>
        </a:xfrm>
        <a:prstGeom prst="roundRect">
          <a:avLst>
            <a:gd name="adj" fmla="val 10000"/>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nl-NL" sz="1600" kern="1200" dirty="0"/>
            <a:t>Postman, Gatling </a:t>
          </a:r>
          <a:r>
            <a:rPr lang="nl-NL" sz="1200" kern="1200" dirty="0"/>
            <a:t>	</a:t>
          </a:r>
        </a:p>
      </dsp:txBody>
      <dsp:txXfrm>
        <a:off x="6493717" y="2685393"/>
        <a:ext cx="1055094" cy="1119343"/>
      </dsp:txXfrm>
    </dsp:sp>
    <dsp:sp modelId="{14F86B9E-0F0F-492C-AE76-AA73A060BCB6}">
      <dsp:nvSpPr>
        <dsp:cNvPr id="0" name=""/>
        <dsp:cNvSpPr/>
      </dsp:nvSpPr>
      <dsp:spPr>
        <a:xfrm>
          <a:off x="7764974" y="1510495"/>
          <a:ext cx="1241983" cy="981434"/>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nl-NL" sz="1600" kern="1200" dirty="0"/>
            <a:t>Update Docs </a:t>
          </a:r>
        </a:p>
      </dsp:txBody>
      <dsp:txXfrm>
        <a:off x="7793719" y="1539240"/>
        <a:ext cx="1184493" cy="923944"/>
      </dsp:txXfrm>
    </dsp:sp>
    <dsp:sp modelId="{D4A09E80-0FA3-4892-B56A-01F57F69F26F}">
      <dsp:nvSpPr>
        <dsp:cNvPr id="0" name=""/>
        <dsp:cNvSpPr/>
      </dsp:nvSpPr>
      <dsp:spPr>
        <a:xfrm>
          <a:off x="7889172" y="2491929"/>
          <a:ext cx="124198" cy="759882"/>
        </a:xfrm>
        <a:custGeom>
          <a:avLst/>
          <a:gdLst/>
          <a:ahLst/>
          <a:cxnLst/>
          <a:rect l="0" t="0" r="0" b="0"/>
          <a:pathLst>
            <a:path>
              <a:moveTo>
                <a:pt x="0" y="0"/>
              </a:moveTo>
              <a:lnTo>
                <a:pt x="0" y="759882"/>
              </a:lnTo>
              <a:lnTo>
                <a:pt x="124198" y="759882"/>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DD68E04-34FD-4A50-8B6C-89DBC0C85C7F}">
      <dsp:nvSpPr>
        <dsp:cNvPr id="0" name=""/>
        <dsp:cNvSpPr/>
      </dsp:nvSpPr>
      <dsp:spPr>
        <a:xfrm>
          <a:off x="8013371" y="2647177"/>
          <a:ext cx="1250289" cy="1209269"/>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nl-NL" sz="1600" kern="1200" dirty="0"/>
            <a:t>Developer portal, Confluence </a:t>
          </a:r>
        </a:p>
      </dsp:txBody>
      <dsp:txXfrm>
        <a:off x="8048789" y="2682595"/>
        <a:ext cx="1179453" cy="1138433"/>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E9707E-F250-4DAB-8EE0-9383BA98F2E8}">
      <dsp:nvSpPr>
        <dsp:cNvPr id="0" name=""/>
        <dsp:cNvSpPr/>
      </dsp:nvSpPr>
      <dsp:spPr>
        <a:xfrm>
          <a:off x="707605" y="0"/>
          <a:ext cx="8019528" cy="5040313"/>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A8784C7-DFC8-4F4C-BB3C-E62D28935166}">
      <dsp:nvSpPr>
        <dsp:cNvPr id="0" name=""/>
        <dsp:cNvSpPr/>
      </dsp:nvSpPr>
      <dsp:spPr>
        <a:xfrm>
          <a:off x="115" y="1271590"/>
          <a:ext cx="1380659" cy="2497132"/>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Build an API Proxy bundle and pushed into GitHub or another version control system</a:t>
          </a:r>
          <a:r>
            <a:rPr lang="en-US" sz="1200" kern="1200" dirty="0"/>
            <a:t>.</a:t>
          </a:r>
          <a:endParaRPr lang="nl-NL" sz="1200" kern="1200" dirty="0"/>
        </a:p>
      </dsp:txBody>
      <dsp:txXfrm>
        <a:off x="67513" y="1338988"/>
        <a:ext cx="1245863" cy="2362336"/>
      </dsp:txXfrm>
    </dsp:sp>
    <dsp:sp modelId="{8F98BC8B-4ED7-4B67-B49D-660D42700524}">
      <dsp:nvSpPr>
        <dsp:cNvPr id="0" name=""/>
        <dsp:cNvSpPr/>
      </dsp:nvSpPr>
      <dsp:spPr>
        <a:xfrm>
          <a:off x="1610884" y="1319443"/>
          <a:ext cx="1380659" cy="2401426"/>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An automatic build pipeline will be triggered by Bamboo or Jenkins can be used.</a:t>
          </a:r>
          <a:endParaRPr lang="nl-NL" sz="1400" kern="1200" dirty="0"/>
        </a:p>
      </dsp:txBody>
      <dsp:txXfrm>
        <a:off x="1678282" y="1386841"/>
        <a:ext cx="1245863" cy="2266630"/>
      </dsp:txXfrm>
    </dsp:sp>
    <dsp:sp modelId="{AF10A011-EAF5-47A9-A995-60E1A32006C7}">
      <dsp:nvSpPr>
        <dsp:cNvPr id="0" name=""/>
        <dsp:cNvSpPr/>
      </dsp:nvSpPr>
      <dsp:spPr>
        <a:xfrm>
          <a:off x="3221654" y="1254120"/>
          <a:ext cx="1380659" cy="2532071"/>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tatic Code Analysis and unit test Jobs should be part of build pipeline tools like sonar, </a:t>
          </a:r>
          <a:r>
            <a:rPr lang="en-US" sz="1400" kern="1200" dirty="0" err="1"/>
            <a:t>apifortress</a:t>
          </a:r>
          <a:r>
            <a:rPr lang="en-US" sz="1400" kern="1200" dirty="0"/>
            <a:t> can be used</a:t>
          </a:r>
          <a:r>
            <a:rPr lang="en-US" sz="1200" kern="1200" dirty="0"/>
            <a:t>.</a:t>
          </a:r>
          <a:endParaRPr lang="nl-NL" sz="1200" kern="1200" dirty="0"/>
        </a:p>
      </dsp:txBody>
      <dsp:txXfrm>
        <a:off x="3289052" y="1321518"/>
        <a:ext cx="1245863" cy="2397275"/>
      </dsp:txXfrm>
    </dsp:sp>
    <dsp:sp modelId="{ABB76825-646D-4CB7-9DA9-68E6BFBAB311}">
      <dsp:nvSpPr>
        <dsp:cNvPr id="0" name=""/>
        <dsp:cNvSpPr/>
      </dsp:nvSpPr>
      <dsp:spPr>
        <a:xfrm>
          <a:off x="4832424" y="1217154"/>
          <a:ext cx="1380659" cy="2606003"/>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Deploy artifacts i.e. API Proxy in respective environments like test, QA and prod. Tool wise Xl deploy and Jenkins can be good options.</a:t>
          </a:r>
          <a:endParaRPr lang="nl-NL" sz="1400" kern="1200" dirty="0"/>
        </a:p>
      </dsp:txBody>
      <dsp:txXfrm>
        <a:off x="4899822" y="1284552"/>
        <a:ext cx="1245863" cy="2471207"/>
      </dsp:txXfrm>
    </dsp:sp>
    <dsp:sp modelId="{97F7C0C3-BB88-4D13-B26C-9261EDEDEAA3}">
      <dsp:nvSpPr>
        <dsp:cNvPr id="0" name=""/>
        <dsp:cNvSpPr/>
      </dsp:nvSpPr>
      <dsp:spPr>
        <a:xfrm>
          <a:off x="6443194" y="1297668"/>
          <a:ext cx="1380659" cy="2444975"/>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Functional test and Performance Test can be performed with postman and Gatling respectively.</a:t>
          </a:r>
          <a:endParaRPr lang="nl-NL" sz="1400" kern="1200" dirty="0"/>
        </a:p>
      </dsp:txBody>
      <dsp:txXfrm>
        <a:off x="6510592" y="1365066"/>
        <a:ext cx="1245863" cy="2310179"/>
      </dsp:txXfrm>
    </dsp:sp>
    <dsp:sp modelId="{1DD4016A-303E-4CBA-AC9F-FA265855B8FD}">
      <dsp:nvSpPr>
        <dsp:cNvPr id="0" name=""/>
        <dsp:cNvSpPr/>
      </dsp:nvSpPr>
      <dsp:spPr>
        <a:xfrm>
          <a:off x="8053964" y="1286781"/>
          <a:ext cx="1380659" cy="246674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At the last step, we should update the documents in developer portal and if there any other documentation like confluence</a:t>
          </a:r>
          <a:r>
            <a:rPr lang="en-US" sz="1200" kern="1200" dirty="0"/>
            <a:t>.</a:t>
          </a:r>
          <a:endParaRPr lang="nl-NL" sz="1200" kern="1200" dirty="0"/>
        </a:p>
      </dsp:txBody>
      <dsp:txXfrm>
        <a:off x="8121362" y="1354179"/>
        <a:ext cx="1245863" cy="23319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AFF1EE-6905-486A-842D-29F4517C02B7}">
      <dsp:nvSpPr>
        <dsp:cNvPr id="0" name=""/>
        <dsp:cNvSpPr/>
      </dsp:nvSpPr>
      <dsp:spPr>
        <a:xfrm>
          <a:off x="0" y="384202"/>
          <a:ext cx="5396909" cy="359774"/>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nl-NL" sz="1500" kern="1200" dirty="0"/>
            <a:t>Increased productivity - 58%</a:t>
          </a:r>
        </a:p>
      </dsp:txBody>
      <dsp:txXfrm>
        <a:off x="17563" y="401765"/>
        <a:ext cx="5361783" cy="324648"/>
      </dsp:txXfrm>
    </dsp:sp>
    <dsp:sp modelId="{F82F1997-0E49-455A-9122-2DBFD67D256C}">
      <dsp:nvSpPr>
        <dsp:cNvPr id="0" name=""/>
        <dsp:cNvSpPr/>
      </dsp:nvSpPr>
      <dsp:spPr>
        <a:xfrm>
          <a:off x="0" y="787177"/>
          <a:ext cx="5396909" cy="359774"/>
        </a:xfrm>
        <a:prstGeom prst="roundRect">
          <a:avLst/>
        </a:prstGeom>
        <a:solidFill>
          <a:schemeClr val="accent5">
            <a:hueOff val="724282"/>
            <a:satOff val="3506"/>
            <a:lumOff val="-21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nl-NL" sz="1500" kern="1200"/>
            <a:t>Increased innovation - 48%</a:t>
          </a:r>
        </a:p>
      </dsp:txBody>
      <dsp:txXfrm>
        <a:off x="17563" y="804740"/>
        <a:ext cx="5361783" cy="324648"/>
      </dsp:txXfrm>
    </dsp:sp>
    <dsp:sp modelId="{2EE52509-836E-440C-8EB0-30F13AACBFB9}">
      <dsp:nvSpPr>
        <dsp:cNvPr id="0" name=""/>
        <dsp:cNvSpPr/>
      </dsp:nvSpPr>
      <dsp:spPr>
        <a:xfrm>
          <a:off x="0" y="1190152"/>
          <a:ext cx="5396909" cy="359774"/>
        </a:xfrm>
        <a:prstGeom prst="roundRect">
          <a:avLst/>
        </a:prstGeom>
        <a:solidFill>
          <a:schemeClr val="accent5">
            <a:hueOff val="1448563"/>
            <a:satOff val="7012"/>
            <a:lumOff val="-436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nl-NL" sz="1500" kern="1200" dirty="0"/>
            <a:t>Increased employee engagement - 43%</a:t>
          </a:r>
        </a:p>
      </dsp:txBody>
      <dsp:txXfrm>
        <a:off x="17563" y="1207715"/>
        <a:ext cx="5361783" cy="324648"/>
      </dsp:txXfrm>
    </dsp:sp>
    <dsp:sp modelId="{A40DAE02-D923-4431-A27A-EA1C38E7CF1C}">
      <dsp:nvSpPr>
        <dsp:cNvPr id="0" name=""/>
        <dsp:cNvSpPr/>
      </dsp:nvSpPr>
      <dsp:spPr>
        <a:xfrm>
          <a:off x="0" y="1593127"/>
          <a:ext cx="5396909" cy="359774"/>
        </a:xfrm>
        <a:prstGeom prst="roundRect">
          <a:avLst/>
        </a:prstGeom>
        <a:solidFill>
          <a:schemeClr val="accent5">
            <a:hueOff val="2172845"/>
            <a:satOff val="10518"/>
            <a:lumOff val="-65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a:t>Increased speed in meeting LoB demands - </a:t>
          </a:r>
          <a:r>
            <a:rPr lang="nl-NL" sz="1500" kern="1200"/>
            <a:t>35%</a:t>
          </a:r>
        </a:p>
      </dsp:txBody>
      <dsp:txXfrm>
        <a:off x="17563" y="1610690"/>
        <a:ext cx="5361783" cy="324648"/>
      </dsp:txXfrm>
    </dsp:sp>
    <dsp:sp modelId="{322BA31C-8F82-4B94-9760-42FC4CBC553E}">
      <dsp:nvSpPr>
        <dsp:cNvPr id="0" name=""/>
        <dsp:cNvSpPr/>
      </dsp:nvSpPr>
      <dsp:spPr>
        <a:xfrm>
          <a:off x="0" y="1996102"/>
          <a:ext cx="5396909" cy="359774"/>
        </a:xfrm>
        <a:prstGeom prst="roundRect">
          <a:avLst/>
        </a:prstGeom>
        <a:solidFill>
          <a:schemeClr val="accent5">
            <a:hueOff val="2897126"/>
            <a:satOff val="14024"/>
            <a:lumOff val="-872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a:t>Greater agility across teams to self-serve IT - 35</a:t>
          </a:r>
          <a:endParaRPr lang="nl-NL" sz="1500" kern="1200"/>
        </a:p>
      </dsp:txBody>
      <dsp:txXfrm>
        <a:off x="17563" y="2013665"/>
        <a:ext cx="5361783" cy="324648"/>
      </dsp:txXfrm>
    </dsp:sp>
    <dsp:sp modelId="{792B5BC1-997A-4BEC-944C-54A03B5FDEEC}">
      <dsp:nvSpPr>
        <dsp:cNvPr id="0" name=""/>
        <dsp:cNvSpPr/>
      </dsp:nvSpPr>
      <dsp:spPr>
        <a:xfrm>
          <a:off x="0" y="2399077"/>
          <a:ext cx="5396909" cy="359774"/>
        </a:xfrm>
        <a:prstGeom prst="roundRect">
          <a:avLst/>
        </a:prstGeom>
        <a:solidFill>
          <a:schemeClr val="accent5">
            <a:hueOff val="3621408"/>
            <a:satOff val="17530"/>
            <a:lumOff val="-109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nl-NL" sz="1500" kern="1200"/>
            <a:t>Decreased operational costs – 34%</a:t>
          </a:r>
        </a:p>
      </dsp:txBody>
      <dsp:txXfrm>
        <a:off x="17563" y="2416640"/>
        <a:ext cx="5361783" cy="324648"/>
      </dsp:txXfrm>
    </dsp:sp>
    <dsp:sp modelId="{819113BF-FC09-41E3-83B8-7F819F2DC199}">
      <dsp:nvSpPr>
        <dsp:cNvPr id="0" name=""/>
        <dsp:cNvSpPr/>
      </dsp:nvSpPr>
      <dsp:spPr>
        <a:xfrm>
          <a:off x="0" y="2802052"/>
          <a:ext cx="5396909" cy="359774"/>
        </a:xfrm>
        <a:prstGeom prst="roundRect">
          <a:avLst/>
        </a:prstGeom>
        <a:solidFill>
          <a:schemeClr val="accent5">
            <a:hueOff val="4345690"/>
            <a:satOff val="21036"/>
            <a:lumOff val="-130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a:t>Experienced revenue growth as a direct result- 31%</a:t>
          </a:r>
          <a:endParaRPr lang="nl-NL" sz="1500" kern="1200"/>
        </a:p>
      </dsp:txBody>
      <dsp:txXfrm>
        <a:off x="17563" y="2819615"/>
        <a:ext cx="5361783" cy="324648"/>
      </dsp:txXfrm>
    </dsp:sp>
    <dsp:sp modelId="{7B120D37-9A81-4778-89F9-54F8C72FC000}">
      <dsp:nvSpPr>
        <dsp:cNvPr id="0" name=""/>
        <dsp:cNvSpPr/>
      </dsp:nvSpPr>
      <dsp:spPr>
        <a:xfrm>
          <a:off x="0" y="3205027"/>
          <a:ext cx="5396909" cy="359774"/>
        </a:xfrm>
        <a:prstGeom prst="roundRect">
          <a:avLst/>
        </a:prstGeom>
        <a:solidFill>
          <a:schemeClr val="accent5">
            <a:hueOff val="5069971"/>
            <a:satOff val="24542"/>
            <a:lumOff val="-152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nl-NL" sz="1500" kern="1200"/>
            <a:t>Too early to say – 7 %</a:t>
          </a:r>
        </a:p>
      </dsp:txBody>
      <dsp:txXfrm>
        <a:off x="17563" y="3222590"/>
        <a:ext cx="5361783" cy="324648"/>
      </dsp:txXfrm>
    </dsp:sp>
    <dsp:sp modelId="{ABB8F2D8-95AA-442E-952C-4F8D69BF1A92}">
      <dsp:nvSpPr>
        <dsp:cNvPr id="0" name=""/>
        <dsp:cNvSpPr/>
      </dsp:nvSpPr>
      <dsp:spPr>
        <a:xfrm>
          <a:off x="0" y="3608002"/>
          <a:ext cx="5396909" cy="359774"/>
        </a:xfrm>
        <a:prstGeom prst="roundRect">
          <a:avLst/>
        </a:prstGeom>
        <a:solidFill>
          <a:schemeClr val="accent5">
            <a:hueOff val="5794253"/>
            <a:satOff val="28048"/>
            <a:lumOff val="-1744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nl-NL" sz="1500" kern="1200"/>
            <a:t>None of these - 1%</a:t>
          </a:r>
        </a:p>
      </dsp:txBody>
      <dsp:txXfrm>
        <a:off x="17563" y="3625565"/>
        <a:ext cx="5361783" cy="32464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AA0FB6-8DDB-4EE9-9789-27853EDB5155}">
      <dsp:nvSpPr>
        <dsp:cNvPr id="0" name=""/>
        <dsp:cNvSpPr/>
      </dsp:nvSpPr>
      <dsp:spPr>
        <a:xfrm>
          <a:off x="2634" y="0"/>
          <a:ext cx="5389691" cy="743987"/>
        </a:xfrm>
        <a:prstGeom prst="roundRect">
          <a:avLst>
            <a:gd name="adj" fmla="val 10000"/>
          </a:avLst>
        </a:prstGeom>
        <a:solidFill>
          <a:schemeClr val="accent5">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What business results has your organization realized from leveraging APIs?</a:t>
          </a:r>
          <a:endParaRPr lang="nl-NL" sz="1600" kern="1200" dirty="0"/>
        </a:p>
      </dsp:txBody>
      <dsp:txXfrm>
        <a:off x="24425" y="21791"/>
        <a:ext cx="5346109" cy="70040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141EB4-91E0-449F-9E3F-4DFFA1C1529C}">
      <dsp:nvSpPr>
        <dsp:cNvPr id="0" name=""/>
        <dsp:cNvSpPr/>
      </dsp:nvSpPr>
      <dsp:spPr>
        <a:xfrm>
          <a:off x="2634" y="0"/>
          <a:ext cx="5389691" cy="74398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What percentage of your organization's revenue is generated from APIs</a:t>
          </a:r>
          <a:r>
            <a:rPr lang="nl-NL" sz="1400" b="1" kern="1200" dirty="0"/>
            <a:t>and API-related implementations?</a:t>
          </a:r>
          <a:endParaRPr lang="nl-NL" sz="1400" kern="1200" dirty="0"/>
        </a:p>
      </dsp:txBody>
      <dsp:txXfrm>
        <a:off x="24425" y="21791"/>
        <a:ext cx="5346109" cy="70040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6C8160-7A99-4F6A-9DE7-A4507E7320AE}">
      <dsp:nvSpPr>
        <dsp:cNvPr id="0" name=""/>
        <dsp:cNvSpPr/>
      </dsp:nvSpPr>
      <dsp:spPr>
        <a:xfrm>
          <a:off x="0" y="79498"/>
          <a:ext cx="5394960" cy="45571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nl-NL" sz="1900" kern="1200"/>
            <a:t>0% of revenue -  10%</a:t>
          </a:r>
        </a:p>
      </dsp:txBody>
      <dsp:txXfrm>
        <a:off x="22246" y="101744"/>
        <a:ext cx="5350468" cy="411223"/>
      </dsp:txXfrm>
    </dsp:sp>
    <dsp:sp modelId="{0819C2D7-F26C-4519-9623-A44798678D6C}">
      <dsp:nvSpPr>
        <dsp:cNvPr id="0" name=""/>
        <dsp:cNvSpPr/>
      </dsp:nvSpPr>
      <dsp:spPr>
        <a:xfrm>
          <a:off x="0" y="589933"/>
          <a:ext cx="5394960" cy="455715"/>
        </a:xfrm>
        <a:prstGeom prst="roundRect">
          <a:avLst/>
        </a:prstGeom>
        <a:solidFill>
          <a:schemeClr val="accent2">
            <a:hueOff val="839231"/>
            <a:satOff val="-2229"/>
            <a:lumOff val="-40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nl-NL" sz="1900" kern="1200"/>
            <a:t>1-10% of revenue – 15%</a:t>
          </a:r>
        </a:p>
      </dsp:txBody>
      <dsp:txXfrm>
        <a:off x="22246" y="612179"/>
        <a:ext cx="5350468" cy="411223"/>
      </dsp:txXfrm>
    </dsp:sp>
    <dsp:sp modelId="{172994F9-14EF-4FB1-A345-E4B16C82B4AE}">
      <dsp:nvSpPr>
        <dsp:cNvPr id="0" name=""/>
        <dsp:cNvSpPr/>
      </dsp:nvSpPr>
      <dsp:spPr>
        <a:xfrm>
          <a:off x="0" y="1100368"/>
          <a:ext cx="5394960" cy="455715"/>
        </a:xfrm>
        <a:prstGeom prst="roundRect">
          <a:avLst/>
        </a:prstGeom>
        <a:solidFill>
          <a:schemeClr val="accent2">
            <a:hueOff val="1678462"/>
            <a:satOff val="-4458"/>
            <a:lumOff val="-81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nl-NL" sz="1900" kern="1200"/>
            <a:t>11-25% of revenue – 35%</a:t>
          </a:r>
        </a:p>
      </dsp:txBody>
      <dsp:txXfrm>
        <a:off x="22246" y="1122614"/>
        <a:ext cx="5350468" cy="411223"/>
      </dsp:txXfrm>
    </dsp:sp>
    <dsp:sp modelId="{3D589C47-727D-4563-9A21-B5C22F0CEC9E}">
      <dsp:nvSpPr>
        <dsp:cNvPr id="0" name=""/>
        <dsp:cNvSpPr/>
      </dsp:nvSpPr>
      <dsp:spPr>
        <a:xfrm>
          <a:off x="0" y="1610803"/>
          <a:ext cx="5394960" cy="455715"/>
        </a:xfrm>
        <a:prstGeom prst="roundRect">
          <a:avLst/>
        </a:prstGeom>
        <a:solidFill>
          <a:schemeClr val="accent2">
            <a:hueOff val="2517693"/>
            <a:satOff val="-6687"/>
            <a:lumOff val="-1225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nl-NL" sz="1900" kern="1200"/>
            <a:t>26-50% of revenue – 24 %</a:t>
          </a:r>
        </a:p>
      </dsp:txBody>
      <dsp:txXfrm>
        <a:off x="22246" y="1633049"/>
        <a:ext cx="5350468" cy="411223"/>
      </dsp:txXfrm>
    </dsp:sp>
    <dsp:sp modelId="{E350936B-DEB6-4AC5-BF5B-9D36F6B10F12}">
      <dsp:nvSpPr>
        <dsp:cNvPr id="0" name=""/>
        <dsp:cNvSpPr/>
      </dsp:nvSpPr>
      <dsp:spPr>
        <a:xfrm>
          <a:off x="0" y="2121238"/>
          <a:ext cx="5394960" cy="455715"/>
        </a:xfrm>
        <a:prstGeom prst="roundRect">
          <a:avLst/>
        </a:prstGeom>
        <a:solidFill>
          <a:schemeClr val="accent2">
            <a:hueOff val="3356925"/>
            <a:satOff val="-8916"/>
            <a:lumOff val="-163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nl-NL" sz="1900" kern="1200"/>
            <a:t>51-75% of revenue – 9%</a:t>
          </a:r>
        </a:p>
      </dsp:txBody>
      <dsp:txXfrm>
        <a:off x="22246" y="2143484"/>
        <a:ext cx="5350468" cy="411223"/>
      </dsp:txXfrm>
    </dsp:sp>
    <dsp:sp modelId="{C78451DF-C345-458A-8102-90FE782C0C8D}">
      <dsp:nvSpPr>
        <dsp:cNvPr id="0" name=""/>
        <dsp:cNvSpPr/>
      </dsp:nvSpPr>
      <dsp:spPr>
        <a:xfrm>
          <a:off x="0" y="2631673"/>
          <a:ext cx="5394960" cy="455715"/>
        </a:xfrm>
        <a:prstGeom prst="roundRect">
          <a:avLst/>
        </a:prstGeom>
        <a:solidFill>
          <a:schemeClr val="accent2">
            <a:hueOff val="4196155"/>
            <a:satOff val="-11145"/>
            <a:lumOff val="-2042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nl-NL" sz="1900" kern="1200"/>
            <a:t>76-100% of revenue – 2%</a:t>
          </a:r>
        </a:p>
      </dsp:txBody>
      <dsp:txXfrm>
        <a:off x="22246" y="2653919"/>
        <a:ext cx="5350468" cy="411223"/>
      </dsp:txXfrm>
    </dsp:sp>
    <dsp:sp modelId="{E9D5A228-C214-4BA9-B4C8-710A02167EDD}">
      <dsp:nvSpPr>
        <dsp:cNvPr id="0" name=""/>
        <dsp:cNvSpPr/>
      </dsp:nvSpPr>
      <dsp:spPr>
        <a:xfrm>
          <a:off x="0" y="3142107"/>
          <a:ext cx="5394960" cy="455715"/>
        </a:xfrm>
        <a:prstGeom prst="roundRect">
          <a:avLst/>
        </a:prstGeom>
        <a:solidFill>
          <a:schemeClr val="accent2">
            <a:hueOff val="5035387"/>
            <a:satOff val="-13374"/>
            <a:lumOff val="-245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nl-NL" sz="1900" kern="1200"/>
            <a:t>Don't know – 5%</a:t>
          </a:r>
        </a:p>
      </dsp:txBody>
      <dsp:txXfrm>
        <a:off x="22246" y="3164353"/>
        <a:ext cx="5350468" cy="41122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923B48-B328-4062-A590-61A926988A62}">
      <dsp:nvSpPr>
        <dsp:cNvPr id="0" name=""/>
        <dsp:cNvSpPr/>
      </dsp:nvSpPr>
      <dsp:spPr>
        <a:xfrm>
          <a:off x="0" y="888485"/>
          <a:ext cx="8636000" cy="2053350"/>
        </a:xfrm>
        <a:prstGeom prst="roundRect">
          <a:avLst/>
        </a:prstGeom>
        <a:solidFill>
          <a:srgbClr val="1EACD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API management is the process of creating and publishing web APIs, enforcing their usage policies, controlling access and Security, nurturing the subscriber community, collecting and analyzing usage statistics, and reporting on perform</a:t>
          </a:r>
          <a:r>
            <a:rPr lang="en-US" sz="2400" b="0" kern="1200" dirty="0"/>
            <a:t>an</a:t>
          </a:r>
          <a:r>
            <a:rPr lang="en-US" sz="2400" kern="1200" dirty="0"/>
            <a:t>ce</a:t>
          </a:r>
          <a:endParaRPr lang="nl-NL" sz="2400" kern="1200" dirty="0"/>
        </a:p>
      </dsp:txBody>
      <dsp:txXfrm>
        <a:off x="100236" y="988721"/>
        <a:ext cx="8435528" cy="185287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1E81FF-9497-4076-90DD-A96FF91ADEE8}">
      <dsp:nvSpPr>
        <dsp:cNvPr id="0" name=""/>
        <dsp:cNvSpPr/>
      </dsp:nvSpPr>
      <dsp:spPr>
        <a:xfrm>
          <a:off x="515383" y="0"/>
          <a:ext cx="5841011" cy="2567195"/>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FA6D721-DC5B-444D-AB83-79757855FBF6}">
      <dsp:nvSpPr>
        <dsp:cNvPr id="0" name=""/>
        <dsp:cNvSpPr/>
      </dsp:nvSpPr>
      <dsp:spPr>
        <a:xfrm>
          <a:off x="3953" y="770158"/>
          <a:ext cx="2205415" cy="1026878"/>
        </a:xfrm>
        <a:prstGeom prst="roundRect">
          <a:avLst/>
        </a:prstGeom>
        <a:solidFill>
          <a:srgbClr val="1EACD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nl-NL" sz="2400" kern="1200" dirty="0"/>
            <a:t>APIGEE Edge </a:t>
          </a:r>
        </a:p>
      </dsp:txBody>
      <dsp:txXfrm>
        <a:off x="54081" y="820286"/>
        <a:ext cx="2105159" cy="926622"/>
      </dsp:txXfrm>
    </dsp:sp>
    <dsp:sp modelId="{9A80F47D-6280-4EC5-A6AF-2A9DFA11DD26}">
      <dsp:nvSpPr>
        <dsp:cNvPr id="0" name=""/>
        <dsp:cNvSpPr/>
      </dsp:nvSpPr>
      <dsp:spPr>
        <a:xfrm>
          <a:off x="2333181" y="770158"/>
          <a:ext cx="2205415" cy="1026878"/>
        </a:xfrm>
        <a:prstGeom prst="roundRect">
          <a:avLst/>
        </a:prstGeom>
        <a:solidFill>
          <a:srgbClr val="1EACD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nl-NL" sz="2400" kern="1200" dirty="0"/>
            <a:t>APIGEE Sense </a:t>
          </a:r>
        </a:p>
      </dsp:txBody>
      <dsp:txXfrm>
        <a:off x="2383309" y="820286"/>
        <a:ext cx="2105159" cy="926622"/>
      </dsp:txXfrm>
    </dsp:sp>
    <dsp:sp modelId="{BA7E27A8-3157-411A-A908-0FDDF6E1A011}">
      <dsp:nvSpPr>
        <dsp:cNvPr id="0" name=""/>
        <dsp:cNvSpPr/>
      </dsp:nvSpPr>
      <dsp:spPr>
        <a:xfrm>
          <a:off x="4662409" y="770158"/>
          <a:ext cx="2205415" cy="1026878"/>
        </a:xfrm>
        <a:prstGeom prst="roundRect">
          <a:avLst/>
        </a:prstGeom>
        <a:solidFill>
          <a:srgbClr val="1EACD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nl-NL" sz="2400" kern="1200" dirty="0"/>
            <a:t>APIGEE Monitization </a:t>
          </a:r>
        </a:p>
      </dsp:txBody>
      <dsp:txXfrm>
        <a:off x="4712537" y="820286"/>
        <a:ext cx="2105159" cy="92662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3994A5-135F-8043-A44B-B4407CC944D7}">
      <dsp:nvSpPr>
        <dsp:cNvPr id="0" name=""/>
        <dsp:cNvSpPr/>
      </dsp:nvSpPr>
      <dsp:spPr>
        <a:xfrm>
          <a:off x="1096110" y="-39888"/>
          <a:ext cx="4472380" cy="4472380"/>
        </a:xfrm>
        <a:prstGeom prst="circularArrow">
          <a:avLst>
            <a:gd name="adj1" fmla="val 5544"/>
            <a:gd name="adj2" fmla="val 330680"/>
            <a:gd name="adj3" fmla="val 14648370"/>
            <a:gd name="adj4" fmla="val 16874734"/>
            <a:gd name="adj5" fmla="val 5757"/>
          </a:avLst>
        </a:prstGeom>
        <a:solidFill>
          <a:srgbClr val="C0504D">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A58D57D6-50B2-E745-B7D4-7B4544F5924B}">
      <dsp:nvSpPr>
        <dsp:cNvPr id="0" name=""/>
        <dsp:cNvSpPr/>
      </dsp:nvSpPr>
      <dsp:spPr>
        <a:xfrm>
          <a:off x="2705867" y="1118"/>
          <a:ext cx="1252867" cy="626433"/>
        </a:xfrm>
        <a:prstGeom prst="roundRect">
          <a:avLst/>
        </a:prstGeom>
        <a:solidFill>
          <a:srgbClr val="C0504D">
            <a:alpha val="90000"/>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solidFill>
                <a:sysClr val="window" lastClr="FFFFFF"/>
              </a:solidFill>
              <a:latin typeface="Calibri"/>
              <a:ea typeface="+mn-ea"/>
              <a:cs typeface="+mn-cs"/>
            </a:rPr>
            <a:t>Design</a:t>
          </a:r>
        </a:p>
      </dsp:txBody>
      <dsp:txXfrm>
        <a:off x="2736447" y="31698"/>
        <a:ext cx="1191707" cy="565273"/>
      </dsp:txXfrm>
    </dsp:sp>
    <dsp:sp modelId="{7E5B7ACF-A8D8-BF46-AE6C-89E412BA0A2E}">
      <dsp:nvSpPr>
        <dsp:cNvPr id="0" name=""/>
        <dsp:cNvSpPr/>
      </dsp:nvSpPr>
      <dsp:spPr>
        <a:xfrm>
          <a:off x="4054460" y="559724"/>
          <a:ext cx="1252867" cy="626433"/>
        </a:xfrm>
        <a:prstGeom prst="roundRect">
          <a:avLst/>
        </a:prstGeom>
        <a:solidFill>
          <a:srgbClr val="C0504D">
            <a:alpha val="90000"/>
            <a:hueOff val="0"/>
            <a:satOff val="0"/>
            <a:lumOff val="0"/>
            <a:alphaOff val="-5714"/>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solidFill>
                <a:sysClr val="window" lastClr="FFFFFF"/>
              </a:solidFill>
              <a:latin typeface="Calibri"/>
              <a:ea typeface="+mn-ea"/>
              <a:cs typeface="+mn-cs"/>
            </a:rPr>
            <a:t>Develop</a:t>
          </a:r>
        </a:p>
      </dsp:txBody>
      <dsp:txXfrm>
        <a:off x="4085040" y="590304"/>
        <a:ext cx="1191707" cy="565273"/>
      </dsp:txXfrm>
    </dsp:sp>
    <dsp:sp modelId="{91037BDA-100E-3C4D-9F9B-BCA6B695FE3A}">
      <dsp:nvSpPr>
        <dsp:cNvPr id="0" name=""/>
        <dsp:cNvSpPr/>
      </dsp:nvSpPr>
      <dsp:spPr>
        <a:xfrm>
          <a:off x="4613066" y="1908317"/>
          <a:ext cx="1252867" cy="626433"/>
        </a:xfrm>
        <a:prstGeom prst="roundRect">
          <a:avLst/>
        </a:prstGeom>
        <a:solidFill>
          <a:srgbClr val="C0504D">
            <a:alpha val="90000"/>
            <a:hueOff val="0"/>
            <a:satOff val="0"/>
            <a:lumOff val="0"/>
            <a:alphaOff val="-11429"/>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solidFill>
                <a:sysClr val="window" lastClr="FFFFFF"/>
              </a:solidFill>
              <a:latin typeface="Calibri"/>
              <a:ea typeface="+mn-ea"/>
              <a:cs typeface="+mn-cs"/>
            </a:rPr>
            <a:t>Security</a:t>
          </a:r>
        </a:p>
      </dsp:txBody>
      <dsp:txXfrm>
        <a:off x="4643646" y="1938897"/>
        <a:ext cx="1191707" cy="565273"/>
      </dsp:txXfrm>
    </dsp:sp>
    <dsp:sp modelId="{7365467A-3B5B-1E48-ADDD-624A433C7EE2}">
      <dsp:nvSpPr>
        <dsp:cNvPr id="0" name=""/>
        <dsp:cNvSpPr/>
      </dsp:nvSpPr>
      <dsp:spPr>
        <a:xfrm>
          <a:off x="4054460" y="3256910"/>
          <a:ext cx="1252867" cy="626433"/>
        </a:xfrm>
        <a:prstGeom prst="roundRect">
          <a:avLst/>
        </a:prstGeom>
        <a:solidFill>
          <a:srgbClr val="C0504D">
            <a:alpha val="90000"/>
            <a:hueOff val="0"/>
            <a:satOff val="0"/>
            <a:lumOff val="0"/>
            <a:alphaOff val="-17143"/>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solidFill>
                <a:sysClr val="window" lastClr="FFFFFF"/>
              </a:solidFill>
              <a:latin typeface="Calibri"/>
              <a:ea typeface="+mn-ea"/>
              <a:cs typeface="+mn-cs"/>
            </a:rPr>
            <a:t>Publish</a:t>
          </a:r>
        </a:p>
      </dsp:txBody>
      <dsp:txXfrm>
        <a:off x="4085040" y="3287490"/>
        <a:ext cx="1191707" cy="565273"/>
      </dsp:txXfrm>
    </dsp:sp>
    <dsp:sp modelId="{D5C57C60-255F-1A49-AA2A-447A2923C527}">
      <dsp:nvSpPr>
        <dsp:cNvPr id="0" name=""/>
        <dsp:cNvSpPr/>
      </dsp:nvSpPr>
      <dsp:spPr>
        <a:xfrm>
          <a:off x="2705867" y="3815515"/>
          <a:ext cx="1252867" cy="626433"/>
        </a:xfrm>
        <a:prstGeom prst="roundRect">
          <a:avLst/>
        </a:prstGeom>
        <a:solidFill>
          <a:srgbClr val="C0504D">
            <a:alpha val="90000"/>
            <a:hueOff val="0"/>
            <a:satOff val="0"/>
            <a:lumOff val="0"/>
            <a:alphaOff val="-22857"/>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solidFill>
                <a:sysClr val="window" lastClr="FFFFFF"/>
              </a:solidFill>
              <a:latin typeface="Calibri"/>
              <a:ea typeface="+mn-ea"/>
              <a:cs typeface="+mn-cs"/>
            </a:rPr>
            <a:t>Scale</a:t>
          </a:r>
        </a:p>
      </dsp:txBody>
      <dsp:txXfrm>
        <a:off x="2736447" y="3846095"/>
        <a:ext cx="1191707" cy="565273"/>
      </dsp:txXfrm>
    </dsp:sp>
    <dsp:sp modelId="{43A2994C-A7D2-624A-9013-00941C345948}">
      <dsp:nvSpPr>
        <dsp:cNvPr id="0" name=""/>
        <dsp:cNvSpPr/>
      </dsp:nvSpPr>
      <dsp:spPr>
        <a:xfrm>
          <a:off x="1357274" y="3256910"/>
          <a:ext cx="1252867" cy="626433"/>
        </a:xfrm>
        <a:prstGeom prst="roundRect">
          <a:avLst/>
        </a:prstGeom>
        <a:solidFill>
          <a:srgbClr val="C0504D">
            <a:alpha val="90000"/>
            <a:hueOff val="0"/>
            <a:satOff val="0"/>
            <a:lumOff val="0"/>
            <a:alphaOff val="-28571"/>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solidFill>
                <a:sysClr val="window" lastClr="FFFFFF"/>
              </a:solidFill>
              <a:latin typeface="Calibri"/>
              <a:ea typeface="+mn-ea"/>
              <a:cs typeface="+mn-cs"/>
            </a:rPr>
            <a:t>Monitor</a:t>
          </a:r>
        </a:p>
      </dsp:txBody>
      <dsp:txXfrm>
        <a:off x="1387854" y="3287490"/>
        <a:ext cx="1191707" cy="565273"/>
      </dsp:txXfrm>
    </dsp:sp>
    <dsp:sp modelId="{055D4ACE-80EC-A04D-AEAE-92CCF4F49824}">
      <dsp:nvSpPr>
        <dsp:cNvPr id="0" name=""/>
        <dsp:cNvSpPr/>
      </dsp:nvSpPr>
      <dsp:spPr>
        <a:xfrm>
          <a:off x="798668" y="1908317"/>
          <a:ext cx="1252867" cy="626433"/>
        </a:xfrm>
        <a:prstGeom prst="roundRect">
          <a:avLst/>
        </a:prstGeom>
        <a:solidFill>
          <a:srgbClr val="C0504D">
            <a:alpha val="90000"/>
            <a:hueOff val="0"/>
            <a:satOff val="0"/>
            <a:lumOff val="0"/>
            <a:alphaOff val="-34286"/>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solidFill>
                <a:sysClr val="window" lastClr="FFFFFF"/>
              </a:solidFill>
              <a:latin typeface="Calibri"/>
              <a:ea typeface="+mn-ea"/>
              <a:cs typeface="+mn-cs"/>
            </a:rPr>
            <a:t>Analyze </a:t>
          </a:r>
        </a:p>
      </dsp:txBody>
      <dsp:txXfrm>
        <a:off x="829248" y="1938897"/>
        <a:ext cx="1191707" cy="565273"/>
      </dsp:txXfrm>
    </dsp:sp>
    <dsp:sp modelId="{2A9C7660-253F-CA40-B887-FCF496F88057}">
      <dsp:nvSpPr>
        <dsp:cNvPr id="0" name=""/>
        <dsp:cNvSpPr/>
      </dsp:nvSpPr>
      <dsp:spPr>
        <a:xfrm>
          <a:off x="1357274" y="559724"/>
          <a:ext cx="1252867" cy="626433"/>
        </a:xfrm>
        <a:prstGeom prst="roundRect">
          <a:avLst/>
        </a:prstGeom>
        <a:solidFill>
          <a:srgbClr val="C0504D">
            <a:alpha val="90000"/>
            <a:hueOff val="0"/>
            <a:satOff val="0"/>
            <a:lumOff val="0"/>
            <a:alphaOff val="-4000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nl-NL" sz="1800" b="1" kern="1200" dirty="0">
              <a:latin typeface="Calibri" panose="020F0502020204030204" pitchFamily="34" charset="0"/>
              <a:cs typeface="Calibri" panose="020F0502020204030204" pitchFamily="34" charset="0"/>
            </a:rPr>
            <a:t>Monitze</a:t>
          </a:r>
          <a:r>
            <a:rPr lang="nl-NL" sz="2200" kern="1200" dirty="0"/>
            <a:t> </a:t>
          </a:r>
          <a:r>
            <a:rPr lang="en-US" sz="2200" kern="1200" dirty="0">
              <a:solidFill>
                <a:sysClr val="window" lastClr="FFFFFF"/>
              </a:solidFill>
              <a:latin typeface="Calibri"/>
              <a:ea typeface="+mn-ea"/>
              <a:cs typeface="+mn-cs"/>
            </a:rPr>
            <a:t> </a:t>
          </a:r>
        </a:p>
      </dsp:txBody>
      <dsp:txXfrm>
        <a:off x="1387854" y="590304"/>
        <a:ext cx="1191707" cy="56527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E6F04A-1B87-455A-858C-E8900566DFE1}">
      <dsp:nvSpPr>
        <dsp:cNvPr id="0" name=""/>
        <dsp:cNvSpPr/>
      </dsp:nvSpPr>
      <dsp:spPr>
        <a:xfrm>
          <a:off x="0" y="101476"/>
          <a:ext cx="11518900" cy="671580"/>
        </a:xfrm>
        <a:prstGeom prst="roundRect">
          <a:avLst/>
        </a:prstGeom>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nl-NL" sz="2800" kern="1200" dirty="0"/>
            <a:t>User  - OAuth 2.0,MFA, Fedrated login, IP Access control</a:t>
          </a:r>
        </a:p>
      </dsp:txBody>
      <dsp:txXfrm>
        <a:off x="32784" y="134260"/>
        <a:ext cx="11453332" cy="606012"/>
      </dsp:txXfrm>
    </dsp:sp>
    <dsp:sp modelId="{234C04E0-AED4-4B30-83DF-108347A3D107}">
      <dsp:nvSpPr>
        <dsp:cNvPr id="0" name=""/>
        <dsp:cNvSpPr/>
      </dsp:nvSpPr>
      <dsp:spPr>
        <a:xfrm>
          <a:off x="0" y="853696"/>
          <a:ext cx="11518900" cy="671580"/>
        </a:xfrm>
        <a:prstGeom prst="roundRect">
          <a:avLst/>
        </a:prstGeom>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nl-NL" sz="2800" kern="1200"/>
            <a:t>APP  - API key, OAuth 2.0, Mutual TLS</a:t>
          </a:r>
        </a:p>
      </dsp:txBody>
      <dsp:txXfrm>
        <a:off x="32784" y="886480"/>
        <a:ext cx="11453332" cy="606012"/>
      </dsp:txXfrm>
    </dsp:sp>
    <dsp:sp modelId="{62FC2115-150F-4884-A861-E521884DEBBF}">
      <dsp:nvSpPr>
        <dsp:cNvPr id="0" name=""/>
        <dsp:cNvSpPr/>
      </dsp:nvSpPr>
      <dsp:spPr>
        <a:xfrm>
          <a:off x="0" y="1605916"/>
          <a:ext cx="11518900" cy="671580"/>
        </a:xfrm>
        <a:prstGeom prst="roundRect">
          <a:avLst/>
        </a:prstGeom>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nl-NL" sz="2800" kern="1200"/>
            <a:t>Developer – RBAC, SSO</a:t>
          </a:r>
        </a:p>
      </dsp:txBody>
      <dsp:txXfrm>
        <a:off x="32784" y="1638700"/>
        <a:ext cx="11453332" cy="606012"/>
      </dsp:txXfrm>
    </dsp:sp>
    <dsp:sp modelId="{9362F872-0B96-43C8-A76D-F6F5C7E5987E}">
      <dsp:nvSpPr>
        <dsp:cNvPr id="0" name=""/>
        <dsp:cNvSpPr/>
      </dsp:nvSpPr>
      <dsp:spPr>
        <a:xfrm>
          <a:off x="0" y="2358136"/>
          <a:ext cx="11518900" cy="671580"/>
        </a:xfrm>
        <a:prstGeom prst="roundRect">
          <a:avLst/>
        </a:prstGeom>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nl-NL" sz="2800" kern="1200" dirty="0"/>
            <a:t>API - Threat Protection, OAuth 2.0, Quota, Bot detction </a:t>
          </a:r>
        </a:p>
      </dsp:txBody>
      <dsp:txXfrm>
        <a:off x="32784" y="2390920"/>
        <a:ext cx="11453332" cy="606012"/>
      </dsp:txXfrm>
    </dsp:sp>
    <dsp:sp modelId="{C4E2B8C0-A8BE-4A29-8861-2E97F4D47612}">
      <dsp:nvSpPr>
        <dsp:cNvPr id="0" name=""/>
        <dsp:cNvSpPr/>
      </dsp:nvSpPr>
      <dsp:spPr>
        <a:xfrm>
          <a:off x="0" y="3110356"/>
          <a:ext cx="11518900" cy="671580"/>
        </a:xfrm>
        <a:prstGeom prst="roundRect">
          <a:avLst/>
        </a:prstGeom>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nl-NL" sz="2800" kern="1200" dirty="0"/>
            <a:t>API Team -  RBAC,LDAP Audit.</a:t>
          </a:r>
        </a:p>
      </dsp:txBody>
      <dsp:txXfrm>
        <a:off x="32784" y="3143140"/>
        <a:ext cx="11453332" cy="606012"/>
      </dsp:txXfrm>
    </dsp:sp>
    <dsp:sp modelId="{6A8FF7FC-E487-4AA7-9984-EF67B9F2D13E}">
      <dsp:nvSpPr>
        <dsp:cNvPr id="0" name=""/>
        <dsp:cNvSpPr/>
      </dsp:nvSpPr>
      <dsp:spPr>
        <a:xfrm>
          <a:off x="0" y="3862576"/>
          <a:ext cx="11518900" cy="671580"/>
        </a:xfrm>
        <a:prstGeom prst="roundRect">
          <a:avLst/>
        </a:prstGeom>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nl-NL" sz="2800" kern="1200" dirty="0"/>
            <a:t>Backend -  Mutual TLS, Southbond VPN and IP Access control </a:t>
          </a:r>
        </a:p>
      </dsp:txBody>
      <dsp:txXfrm>
        <a:off x="32784" y="3895360"/>
        <a:ext cx="11453332" cy="60601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1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11/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11/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image" Target="../media/image7.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emf"/><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3.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3" Type="http://schemas.openxmlformats.org/officeDocument/2006/relationships/image" Target="../media/image15.png"/><Relationship Id="rId7" Type="http://schemas.openxmlformats.org/officeDocument/2006/relationships/image" Target="../media/image17.png"/><Relationship Id="rId12" Type="http://schemas.openxmlformats.org/officeDocument/2006/relationships/hyperlink" Target="https://www.capgemini.co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9.png"/><Relationship Id="rId5" Type="http://schemas.openxmlformats.org/officeDocument/2006/relationships/image" Target="../media/image1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8.pn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0.sv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6550" y="1815352"/>
            <a:ext cx="11518900" cy="4466201"/>
          </a:xfrm>
        </p:spPr>
        <p:txBody>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
        <p:nvSpPr>
          <p:cNvPr id="5" name="Retângulo 43">
            <a:extLst>
              <a:ext uri="{FF2B5EF4-FFF2-40B4-BE49-F238E27FC236}">
                <a16:creationId xmlns:a16="http://schemas.microsoft.com/office/drawing/2014/main" id="{66CA8EBE-7C2B-4E9A-9E28-5B00004DECB1}"/>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re seul">
    <p:spTree>
      <p:nvGrpSpPr>
        <p:cNvPr id="1" name=""/>
        <p:cNvGrpSpPr/>
        <p:nvPr/>
      </p:nvGrpSpPr>
      <p:grpSpPr>
        <a:xfrm>
          <a:off x="0" y="0"/>
          <a:ext cx="0" cy="0"/>
          <a:chOff x="0" y="0"/>
          <a:chExt cx="0" cy="0"/>
        </a:xfrm>
      </p:grpSpPr>
      <p:pic>
        <p:nvPicPr>
          <p:cNvPr id="5" name="Picture 2" descr="Image result for ikea room">
            <a:extLst>
              <a:ext uri="{FF2B5EF4-FFF2-40B4-BE49-F238E27FC236}">
                <a16:creationId xmlns:a16="http://schemas.microsoft.com/office/drawing/2014/main" id="{A25D89D8-B343-7246-8313-B6FFD8A38819}"/>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0" y="0"/>
            <a:ext cx="12192000" cy="686986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1092"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a:xfrm>
            <a:off x="1479840" y="260987"/>
            <a:ext cx="9413218" cy="855026"/>
          </a:xfrm>
        </p:spPr>
        <p:txBody>
          <a:bodyPr/>
          <a:lstStyle>
            <a:lvl1pPr>
              <a:defRPr>
                <a:solidFill>
                  <a:schemeClr val="bg1"/>
                </a:solidFill>
                <a:latin typeface="Arial" pitchFamily="34" charset="0"/>
              </a:defRPr>
            </a:lvl1pPr>
          </a:lstStyle>
          <a:p>
            <a:pPr lvl="0"/>
            <a:r>
              <a:rPr lang="en-US" noProof="0" dirty="0"/>
              <a:t>Click to edit Master title style</a:t>
            </a:r>
          </a:p>
        </p:txBody>
      </p:sp>
    </p:spTree>
    <p:extLst>
      <p:ext uri="{BB962C8B-B14F-4D97-AF65-F5344CB8AC3E}">
        <p14:creationId xmlns:p14="http://schemas.microsoft.com/office/powerpoint/2010/main" val="28219542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p:cNvSpPr>
            <a:spLocks noGrp="1"/>
          </p:cNvSpPr>
          <p:nvPr>
            <p:ph type="dt" sz="half" idx="10"/>
          </p:nvPr>
        </p:nvSpPr>
        <p:spPr/>
        <p:txBody>
          <a:bodyPr/>
          <a:lstStyle>
            <a:lvl1pPr>
              <a:defRPr/>
            </a:lvl1pPr>
          </a:lstStyle>
          <a:p>
            <a:r>
              <a:rPr lang="nl-NL"/>
              <a:t>dd-mm-2008</a:t>
            </a:r>
          </a:p>
        </p:txBody>
      </p:sp>
      <p:sp>
        <p:nvSpPr>
          <p:cNvPr id="5" name="Footer Placeholder 4"/>
          <p:cNvSpPr>
            <a:spLocks noGrp="1"/>
          </p:cNvSpPr>
          <p:nvPr>
            <p:ph type="ftr" sz="quarter" idx="11"/>
          </p:nvPr>
        </p:nvSpPr>
        <p:spPr/>
        <p:txBody>
          <a:bodyPr/>
          <a:lstStyle>
            <a:lvl1pPr>
              <a:defRPr/>
            </a:lvl1pPr>
          </a:lstStyle>
          <a:p>
            <a:endParaRPr lang="nl-NL"/>
          </a:p>
        </p:txBody>
      </p:sp>
      <p:sp>
        <p:nvSpPr>
          <p:cNvPr id="6" name="Slide Number Placeholder 5"/>
          <p:cNvSpPr>
            <a:spLocks noGrp="1"/>
          </p:cNvSpPr>
          <p:nvPr>
            <p:ph type="sldNum" sz="quarter" idx="12"/>
          </p:nvPr>
        </p:nvSpPr>
        <p:spPr/>
        <p:txBody>
          <a:bodyPr/>
          <a:lstStyle>
            <a:lvl1pPr>
              <a:defRPr/>
            </a:lvl1pPr>
          </a:lstStyle>
          <a:p>
            <a:fld id="{3A4BDAFE-4CBA-45FD-96F8-D84DCADCA9B5}" type="slidenum">
              <a:rPr lang="nl-NL"/>
              <a:pPr/>
              <a:t>‹#›</a:t>
            </a:fld>
            <a:endParaRPr lang="nl-NL"/>
          </a:p>
        </p:txBody>
      </p:sp>
    </p:spTree>
    <p:extLst>
      <p:ext uri="{BB962C8B-B14F-4D97-AF65-F5344CB8AC3E}">
        <p14:creationId xmlns:p14="http://schemas.microsoft.com/office/powerpoint/2010/main" val="3257687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ction break 3">
    <p:bg>
      <p:bgPr>
        <a:solidFill>
          <a:schemeClr val="bg2"/>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737"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Freeform 1">
            <a:extLst>
              <a:ext uri="{FF2B5EF4-FFF2-40B4-BE49-F238E27FC236}">
                <a16:creationId xmlns:a16="http://schemas.microsoft.com/office/drawing/2014/main" id="{AB31FF0C-A976-4593-B838-CC47C9D61B2E}"/>
              </a:ext>
            </a:extLst>
          </p:cNvPr>
          <p:cNvSpPr/>
          <p:nvPr userDrawn="1"/>
        </p:nvSpPr>
        <p:spPr>
          <a:xfrm flipH="1">
            <a:off x="0" y="-7418"/>
            <a:ext cx="7361838" cy="2572418"/>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0370" h="2075720">
                <a:moveTo>
                  <a:pt x="0" y="0"/>
                </a:moveTo>
                <a:lnTo>
                  <a:pt x="5940370" y="0"/>
                </a:lnTo>
                <a:lnTo>
                  <a:pt x="5940370" y="726675"/>
                </a:lnTo>
                <a:cubicBezTo>
                  <a:pt x="5831116" y="1256299"/>
                  <a:pt x="5573273" y="2090722"/>
                  <a:pt x="4568669" y="2075516"/>
                </a:cubicBezTo>
                <a:cubicBezTo>
                  <a:pt x="4051619" y="1166507"/>
                  <a:pt x="585630" y="1659579"/>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9" name="Title Placeholder 1">
            <a:extLst>
              <a:ext uri="{FF2B5EF4-FFF2-40B4-BE49-F238E27FC236}">
                <a16:creationId xmlns:a16="http://schemas.microsoft.com/office/drawing/2014/main" id="{56D26061-55C9-4B17-AE4C-B6C9E95C4B35}"/>
              </a:ext>
            </a:extLst>
          </p:cNvPr>
          <p:cNvSpPr>
            <a:spLocks noGrp="1"/>
          </p:cNvSpPr>
          <p:nvPr>
            <p:ph type="title"/>
          </p:nvPr>
        </p:nvSpPr>
        <p:spPr>
          <a:xfrm>
            <a:off x="442913" y="25263"/>
            <a:ext cx="6085087"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sz="2400"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sp>
        <p:nvSpPr>
          <p:cNvPr id="5" name="Text Placeholder 7">
            <a:extLst>
              <a:ext uri="{FF2B5EF4-FFF2-40B4-BE49-F238E27FC236}">
                <a16:creationId xmlns:a16="http://schemas.microsoft.com/office/drawing/2014/main" id="{43759757-2E13-4782-A0A9-61944FF5B523}"/>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Tree>
    <p:extLst>
      <p:ext uri="{BB962C8B-B14F-4D97-AF65-F5344CB8AC3E}">
        <p14:creationId xmlns:p14="http://schemas.microsoft.com/office/powerpoint/2010/main" val="1277794475"/>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6_Blank-Gre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E6848BB-BDF9-4643-989D-9D1B33D91AC1}"/>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Freeform: Shape 12">
            <a:extLst>
              <a:ext uri="{FF2B5EF4-FFF2-40B4-BE49-F238E27FC236}">
                <a16:creationId xmlns:a16="http://schemas.microsoft.com/office/drawing/2014/main" id="{72E991DD-CB10-46DA-862F-E2DAAB3BDCC9}"/>
              </a:ext>
            </a:extLst>
          </p:cNvPr>
          <p:cNvSpPr>
            <a:spLocks/>
          </p:cNvSpPr>
          <p:nvPr userDrawn="1"/>
        </p:nvSpPr>
        <p:spPr bwMode="auto">
          <a:xfrm rot="15444360">
            <a:off x="3598739" y="-983384"/>
            <a:ext cx="5342424" cy="12854800"/>
          </a:xfrm>
          <a:custGeom>
            <a:avLst/>
            <a:gdLst>
              <a:gd name="connsiteX0" fmla="*/ 4279646 w 5342424"/>
              <a:gd name="connsiteY0" fmla="*/ 12854800 h 12854800"/>
              <a:gd name="connsiteX1" fmla="*/ 0 w 5342424"/>
              <a:gd name="connsiteY1" fmla="*/ 11898656 h 12854800"/>
              <a:gd name="connsiteX2" fmla="*/ 2658357 w 5342424"/>
              <a:gd name="connsiteY2" fmla="*/ 0 h 12854800"/>
              <a:gd name="connsiteX3" fmla="*/ 5043231 w 5342424"/>
              <a:gd name="connsiteY3" fmla="*/ 532820 h 12854800"/>
              <a:gd name="connsiteX4" fmla="*/ 5101493 w 5342424"/>
              <a:gd name="connsiteY4" fmla="*/ 759756 h 12854800"/>
              <a:gd name="connsiteX5" fmla="*/ 5083039 w 5342424"/>
              <a:gd name="connsiteY5" fmla="*/ 4954187 h 12854800"/>
              <a:gd name="connsiteX6" fmla="*/ 2760359 w 5342424"/>
              <a:gd name="connsiteY6" fmla="*/ 11461798 h 12854800"/>
              <a:gd name="connsiteX7" fmla="*/ 4261092 w 5342424"/>
              <a:gd name="connsiteY7" fmla="*/ 12753480 h 1285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42424" h="12854800">
                <a:moveTo>
                  <a:pt x="4279646" y="12854800"/>
                </a:moveTo>
                <a:lnTo>
                  <a:pt x="0" y="11898656"/>
                </a:lnTo>
                <a:lnTo>
                  <a:pt x="2658357" y="0"/>
                </a:lnTo>
                <a:lnTo>
                  <a:pt x="5043231" y="532820"/>
                </a:lnTo>
                <a:lnTo>
                  <a:pt x="5101493" y="759756"/>
                </a:lnTo>
                <a:cubicBezTo>
                  <a:pt x="5369972" y="1875064"/>
                  <a:pt x="5478621" y="3304131"/>
                  <a:pt x="5083039" y="4954187"/>
                </a:cubicBezTo>
                <a:cubicBezTo>
                  <a:pt x="1241684" y="7016271"/>
                  <a:pt x="-687927" y="10122784"/>
                  <a:pt x="2760359" y="11461798"/>
                </a:cubicBezTo>
                <a:cubicBezTo>
                  <a:pt x="3723455" y="11835781"/>
                  <a:pt x="4148571" y="12291236"/>
                  <a:pt x="4261092" y="12753480"/>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dirty="0"/>
          </a:p>
        </p:txBody>
      </p:sp>
      <p:pic>
        <p:nvPicPr>
          <p:cNvPr id="206" name="Picture 205">
            <a:extLst>
              <a:ext uri="{FF2B5EF4-FFF2-40B4-BE49-F238E27FC236}">
                <a16:creationId xmlns:a16="http://schemas.microsoft.com/office/drawing/2014/main" id="{2C718FD2-A553-4735-B647-3248EBDCBF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59513" y="444291"/>
            <a:ext cx="4812101" cy="6220945"/>
          </a:xfrm>
          <a:prstGeom prst="rect">
            <a:avLst/>
          </a:prstGeom>
        </p:spPr>
      </p:pic>
    </p:spTree>
    <p:extLst>
      <p:ext uri="{BB962C8B-B14F-4D97-AF65-F5344CB8AC3E}">
        <p14:creationId xmlns:p14="http://schemas.microsoft.com/office/powerpoint/2010/main" val="874666092"/>
      </p:ext>
    </p:extLst>
  </p:cSld>
  <p:clrMapOvr>
    <a:masterClrMapping/>
  </p:clrMapOvr>
  <p:extLst>
    <p:ext uri="{DCECCB84-F9BA-43D5-87BE-67443E8EF086}">
      <p15:sldGuideLst xmlns:p15="http://schemas.microsoft.com/office/powerpoint/2012/main">
        <p15:guide id="1" orient="horz" pos="421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71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8018611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87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tx2"/>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tx2"/>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944"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89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91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Section break 3">
    <p:bg>
      <p:bgPr>
        <a:solidFill>
          <a:schemeClr val="bg2"/>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6419"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Freeform 1">
            <a:extLst>
              <a:ext uri="{FF2B5EF4-FFF2-40B4-BE49-F238E27FC236}">
                <a16:creationId xmlns:a16="http://schemas.microsoft.com/office/drawing/2014/main" id="{AB31FF0C-A976-4593-B838-CC47C9D61B2E}"/>
              </a:ext>
            </a:extLst>
          </p:cNvPr>
          <p:cNvSpPr/>
          <p:nvPr userDrawn="1"/>
        </p:nvSpPr>
        <p:spPr>
          <a:xfrm flipH="1">
            <a:off x="0" y="-7418"/>
            <a:ext cx="7361838" cy="2572418"/>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0370" h="2075720">
                <a:moveTo>
                  <a:pt x="0" y="0"/>
                </a:moveTo>
                <a:lnTo>
                  <a:pt x="5940370" y="0"/>
                </a:lnTo>
                <a:lnTo>
                  <a:pt x="5940370" y="726675"/>
                </a:lnTo>
                <a:cubicBezTo>
                  <a:pt x="5831116" y="1256299"/>
                  <a:pt x="5573273" y="2090722"/>
                  <a:pt x="4568669" y="2075516"/>
                </a:cubicBezTo>
                <a:cubicBezTo>
                  <a:pt x="4051619" y="1166507"/>
                  <a:pt x="585630" y="1659579"/>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9" name="Title Placeholder 1">
            <a:extLst>
              <a:ext uri="{FF2B5EF4-FFF2-40B4-BE49-F238E27FC236}">
                <a16:creationId xmlns:a16="http://schemas.microsoft.com/office/drawing/2014/main" id="{56D26061-55C9-4B17-AE4C-B6C9E95C4B35}"/>
              </a:ext>
            </a:extLst>
          </p:cNvPr>
          <p:cNvSpPr>
            <a:spLocks noGrp="1"/>
          </p:cNvSpPr>
          <p:nvPr>
            <p:ph type="title"/>
          </p:nvPr>
        </p:nvSpPr>
        <p:spPr>
          <a:xfrm>
            <a:off x="442913" y="25263"/>
            <a:ext cx="6085087"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sz="2400"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sp>
        <p:nvSpPr>
          <p:cNvPr id="5" name="Text Placeholder 7">
            <a:extLst>
              <a:ext uri="{FF2B5EF4-FFF2-40B4-BE49-F238E27FC236}">
                <a16:creationId xmlns:a16="http://schemas.microsoft.com/office/drawing/2014/main" id="{43759757-2E13-4782-A0A9-61944FF5B523}"/>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Tree>
    <p:extLst>
      <p:ext uri="{BB962C8B-B14F-4D97-AF65-F5344CB8AC3E}">
        <p14:creationId xmlns:p14="http://schemas.microsoft.com/office/powerpoint/2010/main" val="3138514481"/>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331185" y="0"/>
            <a:ext cx="11021399" cy="1104900"/>
          </a:xfrm>
        </p:spPr>
        <p:txBody>
          <a:bodyPr/>
          <a:lstStyle>
            <a:lvl1pPr>
              <a:defRPr>
                <a:solidFill>
                  <a:schemeClr val="tx2"/>
                </a:solidFill>
              </a:defRPr>
            </a:lvl1pPr>
          </a:lstStyle>
          <a:p>
            <a:r>
              <a:rPr lang="fr-FR" dirty="0"/>
              <a:t>Modifiez le style du titre</a:t>
            </a:r>
            <a:endParaRPr lang="en-GB" dirty="0"/>
          </a:p>
        </p:txBody>
      </p:sp>
      <p:sp>
        <p:nvSpPr>
          <p:cNvPr id="4" name="Text Placeholder 3"/>
          <p:cNvSpPr>
            <a:spLocks noGrp="1"/>
          </p:cNvSpPr>
          <p:nvPr>
            <p:ph type="body" sz="quarter" idx="10"/>
          </p:nvPr>
        </p:nvSpPr>
        <p:spPr>
          <a:xfrm>
            <a:off x="336550" y="1815351"/>
            <a:ext cx="115189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336551" y="1148607"/>
            <a:ext cx="115189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6" name="Retângulo 43">
            <a:extLst>
              <a:ext uri="{FF2B5EF4-FFF2-40B4-BE49-F238E27FC236}">
                <a16:creationId xmlns:a16="http://schemas.microsoft.com/office/drawing/2014/main" id="{52E1D9FF-57A2-4937-9CB4-52C6FF15C056}"/>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p:cNvSpPr>
            <a:spLocks noGrp="1"/>
          </p:cNvSpPr>
          <p:nvPr>
            <p:ph type="dt" sz="half" idx="10"/>
          </p:nvPr>
        </p:nvSpPr>
        <p:spPr/>
        <p:txBody>
          <a:bodyPr/>
          <a:lstStyle>
            <a:lvl1pPr>
              <a:defRPr/>
            </a:lvl1pPr>
          </a:lstStyle>
          <a:p>
            <a:r>
              <a:rPr lang="nl-NL"/>
              <a:t>dd-mm-2008</a:t>
            </a:r>
          </a:p>
        </p:txBody>
      </p:sp>
      <p:sp>
        <p:nvSpPr>
          <p:cNvPr id="5" name="Footer Placeholder 4"/>
          <p:cNvSpPr>
            <a:spLocks noGrp="1"/>
          </p:cNvSpPr>
          <p:nvPr>
            <p:ph type="ftr" sz="quarter" idx="11"/>
          </p:nvPr>
        </p:nvSpPr>
        <p:spPr/>
        <p:txBody>
          <a:bodyPr/>
          <a:lstStyle>
            <a:lvl1pPr>
              <a:defRPr/>
            </a:lvl1pPr>
          </a:lstStyle>
          <a:p>
            <a:endParaRPr lang="nl-NL"/>
          </a:p>
        </p:txBody>
      </p:sp>
      <p:sp>
        <p:nvSpPr>
          <p:cNvPr id="6" name="Slide Number Placeholder 5"/>
          <p:cNvSpPr>
            <a:spLocks noGrp="1"/>
          </p:cNvSpPr>
          <p:nvPr>
            <p:ph type="sldNum" sz="quarter" idx="12"/>
          </p:nvPr>
        </p:nvSpPr>
        <p:spPr/>
        <p:txBody>
          <a:bodyPr/>
          <a:lstStyle>
            <a:lvl1pPr>
              <a:defRPr/>
            </a:lvl1pPr>
          </a:lstStyle>
          <a:p>
            <a:fld id="{3A4BDAFE-4CBA-45FD-96F8-D84DCADCA9B5}" type="slidenum">
              <a:rPr lang="nl-NL"/>
              <a:pPr/>
              <a:t>‹#›</a:t>
            </a:fld>
            <a:endParaRPr lang="nl-NL"/>
          </a:p>
        </p:txBody>
      </p:sp>
    </p:spTree>
    <p:extLst>
      <p:ext uri="{BB962C8B-B14F-4D97-AF65-F5344CB8AC3E}">
        <p14:creationId xmlns:p14="http://schemas.microsoft.com/office/powerpoint/2010/main" val="36585162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336548" y="2205319"/>
            <a:ext cx="539496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36548" y="1420989"/>
            <a:ext cx="539496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62441" y="1420989"/>
            <a:ext cx="539496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336549" y="0"/>
            <a:ext cx="11016035" cy="1104900"/>
          </a:xfrm>
        </p:spPr>
        <p:txBody>
          <a:bodyPr/>
          <a:lstStyle>
            <a:lvl1pPr>
              <a:defRPr>
                <a:solidFill>
                  <a:schemeClr val="tx2"/>
                </a:solidFill>
              </a:defRPr>
            </a:lvl1p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62441" y="2205319"/>
            <a:ext cx="539496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9" name="Retângulo 43">
            <a:extLst>
              <a:ext uri="{FF2B5EF4-FFF2-40B4-BE49-F238E27FC236}">
                <a16:creationId xmlns:a16="http://schemas.microsoft.com/office/drawing/2014/main" id="{D1D3B4FE-9197-491C-B42E-D302587D4096}"/>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Tree>
    <p:extLst>
      <p:ext uri="{BB962C8B-B14F-4D97-AF65-F5344CB8AC3E}">
        <p14:creationId xmlns:p14="http://schemas.microsoft.com/office/powerpoint/2010/main" val="41063583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4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9455477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6550" y="1815352"/>
            <a:ext cx="11518900" cy="4466201"/>
          </a:xfrm>
        </p:spPr>
        <p:txBody>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
        <p:nvSpPr>
          <p:cNvPr id="5" name="Retângulo 43">
            <a:extLst>
              <a:ext uri="{FF2B5EF4-FFF2-40B4-BE49-F238E27FC236}">
                <a16:creationId xmlns:a16="http://schemas.microsoft.com/office/drawing/2014/main" id="{66CA8EBE-7C2B-4E9A-9E28-5B00004DECB1}"/>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Tree>
    <p:extLst>
      <p:ext uri="{BB962C8B-B14F-4D97-AF65-F5344CB8AC3E}">
        <p14:creationId xmlns:p14="http://schemas.microsoft.com/office/powerpoint/2010/main" val="28149944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6550" y="1815352"/>
            <a:ext cx="11518900" cy="4466201"/>
          </a:xfrm>
        </p:spPr>
        <p:txBody>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
        <p:nvSpPr>
          <p:cNvPr id="5" name="Retângulo 43">
            <a:extLst>
              <a:ext uri="{FF2B5EF4-FFF2-40B4-BE49-F238E27FC236}">
                <a16:creationId xmlns:a16="http://schemas.microsoft.com/office/drawing/2014/main" id="{66CA8EBE-7C2B-4E9A-9E28-5B00004DECB1}"/>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Tree>
    <p:extLst>
      <p:ext uri="{BB962C8B-B14F-4D97-AF65-F5344CB8AC3E}">
        <p14:creationId xmlns:p14="http://schemas.microsoft.com/office/powerpoint/2010/main" val="19668194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ver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B035EEF-F976-4435-9983-3E734289A4CC}"/>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a:extLst>
              <a:ext uri="{FF2B5EF4-FFF2-40B4-BE49-F238E27FC236}">
                <a16:creationId xmlns:a16="http://schemas.microsoft.com/office/drawing/2014/main" id="{FFB815A1-694B-40DA-9CE7-FFD207203048}"/>
              </a:ext>
            </a:extLst>
          </p:cNvPr>
          <p:cNvPicPr>
            <a:picLocks noChangeAspect="1"/>
          </p:cNvPicPr>
          <p:nvPr userDrawn="1"/>
        </p:nvPicPr>
        <p:blipFill rotWithShape="1">
          <a:blip r:embed="rId2"/>
          <a:srcRect l="22405" t="4691" b="10033"/>
          <a:stretch/>
        </p:blipFill>
        <p:spPr>
          <a:xfrm>
            <a:off x="4343399" y="381000"/>
            <a:ext cx="7653153" cy="6477000"/>
          </a:xfrm>
          <a:prstGeom prst="rect">
            <a:avLst/>
          </a:prstGeom>
        </p:spPr>
      </p:pic>
      <p:sp>
        <p:nvSpPr>
          <p:cNvPr id="11" name="Title 1">
            <a:extLst>
              <a:ext uri="{FF2B5EF4-FFF2-40B4-BE49-F238E27FC236}">
                <a16:creationId xmlns:a16="http://schemas.microsoft.com/office/drawing/2014/main" id="{E11F5211-E69F-48FA-8115-83C7A307BAC9}"/>
              </a:ext>
            </a:extLst>
          </p:cNvPr>
          <p:cNvSpPr>
            <a:spLocks noGrp="1"/>
          </p:cNvSpPr>
          <p:nvPr>
            <p:ph type="ctrTitle" hasCustomPrompt="1"/>
          </p:nvPr>
        </p:nvSpPr>
        <p:spPr>
          <a:xfrm>
            <a:off x="407988" y="2935224"/>
            <a:ext cx="4449728"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12" name="Subtitle 2">
            <a:extLst>
              <a:ext uri="{FF2B5EF4-FFF2-40B4-BE49-F238E27FC236}">
                <a16:creationId xmlns:a16="http://schemas.microsoft.com/office/drawing/2014/main" id="{86ECA54D-BFAD-427F-98C8-588D35752E84}"/>
              </a:ext>
            </a:extLst>
          </p:cNvPr>
          <p:cNvSpPr>
            <a:spLocks noGrp="1"/>
          </p:cNvSpPr>
          <p:nvPr>
            <p:ph type="subTitle" idx="1" hasCustomPrompt="1"/>
          </p:nvPr>
        </p:nvSpPr>
        <p:spPr>
          <a:xfrm>
            <a:off x="407988" y="3913632"/>
            <a:ext cx="3306728" cy="7977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a:t>
            </a:r>
            <a:br>
              <a:rPr lang="en-US" dirty="0"/>
            </a:br>
            <a:r>
              <a:rPr lang="en-US" dirty="0"/>
              <a:t>location, and date</a:t>
            </a:r>
          </a:p>
        </p:txBody>
      </p:sp>
      <p:pic>
        <p:nvPicPr>
          <p:cNvPr id="13" name="Graphic 9">
            <a:extLst>
              <a:ext uri="{FF2B5EF4-FFF2-40B4-BE49-F238E27FC236}">
                <a16:creationId xmlns:a16="http://schemas.microsoft.com/office/drawing/2014/main" id="{E61F92A0-CCE4-4545-A358-FD87D2F3B1D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07988" y="393120"/>
            <a:ext cx="2286000" cy="510013"/>
          </a:xfrm>
          <a:prstGeom prst="rect">
            <a:avLst/>
          </a:prstGeom>
        </p:spPr>
      </p:pic>
      <p:cxnSp>
        <p:nvCxnSpPr>
          <p:cNvPr id="17" name="Straight Connector 16">
            <a:extLst>
              <a:ext uri="{FF2B5EF4-FFF2-40B4-BE49-F238E27FC236}">
                <a16:creationId xmlns:a16="http://schemas.microsoft.com/office/drawing/2014/main" id="{52C6D390-6A21-455F-A7E3-20BD3BE52240}"/>
              </a:ext>
            </a:extLst>
          </p:cNvPr>
          <p:cNvCxnSpPr/>
          <p:nvPr userDrawn="1"/>
        </p:nvCxnSpPr>
        <p:spPr>
          <a:xfrm>
            <a:off x="2880880" y="381426"/>
            <a:ext cx="0" cy="533400"/>
          </a:xfrm>
          <a:prstGeom prst="line">
            <a:avLst/>
          </a:prstGeom>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52154D89-9F4C-4FA6-B252-10DD7BAD2C56}"/>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4462" t="15604" r="4283" b="15623"/>
          <a:stretch/>
        </p:blipFill>
        <p:spPr>
          <a:xfrm>
            <a:off x="3067772" y="423935"/>
            <a:ext cx="2186853" cy="448383"/>
          </a:xfrm>
          <a:prstGeom prst="rect">
            <a:avLst/>
          </a:prstGeom>
        </p:spPr>
      </p:pic>
    </p:spTree>
    <p:extLst>
      <p:ext uri="{BB962C8B-B14F-4D97-AF65-F5344CB8AC3E}">
        <p14:creationId xmlns:p14="http://schemas.microsoft.com/office/powerpoint/2010/main" val="21755365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9" name="Group 18">
            <a:extLst>
              <a:ext uri="{FF2B5EF4-FFF2-40B4-BE49-F238E27FC236}">
                <a16:creationId xmlns:a16="http://schemas.microsoft.com/office/drawing/2014/main" id="{A767FE02-C0B4-493A-A2CB-68E8A0DBA5CF}"/>
              </a:ext>
            </a:extLst>
          </p:cNvPr>
          <p:cNvGrpSpPr/>
          <p:nvPr userDrawn="1"/>
        </p:nvGrpSpPr>
        <p:grpSpPr>
          <a:xfrm>
            <a:off x="2" y="3795293"/>
            <a:ext cx="12191998" cy="651744"/>
            <a:chOff x="2" y="3276600"/>
            <a:chExt cx="12191998" cy="1097843"/>
          </a:xfrm>
        </p:grpSpPr>
        <p:sp>
          <p:nvSpPr>
            <p:cNvPr id="21" name="Rectangle 52">
              <a:extLst>
                <a:ext uri="{FF2B5EF4-FFF2-40B4-BE49-F238E27FC236}">
                  <a16:creationId xmlns:a16="http://schemas.microsoft.com/office/drawing/2014/main" id="{12B76A57-7AA2-4EC5-ABC1-90CA322C3DCB}"/>
                </a:ext>
              </a:extLst>
            </p:cNvPr>
            <p:cNvSpPr>
              <a:spLocks noChangeArrowheads="1"/>
            </p:cNvSpPr>
            <p:nvPr/>
          </p:nvSpPr>
          <p:spPr bwMode="auto">
            <a:xfrm>
              <a:off x="2" y="3307080"/>
              <a:ext cx="12191998" cy="1067363"/>
            </a:xfrm>
            <a:prstGeom prst="rect">
              <a:avLst/>
            </a:prstGeom>
            <a:solidFill>
              <a:schemeClr val="bg2">
                <a:lumMod val="50000"/>
              </a:schemeClr>
            </a:solidFill>
            <a:ln w="9525">
              <a:noFill/>
              <a:miter lim="800000"/>
              <a:headEnd/>
              <a:tailEnd/>
            </a:ln>
            <a:effectLst/>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22" name="Rectangle 52">
              <a:extLst>
                <a:ext uri="{FF2B5EF4-FFF2-40B4-BE49-F238E27FC236}">
                  <a16:creationId xmlns:a16="http://schemas.microsoft.com/office/drawing/2014/main" id="{EB9874DC-E7BA-44FD-A223-2D2C70D0C478}"/>
                </a:ext>
              </a:extLst>
            </p:cNvPr>
            <p:cNvSpPr>
              <a:spLocks noChangeArrowheads="1"/>
            </p:cNvSpPr>
            <p:nvPr/>
          </p:nvSpPr>
          <p:spPr bwMode="auto">
            <a:xfrm>
              <a:off x="2" y="3276600"/>
              <a:ext cx="12191998" cy="1067363"/>
            </a:xfrm>
            <a:prstGeom prst="rect">
              <a:avLst/>
            </a:prstGeom>
            <a:solidFill>
              <a:schemeClr val="bg2">
                <a:lumMod val="90000"/>
              </a:schemeClr>
            </a:solidFill>
            <a:ln w="9525">
              <a:noFill/>
              <a:miter lim="800000"/>
              <a:headEnd/>
              <a:tailEnd/>
            </a:ln>
            <a:effectLst/>
          </p:spPr>
          <p:txBody>
            <a:bodyPr vert="horz" wrap="square" lIns="91440" tIns="45720" rIns="91440" bIns="45720" numCol="1" anchor="t" anchorCtr="0" compatLnSpc="1">
              <a:prstTxWarp prst="textNoShape">
                <a:avLst/>
              </a:prstTxWarp>
            </a:bodyPr>
            <a:lstStyle/>
            <a:p>
              <a:endParaRPr lang="en-GB" dirty="0">
                <a:latin typeface="+mj-lt"/>
              </a:endParaRPr>
            </a:p>
          </p:txBody>
        </p:sp>
        <p:grpSp>
          <p:nvGrpSpPr>
            <p:cNvPr id="23" name="Group 22">
              <a:extLst>
                <a:ext uri="{FF2B5EF4-FFF2-40B4-BE49-F238E27FC236}">
                  <a16:creationId xmlns:a16="http://schemas.microsoft.com/office/drawing/2014/main" id="{A407381F-8477-4297-90F1-2CBA9B664675}"/>
                </a:ext>
              </a:extLst>
            </p:cNvPr>
            <p:cNvGrpSpPr/>
            <p:nvPr/>
          </p:nvGrpSpPr>
          <p:grpSpPr>
            <a:xfrm>
              <a:off x="2" y="3440867"/>
              <a:ext cx="12191998" cy="738827"/>
              <a:chOff x="0" y="3153595"/>
              <a:chExt cx="9906000" cy="551630"/>
            </a:xfrm>
          </p:grpSpPr>
          <p:sp>
            <p:nvSpPr>
              <p:cNvPr id="24" name="Rectangle 55">
                <a:extLst>
                  <a:ext uri="{FF2B5EF4-FFF2-40B4-BE49-F238E27FC236}">
                    <a16:creationId xmlns:a16="http://schemas.microsoft.com/office/drawing/2014/main" id="{1FD04431-2DF0-43DB-AF6E-B2E23FC185B3}"/>
                  </a:ext>
                </a:extLst>
              </p:cNvPr>
              <p:cNvSpPr>
                <a:spLocks noChangeArrowheads="1"/>
              </p:cNvSpPr>
              <p:nvPr/>
            </p:nvSpPr>
            <p:spPr bwMode="auto">
              <a:xfrm>
                <a:off x="0" y="3153595"/>
                <a:ext cx="9906000" cy="551630"/>
              </a:xfrm>
              <a:prstGeom prst="rect">
                <a:avLst/>
              </a:prstGeom>
              <a:solidFill>
                <a:schemeClr val="bg2">
                  <a:lumMod val="75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25" name="Rectangle 54">
                <a:extLst>
                  <a:ext uri="{FF2B5EF4-FFF2-40B4-BE49-F238E27FC236}">
                    <a16:creationId xmlns:a16="http://schemas.microsoft.com/office/drawing/2014/main" id="{56768400-3EB1-400B-958A-86C932B91330}"/>
                  </a:ext>
                </a:extLst>
              </p:cNvPr>
              <p:cNvSpPr>
                <a:spLocks noChangeArrowheads="1"/>
              </p:cNvSpPr>
              <p:nvPr/>
            </p:nvSpPr>
            <p:spPr bwMode="auto">
              <a:xfrm>
                <a:off x="0" y="3189877"/>
                <a:ext cx="9906000" cy="479066"/>
              </a:xfrm>
              <a:prstGeom prst="rect">
                <a:avLst/>
              </a:prstGeom>
              <a:solidFill>
                <a:schemeClr val="accent3"/>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grpSp>
            <p:nvGrpSpPr>
              <p:cNvPr id="26" name="Group 25">
                <a:extLst>
                  <a:ext uri="{FF2B5EF4-FFF2-40B4-BE49-F238E27FC236}">
                    <a16:creationId xmlns:a16="http://schemas.microsoft.com/office/drawing/2014/main" id="{E6AE6A4F-AD1D-4346-8749-A3F3C322AD80}"/>
                  </a:ext>
                </a:extLst>
              </p:cNvPr>
              <p:cNvGrpSpPr/>
              <p:nvPr/>
            </p:nvGrpSpPr>
            <p:grpSpPr>
              <a:xfrm>
                <a:off x="247683" y="3411230"/>
                <a:ext cx="9357360" cy="36360"/>
                <a:chOff x="247683" y="3411230"/>
                <a:chExt cx="9357360" cy="36360"/>
              </a:xfrm>
            </p:grpSpPr>
            <p:sp>
              <p:nvSpPr>
                <p:cNvPr id="27" name="Rectangle 57">
                  <a:extLst>
                    <a:ext uri="{FF2B5EF4-FFF2-40B4-BE49-F238E27FC236}">
                      <a16:creationId xmlns:a16="http://schemas.microsoft.com/office/drawing/2014/main" id="{FE960392-DF0B-4A91-86C7-6E786305EB4A}"/>
                    </a:ext>
                  </a:extLst>
                </p:cNvPr>
                <p:cNvSpPr>
                  <a:spLocks noChangeArrowheads="1"/>
                </p:cNvSpPr>
                <p:nvPr/>
              </p:nvSpPr>
              <p:spPr bwMode="auto">
                <a:xfrm>
                  <a:off x="247683" y="3411230"/>
                  <a:ext cx="365760" cy="3636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28" name="Rectangle 57">
                  <a:extLst>
                    <a:ext uri="{FF2B5EF4-FFF2-40B4-BE49-F238E27FC236}">
                      <a16:creationId xmlns:a16="http://schemas.microsoft.com/office/drawing/2014/main" id="{DB50958B-FDD8-4DED-8FBB-CA6380725488}"/>
                    </a:ext>
                  </a:extLst>
                </p:cNvPr>
                <p:cNvSpPr>
                  <a:spLocks noChangeArrowheads="1"/>
                </p:cNvSpPr>
                <p:nvPr/>
              </p:nvSpPr>
              <p:spPr bwMode="auto">
                <a:xfrm>
                  <a:off x="889940" y="3411230"/>
                  <a:ext cx="365760" cy="3636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29" name="Rectangle 57">
                  <a:extLst>
                    <a:ext uri="{FF2B5EF4-FFF2-40B4-BE49-F238E27FC236}">
                      <a16:creationId xmlns:a16="http://schemas.microsoft.com/office/drawing/2014/main" id="{D1DD9C81-9BA3-4CBF-9AF1-C560E8402DC6}"/>
                    </a:ext>
                  </a:extLst>
                </p:cNvPr>
                <p:cNvSpPr>
                  <a:spLocks noChangeArrowheads="1"/>
                </p:cNvSpPr>
                <p:nvPr/>
              </p:nvSpPr>
              <p:spPr bwMode="auto">
                <a:xfrm>
                  <a:off x="1532197" y="3411230"/>
                  <a:ext cx="365760" cy="3636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30" name="Rectangle 57">
                  <a:extLst>
                    <a:ext uri="{FF2B5EF4-FFF2-40B4-BE49-F238E27FC236}">
                      <a16:creationId xmlns:a16="http://schemas.microsoft.com/office/drawing/2014/main" id="{C67DDC49-1AD2-40B5-AA55-579050E9DFC8}"/>
                    </a:ext>
                  </a:extLst>
                </p:cNvPr>
                <p:cNvSpPr>
                  <a:spLocks noChangeArrowheads="1"/>
                </p:cNvSpPr>
                <p:nvPr/>
              </p:nvSpPr>
              <p:spPr bwMode="auto">
                <a:xfrm>
                  <a:off x="2174454" y="3411230"/>
                  <a:ext cx="365760" cy="3636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31" name="Rectangle 57">
                  <a:extLst>
                    <a:ext uri="{FF2B5EF4-FFF2-40B4-BE49-F238E27FC236}">
                      <a16:creationId xmlns:a16="http://schemas.microsoft.com/office/drawing/2014/main" id="{6B701B7B-3310-4091-B6FA-C3CF21C9627D}"/>
                    </a:ext>
                  </a:extLst>
                </p:cNvPr>
                <p:cNvSpPr>
                  <a:spLocks noChangeArrowheads="1"/>
                </p:cNvSpPr>
                <p:nvPr/>
              </p:nvSpPr>
              <p:spPr bwMode="auto">
                <a:xfrm>
                  <a:off x="2816711" y="3411230"/>
                  <a:ext cx="365760" cy="3636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32" name="Rectangle 57">
                  <a:extLst>
                    <a:ext uri="{FF2B5EF4-FFF2-40B4-BE49-F238E27FC236}">
                      <a16:creationId xmlns:a16="http://schemas.microsoft.com/office/drawing/2014/main" id="{4853B8C0-C941-4BD9-8EFF-5DF7EEF84A37}"/>
                    </a:ext>
                  </a:extLst>
                </p:cNvPr>
                <p:cNvSpPr>
                  <a:spLocks noChangeArrowheads="1"/>
                </p:cNvSpPr>
                <p:nvPr/>
              </p:nvSpPr>
              <p:spPr bwMode="auto">
                <a:xfrm>
                  <a:off x="4101225" y="3411230"/>
                  <a:ext cx="365760" cy="3636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33" name="Rectangle 57">
                  <a:extLst>
                    <a:ext uri="{FF2B5EF4-FFF2-40B4-BE49-F238E27FC236}">
                      <a16:creationId xmlns:a16="http://schemas.microsoft.com/office/drawing/2014/main" id="{F83D0529-38BE-4827-87C1-A18580970E56}"/>
                    </a:ext>
                  </a:extLst>
                </p:cNvPr>
                <p:cNvSpPr>
                  <a:spLocks noChangeArrowheads="1"/>
                </p:cNvSpPr>
                <p:nvPr/>
              </p:nvSpPr>
              <p:spPr bwMode="auto">
                <a:xfrm>
                  <a:off x="3458968" y="3411230"/>
                  <a:ext cx="365760" cy="3636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34" name="Rectangle 57">
                  <a:extLst>
                    <a:ext uri="{FF2B5EF4-FFF2-40B4-BE49-F238E27FC236}">
                      <a16:creationId xmlns:a16="http://schemas.microsoft.com/office/drawing/2014/main" id="{B85F3772-453E-4222-9680-45075B215378}"/>
                    </a:ext>
                  </a:extLst>
                </p:cNvPr>
                <p:cNvSpPr>
                  <a:spLocks noChangeArrowheads="1"/>
                </p:cNvSpPr>
                <p:nvPr/>
              </p:nvSpPr>
              <p:spPr bwMode="auto">
                <a:xfrm>
                  <a:off x="4743482" y="3411230"/>
                  <a:ext cx="365760" cy="3636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35" name="Rectangle 34">
                  <a:extLst>
                    <a:ext uri="{FF2B5EF4-FFF2-40B4-BE49-F238E27FC236}">
                      <a16:creationId xmlns:a16="http://schemas.microsoft.com/office/drawing/2014/main" id="{9B06FF73-B1BB-4DE9-A2D4-61157C510291}"/>
                    </a:ext>
                  </a:extLst>
                </p:cNvPr>
                <p:cNvSpPr>
                  <a:spLocks noChangeArrowheads="1"/>
                </p:cNvSpPr>
                <p:nvPr/>
              </p:nvSpPr>
              <p:spPr bwMode="auto">
                <a:xfrm>
                  <a:off x="5385739" y="3411230"/>
                  <a:ext cx="365760" cy="3636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36" name="Rectangle 57">
                  <a:extLst>
                    <a:ext uri="{FF2B5EF4-FFF2-40B4-BE49-F238E27FC236}">
                      <a16:creationId xmlns:a16="http://schemas.microsoft.com/office/drawing/2014/main" id="{73A8EAE2-B165-4EBD-8A12-B5D023480F5A}"/>
                    </a:ext>
                  </a:extLst>
                </p:cNvPr>
                <p:cNvSpPr>
                  <a:spLocks noChangeArrowheads="1"/>
                </p:cNvSpPr>
                <p:nvPr/>
              </p:nvSpPr>
              <p:spPr bwMode="auto">
                <a:xfrm>
                  <a:off x="6027996" y="3411230"/>
                  <a:ext cx="365760" cy="3636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37" name="Rectangle 57">
                  <a:extLst>
                    <a:ext uri="{FF2B5EF4-FFF2-40B4-BE49-F238E27FC236}">
                      <a16:creationId xmlns:a16="http://schemas.microsoft.com/office/drawing/2014/main" id="{A7F3081D-B76A-4417-8712-6FF17342FAC5}"/>
                    </a:ext>
                  </a:extLst>
                </p:cNvPr>
                <p:cNvSpPr>
                  <a:spLocks noChangeArrowheads="1"/>
                </p:cNvSpPr>
                <p:nvPr/>
              </p:nvSpPr>
              <p:spPr bwMode="auto">
                <a:xfrm>
                  <a:off x="6670253" y="3411230"/>
                  <a:ext cx="365760" cy="3636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38" name="Rectangle 57">
                  <a:extLst>
                    <a:ext uri="{FF2B5EF4-FFF2-40B4-BE49-F238E27FC236}">
                      <a16:creationId xmlns:a16="http://schemas.microsoft.com/office/drawing/2014/main" id="{8FB945DC-7FAB-4EB6-B1CD-58515382F6BD}"/>
                    </a:ext>
                  </a:extLst>
                </p:cNvPr>
                <p:cNvSpPr>
                  <a:spLocks noChangeArrowheads="1"/>
                </p:cNvSpPr>
                <p:nvPr/>
              </p:nvSpPr>
              <p:spPr bwMode="auto">
                <a:xfrm>
                  <a:off x="7312510" y="3411230"/>
                  <a:ext cx="365760" cy="3636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39" name="Rectangle 57">
                  <a:extLst>
                    <a:ext uri="{FF2B5EF4-FFF2-40B4-BE49-F238E27FC236}">
                      <a16:creationId xmlns:a16="http://schemas.microsoft.com/office/drawing/2014/main" id="{D802DD3D-C169-4A56-9408-1F4318E3C0B6}"/>
                    </a:ext>
                  </a:extLst>
                </p:cNvPr>
                <p:cNvSpPr>
                  <a:spLocks noChangeArrowheads="1"/>
                </p:cNvSpPr>
                <p:nvPr/>
              </p:nvSpPr>
              <p:spPr bwMode="auto">
                <a:xfrm>
                  <a:off x="7954767" y="3411230"/>
                  <a:ext cx="365760" cy="3636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40" name="Rectangle 57">
                  <a:extLst>
                    <a:ext uri="{FF2B5EF4-FFF2-40B4-BE49-F238E27FC236}">
                      <a16:creationId xmlns:a16="http://schemas.microsoft.com/office/drawing/2014/main" id="{6BC8B655-DC80-49D0-A5AF-0D734515D606}"/>
                    </a:ext>
                  </a:extLst>
                </p:cNvPr>
                <p:cNvSpPr>
                  <a:spLocks noChangeArrowheads="1"/>
                </p:cNvSpPr>
                <p:nvPr/>
              </p:nvSpPr>
              <p:spPr bwMode="auto">
                <a:xfrm>
                  <a:off x="8597024" y="3411230"/>
                  <a:ext cx="365760" cy="3636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41" name="Rectangle 57">
                  <a:extLst>
                    <a:ext uri="{FF2B5EF4-FFF2-40B4-BE49-F238E27FC236}">
                      <a16:creationId xmlns:a16="http://schemas.microsoft.com/office/drawing/2014/main" id="{CE6ACF46-D268-4399-8BDD-27AD496566E5}"/>
                    </a:ext>
                  </a:extLst>
                </p:cNvPr>
                <p:cNvSpPr>
                  <a:spLocks noChangeArrowheads="1"/>
                </p:cNvSpPr>
                <p:nvPr/>
              </p:nvSpPr>
              <p:spPr bwMode="auto">
                <a:xfrm>
                  <a:off x="9239283" y="3411230"/>
                  <a:ext cx="365760" cy="3636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grpSp>
        </p:grpSp>
      </p:gr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kumimoji="0" lang="pt-PT" sz="2400" b="0" i="0" u="none" strike="noStrike" kern="1200" cap="none" spc="0" normalizeH="0" baseline="0" noProof="0" dirty="0">
                <a:ln>
                  <a:noFill/>
                </a:ln>
                <a:solidFill>
                  <a:schemeClr val="tx2"/>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sp>
        <p:nvSpPr>
          <p:cNvPr id="20" name="Retângulo 43">
            <a:extLst>
              <a:ext uri="{FF2B5EF4-FFF2-40B4-BE49-F238E27FC236}">
                <a16:creationId xmlns:a16="http://schemas.microsoft.com/office/drawing/2014/main" id="{D9EA41A1-15F5-4A15-9F8C-72AF7C3479D1}"/>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grpSp>
        <p:nvGrpSpPr>
          <p:cNvPr id="8" name="Group 7">
            <a:extLst>
              <a:ext uri="{FF2B5EF4-FFF2-40B4-BE49-F238E27FC236}">
                <a16:creationId xmlns:a16="http://schemas.microsoft.com/office/drawing/2014/main" id="{E41CA0F9-C9E1-4DE4-AE03-BD871737F405}"/>
              </a:ext>
            </a:extLst>
          </p:cNvPr>
          <p:cNvGrpSpPr/>
          <p:nvPr userDrawn="1"/>
        </p:nvGrpSpPr>
        <p:grpSpPr>
          <a:xfrm>
            <a:off x="412749" y="6585692"/>
            <a:ext cx="4192376" cy="155576"/>
            <a:chOff x="412749" y="6585692"/>
            <a:chExt cx="4192376" cy="155576"/>
          </a:xfrm>
        </p:grpSpPr>
        <p:cxnSp>
          <p:nvCxnSpPr>
            <p:cNvPr id="12" name="Conector reto 49">
              <a:extLst>
                <a:ext uri="{FF2B5EF4-FFF2-40B4-BE49-F238E27FC236}">
                  <a16:creationId xmlns:a16="http://schemas.microsoft.com/office/drawing/2014/main" id="{65CDBBDF-DE42-450D-8ED1-5CEF45940EDD}"/>
                </a:ext>
              </a:extLst>
            </p:cNvPr>
            <p:cNvCxnSpPr>
              <a:cxnSpLocks/>
            </p:cNvCxnSpPr>
            <p:nvPr userDrawn="1"/>
          </p:nvCxnSpPr>
          <p:spPr>
            <a:xfrm flipV="1">
              <a:off x="2438400" y="6585692"/>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id="{A9FF7125-60E2-473D-B5DF-57294516B068}"/>
                </a:ext>
              </a:extLst>
            </p:cNvPr>
            <p:cNvSpPr/>
            <p:nvPr userDrawn="1"/>
          </p:nvSpPr>
          <p:spPr>
            <a:xfrm>
              <a:off x="412749" y="6611158"/>
              <a:ext cx="1930401" cy="104644"/>
            </a:xfrm>
            <a:prstGeom prst="rect">
              <a:avLst/>
            </a:prstGeom>
          </p:spPr>
          <p:txBody>
            <a:bodyPr wrap="squar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Forrester Oracle Wave | August 2019</a:t>
              </a:r>
            </a:p>
          </p:txBody>
        </p:sp>
        <p:sp>
          <p:nvSpPr>
            <p:cNvPr id="14" name="Retângulo 43">
              <a:extLst>
                <a:ext uri="{FF2B5EF4-FFF2-40B4-BE49-F238E27FC236}">
                  <a16:creationId xmlns:a16="http://schemas.microsoft.com/office/drawing/2014/main" id="{A5F613AD-193B-48E7-867A-D60BC69537BD}"/>
                </a:ext>
              </a:extLst>
            </p:cNvPr>
            <p:cNvSpPr/>
            <p:nvPr userDrawn="1"/>
          </p:nvSpPr>
          <p:spPr>
            <a:xfrm>
              <a:off x="2566105" y="6589225"/>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9 Capgemini. All rights reserved.</a:t>
              </a:r>
            </a:p>
          </p:txBody>
        </p:sp>
      </p:grpSp>
      <p:sp>
        <p:nvSpPr>
          <p:cNvPr id="18" name="Freeform: Shape 17">
            <a:extLst>
              <a:ext uri="{FF2B5EF4-FFF2-40B4-BE49-F238E27FC236}">
                <a16:creationId xmlns:a16="http://schemas.microsoft.com/office/drawing/2014/main" id="{8BC24E59-720C-4343-BCE9-2160224148E1}"/>
              </a:ext>
            </a:extLst>
          </p:cNvPr>
          <p:cNvSpPr>
            <a:spLocks noChangeAspect="1"/>
          </p:cNvSpPr>
          <p:nvPr userDrawn="1"/>
        </p:nvSpPr>
        <p:spPr bwMode="auto">
          <a:xfrm rot="20201430">
            <a:off x="-1476546" y="-274463"/>
            <a:ext cx="5339712" cy="6436180"/>
          </a:xfrm>
          <a:custGeom>
            <a:avLst/>
            <a:gdLst>
              <a:gd name="connsiteX0" fmla="*/ 2736310 w 5339712"/>
              <a:gd name="connsiteY0" fmla="*/ 0 h 6436180"/>
              <a:gd name="connsiteX1" fmla="*/ 5339712 w 5339712"/>
              <a:gd name="connsiteY1" fmla="*/ 1121714 h 6436180"/>
              <a:gd name="connsiteX2" fmla="*/ 5339249 w 5339712"/>
              <a:gd name="connsiteY2" fmla="*/ 1126303 h 6436180"/>
              <a:gd name="connsiteX3" fmla="*/ 4052864 w 5339712"/>
              <a:gd name="connsiteY3" fmla="*/ 2507036 h 6436180"/>
              <a:gd name="connsiteX4" fmla="*/ 1639116 w 5339712"/>
              <a:gd name="connsiteY4" fmla="*/ 5314084 h 6436180"/>
              <a:gd name="connsiteX5" fmla="*/ 275543 w 5339712"/>
              <a:gd name="connsiteY5" fmla="*/ 6384593 h 6436180"/>
              <a:gd name="connsiteX6" fmla="*/ 198296 w 5339712"/>
              <a:gd name="connsiteY6" fmla="*/ 6436180 h 6436180"/>
              <a:gd name="connsiteX7" fmla="*/ 0 w 5339712"/>
              <a:gd name="connsiteY7" fmla="*/ 6350741 h 6436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39712" h="6436180">
                <a:moveTo>
                  <a:pt x="2736310" y="0"/>
                </a:moveTo>
                <a:lnTo>
                  <a:pt x="5339712" y="1121714"/>
                </a:lnTo>
                <a:lnTo>
                  <a:pt x="5339249" y="1126303"/>
                </a:lnTo>
                <a:cubicBezTo>
                  <a:pt x="5259917" y="1602242"/>
                  <a:pt x="4939917" y="2131047"/>
                  <a:pt x="4052864" y="2507036"/>
                </a:cubicBezTo>
                <a:cubicBezTo>
                  <a:pt x="2030397" y="3361355"/>
                  <a:pt x="780330" y="3829196"/>
                  <a:pt x="1639116" y="5314084"/>
                </a:cubicBezTo>
                <a:cubicBezTo>
                  <a:pt x="1131276" y="5759359"/>
                  <a:pt x="677567" y="6109525"/>
                  <a:pt x="275543" y="6384593"/>
                </a:cubicBezTo>
                <a:lnTo>
                  <a:pt x="198296" y="6436180"/>
                </a:lnTo>
                <a:lnTo>
                  <a:pt x="0" y="6350741"/>
                </a:ln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4251471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up)">
                                      <p:cBhvr>
                                        <p:cTn id="7" dur="500"/>
                                        <p:tgtEl>
                                          <p:spTgt spid="18"/>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left)">
                                      <p:cBhvr>
                                        <p:cTn id="1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extLst>
    <p:ext uri="{DCECCB84-F9BA-43D5-87BE-67443E8EF086}">
      <p15:sldGuideLst xmlns:p15="http://schemas.microsoft.com/office/powerpoint/2012/main">
        <p15:guide id="1" orient="horz" pos="421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kumimoji="0" lang="pt-PT" sz="2400" b="0" i="0" u="none" strike="noStrike" kern="1200" cap="none" spc="0" normalizeH="0" baseline="0" noProof="0" dirty="0">
                <a:ln>
                  <a:noFill/>
                </a:ln>
                <a:solidFill>
                  <a:schemeClr val="tx2"/>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sp>
        <p:nvSpPr>
          <p:cNvPr id="20" name="Retângulo 43">
            <a:extLst>
              <a:ext uri="{FF2B5EF4-FFF2-40B4-BE49-F238E27FC236}">
                <a16:creationId xmlns:a16="http://schemas.microsoft.com/office/drawing/2014/main" id="{D9EA41A1-15F5-4A15-9F8C-72AF7C3479D1}"/>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grpSp>
        <p:nvGrpSpPr>
          <p:cNvPr id="9" name="Group 8">
            <a:extLst>
              <a:ext uri="{FF2B5EF4-FFF2-40B4-BE49-F238E27FC236}">
                <a16:creationId xmlns:a16="http://schemas.microsoft.com/office/drawing/2014/main" id="{64DC9489-19C3-4842-B7F1-950953732C28}"/>
              </a:ext>
            </a:extLst>
          </p:cNvPr>
          <p:cNvGrpSpPr/>
          <p:nvPr userDrawn="1"/>
        </p:nvGrpSpPr>
        <p:grpSpPr>
          <a:xfrm>
            <a:off x="412749" y="6585692"/>
            <a:ext cx="4192376" cy="155576"/>
            <a:chOff x="412749" y="6585692"/>
            <a:chExt cx="4192376" cy="155576"/>
          </a:xfrm>
        </p:grpSpPr>
        <p:cxnSp>
          <p:nvCxnSpPr>
            <p:cNvPr id="10" name="Conector reto 49">
              <a:extLst>
                <a:ext uri="{FF2B5EF4-FFF2-40B4-BE49-F238E27FC236}">
                  <a16:creationId xmlns:a16="http://schemas.microsoft.com/office/drawing/2014/main" id="{49E5B3E8-7F6D-440F-978A-C84D488400A7}"/>
                </a:ext>
              </a:extLst>
            </p:cNvPr>
            <p:cNvCxnSpPr>
              <a:cxnSpLocks/>
            </p:cNvCxnSpPr>
            <p:nvPr userDrawn="1"/>
          </p:nvCxnSpPr>
          <p:spPr>
            <a:xfrm flipV="1">
              <a:off x="2438400" y="6585692"/>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extLst>
                <a:ext uri="{FF2B5EF4-FFF2-40B4-BE49-F238E27FC236}">
                  <a16:creationId xmlns:a16="http://schemas.microsoft.com/office/drawing/2014/main" id="{B928555D-8E0E-4321-B31C-E39FBB2AFB66}"/>
                </a:ext>
              </a:extLst>
            </p:cNvPr>
            <p:cNvSpPr/>
            <p:nvPr userDrawn="1"/>
          </p:nvSpPr>
          <p:spPr>
            <a:xfrm>
              <a:off x="412749" y="6611158"/>
              <a:ext cx="1930401" cy="104644"/>
            </a:xfrm>
            <a:prstGeom prst="rect">
              <a:avLst/>
            </a:prstGeom>
          </p:spPr>
          <p:txBody>
            <a:bodyPr wrap="squar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Forrester Oracle Wave | August 2019</a:t>
              </a:r>
            </a:p>
          </p:txBody>
        </p:sp>
        <p:sp>
          <p:nvSpPr>
            <p:cNvPr id="13" name="Retângulo 43">
              <a:extLst>
                <a:ext uri="{FF2B5EF4-FFF2-40B4-BE49-F238E27FC236}">
                  <a16:creationId xmlns:a16="http://schemas.microsoft.com/office/drawing/2014/main" id="{C46EC604-2B2F-4876-BEBD-C11B470B1E54}"/>
                </a:ext>
              </a:extLst>
            </p:cNvPr>
            <p:cNvSpPr/>
            <p:nvPr userDrawn="1"/>
          </p:nvSpPr>
          <p:spPr>
            <a:xfrm>
              <a:off x="2566105" y="6589225"/>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9 Capgemini. All rights reserved.</a:t>
              </a:r>
            </a:p>
          </p:txBody>
        </p:sp>
      </p:grpSp>
    </p:spTree>
    <p:extLst>
      <p:ext uri="{BB962C8B-B14F-4D97-AF65-F5344CB8AC3E}">
        <p14:creationId xmlns:p14="http://schemas.microsoft.com/office/powerpoint/2010/main" val="2012085760"/>
      </p:ext>
    </p:extLst>
  </p:cSld>
  <p:clrMapOvr>
    <a:masterClrMapping/>
  </p:clrMapOvr>
  <p:extLst>
    <p:ext uri="{DCECCB84-F9BA-43D5-87BE-67443E8EF086}">
      <p15:sldGuideLst xmlns:p15="http://schemas.microsoft.com/office/powerpoint/2012/main">
        <p15:guide id="1" orient="horz" pos="421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9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kumimoji="0" lang="pt-PT" sz="2400" b="0" i="0" u="none" strike="noStrike" kern="1200" cap="none" spc="0" normalizeH="0" baseline="0" noProof="0" dirty="0">
                <a:ln>
                  <a:noFill/>
                </a:ln>
                <a:solidFill>
                  <a:schemeClr val="tx2"/>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sp>
        <p:nvSpPr>
          <p:cNvPr id="20" name="Retângulo 43">
            <a:extLst>
              <a:ext uri="{FF2B5EF4-FFF2-40B4-BE49-F238E27FC236}">
                <a16:creationId xmlns:a16="http://schemas.microsoft.com/office/drawing/2014/main" id="{D9EA41A1-15F5-4A15-9F8C-72AF7C3479D1}"/>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grpSp>
        <p:nvGrpSpPr>
          <p:cNvPr id="19" name="Group 18">
            <a:extLst>
              <a:ext uri="{FF2B5EF4-FFF2-40B4-BE49-F238E27FC236}">
                <a16:creationId xmlns:a16="http://schemas.microsoft.com/office/drawing/2014/main" id="{68848790-817D-429D-8D1C-34358BF1B4C0}"/>
              </a:ext>
            </a:extLst>
          </p:cNvPr>
          <p:cNvGrpSpPr/>
          <p:nvPr userDrawn="1"/>
        </p:nvGrpSpPr>
        <p:grpSpPr>
          <a:xfrm>
            <a:off x="412750" y="6585692"/>
            <a:ext cx="4577553" cy="155576"/>
            <a:chOff x="412750" y="6585692"/>
            <a:chExt cx="4577553" cy="155576"/>
          </a:xfrm>
        </p:grpSpPr>
        <p:cxnSp>
          <p:nvCxnSpPr>
            <p:cNvPr id="21" name="Conector reto 49">
              <a:extLst>
                <a:ext uri="{FF2B5EF4-FFF2-40B4-BE49-F238E27FC236}">
                  <a16:creationId xmlns:a16="http://schemas.microsoft.com/office/drawing/2014/main" id="{DC9D1B7A-0937-4554-B612-E4F5CA8125ED}"/>
                </a:ext>
              </a:extLst>
            </p:cNvPr>
            <p:cNvCxnSpPr>
              <a:cxnSpLocks/>
            </p:cNvCxnSpPr>
            <p:nvPr userDrawn="1"/>
          </p:nvCxnSpPr>
          <p:spPr>
            <a:xfrm flipV="1">
              <a:off x="2823578" y="6585692"/>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extLst>
                <a:ext uri="{FF2B5EF4-FFF2-40B4-BE49-F238E27FC236}">
                  <a16:creationId xmlns:a16="http://schemas.microsoft.com/office/drawing/2014/main" id="{598FBA99-65D1-41EF-A51C-B6F65C44C454}"/>
                </a:ext>
              </a:extLst>
            </p:cNvPr>
            <p:cNvSpPr/>
            <p:nvPr userDrawn="1"/>
          </p:nvSpPr>
          <p:spPr>
            <a:xfrm>
              <a:off x="412750" y="6611158"/>
              <a:ext cx="2330450" cy="104644"/>
            </a:xfrm>
            <a:prstGeom prst="rect">
              <a:avLst/>
            </a:prstGeom>
          </p:spPr>
          <p:txBody>
            <a:bodyPr wrap="squar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Global Oracle Capability Deck | August 2019</a:t>
              </a:r>
            </a:p>
          </p:txBody>
        </p:sp>
        <p:sp>
          <p:nvSpPr>
            <p:cNvPr id="23" name="Retângulo 43">
              <a:extLst>
                <a:ext uri="{FF2B5EF4-FFF2-40B4-BE49-F238E27FC236}">
                  <a16:creationId xmlns:a16="http://schemas.microsoft.com/office/drawing/2014/main" id="{69F0330D-0426-44DE-AD1C-D6961B1FD55D}"/>
                </a:ext>
              </a:extLst>
            </p:cNvPr>
            <p:cNvSpPr/>
            <p:nvPr userDrawn="1"/>
          </p:nvSpPr>
          <p:spPr>
            <a:xfrm>
              <a:off x="2951283" y="6589225"/>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9 Capgemini. All rights reserved.</a:t>
              </a:r>
            </a:p>
          </p:txBody>
        </p:sp>
      </p:grpSp>
      <p:sp>
        <p:nvSpPr>
          <p:cNvPr id="9" name="Rectangle 8">
            <a:extLst>
              <a:ext uri="{FF2B5EF4-FFF2-40B4-BE49-F238E27FC236}">
                <a16:creationId xmlns:a16="http://schemas.microsoft.com/office/drawing/2014/main" id="{2E6848BB-BDF9-4643-989D-9D1B33D91AC1}"/>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Freeform: Shape 26">
            <a:extLst>
              <a:ext uri="{FF2B5EF4-FFF2-40B4-BE49-F238E27FC236}">
                <a16:creationId xmlns:a16="http://schemas.microsoft.com/office/drawing/2014/main" id="{4C62E7DC-3729-41DE-93AB-47102B1F95E7}"/>
              </a:ext>
            </a:extLst>
          </p:cNvPr>
          <p:cNvSpPr>
            <a:spLocks noChangeAspect="1"/>
          </p:cNvSpPr>
          <p:nvPr userDrawn="1"/>
        </p:nvSpPr>
        <p:spPr bwMode="auto">
          <a:xfrm rot="5400000" flipH="1">
            <a:off x="4486051" y="-847948"/>
            <a:ext cx="6877050" cy="8534847"/>
          </a:xfrm>
          <a:custGeom>
            <a:avLst/>
            <a:gdLst>
              <a:gd name="connsiteX0" fmla="*/ 6877050 w 6877050"/>
              <a:gd name="connsiteY0" fmla="*/ 1570204 h 8534847"/>
              <a:gd name="connsiteX1" fmla="*/ 6877050 w 6877050"/>
              <a:gd name="connsiteY1" fmla="*/ 0 h 8534847"/>
              <a:gd name="connsiteX2" fmla="*/ 0 w 6877050"/>
              <a:gd name="connsiteY2" fmla="*/ 0 h 8534847"/>
              <a:gd name="connsiteX3" fmla="*/ 0 w 6877050"/>
              <a:gd name="connsiteY3" fmla="*/ 8534847 h 8534847"/>
              <a:gd name="connsiteX4" fmla="*/ 141291 w 6877050"/>
              <a:gd name="connsiteY4" fmla="*/ 8422116 h 8534847"/>
              <a:gd name="connsiteX5" fmla="*/ 1091350 w 6877050"/>
              <a:gd name="connsiteY5" fmla="*/ 7618618 h 8534847"/>
              <a:gd name="connsiteX6" fmla="*/ 5772444 w 6877050"/>
              <a:gd name="connsiteY6" fmla="*/ 2174780 h 8534847"/>
              <a:gd name="connsiteX7" fmla="*/ 6850103 w 6877050"/>
              <a:gd name="connsiteY7" fmla="*/ 1589970 h 8534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77050" h="8534847">
                <a:moveTo>
                  <a:pt x="6877050" y="1570204"/>
                </a:moveTo>
                <a:lnTo>
                  <a:pt x="6877050" y="0"/>
                </a:lnTo>
                <a:lnTo>
                  <a:pt x="0" y="0"/>
                </a:lnTo>
                <a:lnTo>
                  <a:pt x="0" y="8534847"/>
                </a:lnTo>
                <a:lnTo>
                  <a:pt x="141291" y="8422116"/>
                </a:lnTo>
                <a:cubicBezTo>
                  <a:pt x="446430" y="8173820"/>
                  <a:pt x="763059" y="7906467"/>
                  <a:pt x="1091350" y="7618618"/>
                </a:cubicBezTo>
                <a:cubicBezTo>
                  <a:pt x="-574136" y="4738907"/>
                  <a:pt x="1850180" y="3831601"/>
                  <a:pt x="5772444" y="2174780"/>
                </a:cubicBezTo>
                <a:cubicBezTo>
                  <a:pt x="6194840" y="1995742"/>
                  <a:pt x="6550936" y="1798837"/>
                  <a:pt x="6850103" y="158997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pic>
        <p:nvPicPr>
          <p:cNvPr id="24" name="Picture 23">
            <a:extLst>
              <a:ext uri="{FF2B5EF4-FFF2-40B4-BE49-F238E27FC236}">
                <a16:creationId xmlns:a16="http://schemas.microsoft.com/office/drawing/2014/main" id="{20B39D88-BE66-442B-98F2-8BACFB1D5F2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r="15665"/>
          <a:stretch>
            <a:fillRect/>
          </a:stretch>
        </p:blipFill>
        <p:spPr bwMode="auto">
          <a:xfrm>
            <a:off x="3276602" y="681097"/>
            <a:ext cx="8915398" cy="5762140"/>
          </a:xfrm>
          <a:custGeom>
            <a:avLst/>
            <a:gdLst>
              <a:gd name="connsiteX0" fmla="*/ 0 w 8915398"/>
              <a:gd name="connsiteY0" fmla="*/ 0 h 5762140"/>
              <a:gd name="connsiteX1" fmla="*/ 8915398 w 8915398"/>
              <a:gd name="connsiteY1" fmla="*/ 0 h 5762140"/>
              <a:gd name="connsiteX2" fmla="*/ 8915398 w 8915398"/>
              <a:gd name="connsiteY2" fmla="*/ 5762140 h 5762140"/>
              <a:gd name="connsiteX3" fmla="*/ 0 w 8915398"/>
              <a:gd name="connsiteY3" fmla="*/ 5762140 h 5762140"/>
            </a:gdLst>
            <a:ahLst/>
            <a:cxnLst>
              <a:cxn ang="0">
                <a:pos x="connsiteX0" y="connsiteY0"/>
              </a:cxn>
              <a:cxn ang="0">
                <a:pos x="connsiteX1" y="connsiteY1"/>
              </a:cxn>
              <a:cxn ang="0">
                <a:pos x="connsiteX2" y="connsiteY2"/>
              </a:cxn>
              <a:cxn ang="0">
                <a:pos x="connsiteX3" y="connsiteY3"/>
              </a:cxn>
            </a:cxnLst>
            <a:rect l="l" t="t" r="r" b="b"/>
            <a:pathLst>
              <a:path w="8915398" h="5762140">
                <a:moveTo>
                  <a:pt x="0" y="0"/>
                </a:moveTo>
                <a:lnTo>
                  <a:pt x="8915398" y="0"/>
                </a:lnTo>
                <a:lnTo>
                  <a:pt x="8915398" y="5762140"/>
                </a:lnTo>
                <a:lnTo>
                  <a:pt x="0" y="5762140"/>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2533717"/>
      </p:ext>
    </p:extLst>
  </p:cSld>
  <p:clrMapOvr>
    <a:masterClrMapping/>
  </p:clrMapOvr>
  <p:extLst>
    <p:ext uri="{DCECCB84-F9BA-43D5-87BE-67443E8EF086}">
      <p15:sldGuideLst xmlns:p15="http://schemas.microsoft.com/office/powerpoint/2012/main">
        <p15:guide id="1" orient="horz" pos="421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0_Blank-Gre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61FC97E-8482-47D7-8B01-646C0E29F313}"/>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Placeholder 1">
            <a:extLst>
              <a:ext uri="{FF2B5EF4-FFF2-40B4-BE49-F238E27FC236}">
                <a16:creationId xmlns:a16="http://schemas.microsoft.com/office/drawing/2014/main" id="{F959DEB8-DF4C-46EC-804C-757F66C65D87}"/>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kumimoji="0" lang="pt-PT" sz="2400" b="0" i="0" u="none" strike="noStrike" kern="1200" cap="none" spc="0" normalizeH="0" baseline="0" noProof="0" dirty="0">
                <a:ln>
                  <a:noFill/>
                </a:ln>
                <a:solidFill>
                  <a:schemeClr val="tx2"/>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sp>
        <p:nvSpPr>
          <p:cNvPr id="14" name="Retângulo 43">
            <a:extLst>
              <a:ext uri="{FF2B5EF4-FFF2-40B4-BE49-F238E27FC236}">
                <a16:creationId xmlns:a16="http://schemas.microsoft.com/office/drawing/2014/main" id="{A4E537E5-4FAD-474A-BA27-2D2E1E0A1826}"/>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grpSp>
        <p:nvGrpSpPr>
          <p:cNvPr id="15" name="Group 14">
            <a:extLst>
              <a:ext uri="{FF2B5EF4-FFF2-40B4-BE49-F238E27FC236}">
                <a16:creationId xmlns:a16="http://schemas.microsoft.com/office/drawing/2014/main" id="{678ECE76-C8E7-46FB-83AC-5803601ACD10}"/>
              </a:ext>
            </a:extLst>
          </p:cNvPr>
          <p:cNvGrpSpPr/>
          <p:nvPr userDrawn="1"/>
        </p:nvGrpSpPr>
        <p:grpSpPr>
          <a:xfrm>
            <a:off x="412750" y="6585692"/>
            <a:ext cx="4577553" cy="155576"/>
            <a:chOff x="412750" y="6585692"/>
            <a:chExt cx="4577553" cy="155576"/>
          </a:xfrm>
        </p:grpSpPr>
        <p:cxnSp>
          <p:nvCxnSpPr>
            <p:cNvPr id="16" name="Conector reto 49">
              <a:extLst>
                <a:ext uri="{FF2B5EF4-FFF2-40B4-BE49-F238E27FC236}">
                  <a16:creationId xmlns:a16="http://schemas.microsoft.com/office/drawing/2014/main" id="{2997664D-3922-4608-BB92-0A92C047AC99}"/>
                </a:ext>
              </a:extLst>
            </p:cNvPr>
            <p:cNvCxnSpPr>
              <a:cxnSpLocks/>
            </p:cNvCxnSpPr>
            <p:nvPr userDrawn="1"/>
          </p:nvCxnSpPr>
          <p:spPr>
            <a:xfrm flipV="1">
              <a:off x="2823578" y="6585692"/>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extLst>
                <a:ext uri="{FF2B5EF4-FFF2-40B4-BE49-F238E27FC236}">
                  <a16:creationId xmlns:a16="http://schemas.microsoft.com/office/drawing/2014/main" id="{2575016F-1F83-479B-9C00-28399867924E}"/>
                </a:ext>
              </a:extLst>
            </p:cNvPr>
            <p:cNvSpPr/>
            <p:nvPr userDrawn="1"/>
          </p:nvSpPr>
          <p:spPr>
            <a:xfrm>
              <a:off x="412750" y="6611158"/>
              <a:ext cx="2330450" cy="104644"/>
            </a:xfrm>
            <a:prstGeom prst="rect">
              <a:avLst/>
            </a:prstGeom>
          </p:spPr>
          <p:txBody>
            <a:bodyPr wrap="squar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Global Oracle Capability Deck | August 2019</a:t>
              </a:r>
            </a:p>
          </p:txBody>
        </p:sp>
        <p:sp>
          <p:nvSpPr>
            <p:cNvPr id="18" name="Retângulo 43">
              <a:extLst>
                <a:ext uri="{FF2B5EF4-FFF2-40B4-BE49-F238E27FC236}">
                  <a16:creationId xmlns:a16="http://schemas.microsoft.com/office/drawing/2014/main" id="{5F737B30-42FD-4CFD-A0AD-8C3FB7C041D7}"/>
                </a:ext>
              </a:extLst>
            </p:cNvPr>
            <p:cNvSpPr/>
            <p:nvPr userDrawn="1"/>
          </p:nvSpPr>
          <p:spPr>
            <a:xfrm>
              <a:off x="2951283" y="6589225"/>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9 Capgemini. All rights reserved.</a:t>
              </a:r>
            </a:p>
          </p:txBody>
        </p:sp>
      </p:grpSp>
      <p:sp>
        <p:nvSpPr>
          <p:cNvPr id="25" name="Rectangle 24">
            <a:extLst>
              <a:ext uri="{FF2B5EF4-FFF2-40B4-BE49-F238E27FC236}">
                <a16:creationId xmlns:a16="http://schemas.microsoft.com/office/drawing/2014/main" id="{470D743C-4E82-470F-B437-6293AFF4D706}"/>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6" name="Picture 2">
            <a:extLst>
              <a:ext uri="{FF2B5EF4-FFF2-40B4-BE49-F238E27FC236}">
                <a16:creationId xmlns:a16="http://schemas.microsoft.com/office/drawing/2014/main" id="{A2765AEA-0901-4C62-83B7-D9871822627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2188028" y="1069777"/>
            <a:ext cx="9381671" cy="5800923"/>
          </a:xfrm>
          <a:prstGeom prst="rect">
            <a:avLst/>
          </a:prstGeom>
          <a:noFill/>
          <a:extLst>
            <a:ext uri="{909E8E84-426E-40DD-AFC4-6F175D3DCCD1}">
              <a14:hiddenFill xmlns:a14="http://schemas.microsoft.com/office/drawing/2010/main">
                <a:solidFill>
                  <a:srgbClr val="FFFFFF"/>
                </a:solidFill>
              </a14:hiddenFill>
            </a:ext>
          </a:extLst>
        </p:spPr>
      </p:pic>
      <p:sp>
        <p:nvSpPr>
          <p:cNvPr id="34" name="Freeform: Shape 33">
            <a:extLst>
              <a:ext uri="{FF2B5EF4-FFF2-40B4-BE49-F238E27FC236}">
                <a16:creationId xmlns:a16="http://schemas.microsoft.com/office/drawing/2014/main" id="{60906707-EC53-45C0-B313-E8120E91E454}"/>
              </a:ext>
            </a:extLst>
          </p:cNvPr>
          <p:cNvSpPr>
            <a:spLocks/>
          </p:cNvSpPr>
          <p:nvPr userDrawn="1"/>
        </p:nvSpPr>
        <p:spPr bwMode="auto">
          <a:xfrm rot="21148071">
            <a:off x="-441713" y="-162980"/>
            <a:ext cx="3595860" cy="7207784"/>
          </a:xfrm>
          <a:custGeom>
            <a:avLst/>
            <a:gdLst>
              <a:gd name="connsiteX0" fmla="*/ 3359557 w 3595860"/>
              <a:gd name="connsiteY0" fmla="*/ 324876 h 7207784"/>
              <a:gd name="connsiteX1" fmla="*/ 3409121 w 3595860"/>
              <a:gd name="connsiteY1" fmla="*/ 475347 h 7207784"/>
              <a:gd name="connsiteX2" fmla="*/ 3469686 w 3595860"/>
              <a:gd name="connsiteY2" fmla="*/ 2769276 h 7207784"/>
              <a:gd name="connsiteX3" fmla="*/ 2339855 w 3595860"/>
              <a:gd name="connsiteY3" fmla="*/ 5934802 h 7207784"/>
              <a:gd name="connsiteX4" fmla="*/ 2904887 w 3595860"/>
              <a:gd name="connsiteY4" fmla="*/ 7186522 h 7207784"/>
              <a:gd name="connsiteX5" fmla="*/ 2888897 w 3595860"/>
              <a:gd name="connsiteY5" fmla="*/ 7207784 h 7207784"/>
              <a:gd name="connsiteX6" fmla="*/ 0 w 3595860"/>
              <a:gd name="connsiteY6" fmla="*/ 6825804 h 7207784"/>
              <a:gd name="connsiteX7" fmla="*/ 902531 w 3595860"/>
              <a:gd name="connsiteY7" fmla="*/ 0 h 7207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5860" h="7207784">
                <a:moveTo>
                  <a:pt x="3359557" y="324876"/>
                </a:moveTo>
                <a:lnTo>
                  <a:pt x="3409121" y="475347"/>
                </a:lnTo>
                <a:cubicBezTo>
                  <a:pt x="3585429" y="1047097"/>
                  <a:pt x="3693565" y="1835430"/>
                  <a:pt x="3469686" y="2769276"/>
                </a:cubicBezTo>
                <a:cubicBezTo>
                  <a:pt x="1601119" y="3772344"/>
                  <a:pt x="662490" y="5283460"/>
                  <a:pt x="2339855" y="5934802"/>
                </a:cubicBezTo>
                <a:cubicBezTo>
                  <a:pt x="3257164" y="6291005"/>
                  <a:pt x="3171167" y="6799151"/>
                  <a:pt x="2904887" y="7186522"/>
                </a:cubicBezTo>
                <a:lnTo>
                  <a:pt x="2888897" y="7207784"/>
                </a:lnTo>
                <a:lnTo>
                  <a:pt x="0" y="6825804"/>
                </a:lnTo>
                <a:lnTo>
                  <a:pt x="902531" y="0"/>
                </a:ln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29" name="Rectangle 28">
            <a:extLst>
              <a:ext uri="{FF2B5EF4-FFF2-40B4-BE49-F238E27FC236}">
                <a16:creationId xmlns:a16="http://schemas.microsoft.com/office/drawing/2014/main" id="{EE9DA6C3-5673-4777-9126-CA4D283E84D8}"/>
              </a:ext>
            </a:extLst>
          </p:cNvPr>
          <p:cNvSpPr/>
          <p:nvPr userDrawn="1"/>
        </p:nvSpPr>
        <p:spPr>
          <a:xfrm>
            <a:off x="11277600" y="5664200"/>
            <a:ext cx="914400" cy="1206500"/>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1884180"/>
      </p:ext>
    </p:extLst>
  </p:cSld>
  <p:clrMapOvr>
    <a:masterClrMapping/>
  </p:clrMapOvr>
  <p:extLst>
    <p:ext uri="{DCECCB84-F9BA-43D5-87BE-67443E8EF086}">
      <p15:sldGuideLst xmlns:p15="http://schemas.microsoft.com/office/powerpoint/2012/main">
        <p15:guide id="1" orient="horz" pos="421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336548" y="2205319"/>
            <a:ext cx="539496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36548" y="1420989"/>
            <a:ext cx="539496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62441" y="1420989"/>
            <a:ext cx="539496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336549" y="0"/>
            <a:ext cx="11016035" cy="1104900"/>
          </a:xfrm>
        </p:spPr>
        <p:txBody>
          <a:bodyPr/>
          <a:lstStyle>
            <a:lvl1pPr>
              <a:defRPr>
                <a:solidFill>
                  <a:schemeClr val="tx2"/>
                </a:solidFill>
              </a:defRPr>
            </a:lvl1p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62441" y="2205319"/>
            <a:ext cx="539496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9" name="Retângulo 43">
            <a:extLst>
              <a:ext uri="{FF2B5EF4-FFF2-40B4-BE49-F238E27FC236}">
                <a16:creationId xmlns:a16="http://schemas.microsoft.com/office/drawing/2014/main" id="{D1D3B4FE-9197-491C-B42E-D302587D4096}"/>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Tree>
    <p:extLst>
      <p:ext uri="{BB962C8B-B14F-4D97-AF65-F5344CB8AC3E}">
        <p14:creationId xmlns:p14="http://schemas.microsoft.com/office/powerpoint/2010/main" val="37563513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8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kumimoji="0" lang="pt-PT" sz="2400" b="0" i="0" u="none" strike="noStrike" kern="1200" cap="none" spc="0" normalizeH="0" baseline="0" noProof="0" dirty="0">
                <a:ln>
                  <a:noFill/>
                </a:ln>
                <a:solidFill>
                  <a:schemeClr val="tx2"/>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sp>
        <p:nvSpPr>
          <p:cNvPr id="20" name="Retângulo 43">
            <a:extLst>
              <a:ext uri="{FF2B5EF4-FFF2-40B4-BE49-F238E27FC236}">
                <a16:creationId xmlns:a16="http://schemas.microsoft.com/office/drawing/2014/main" id="{D9EA41A1-15F5-4A15-9F8C-72AF7C3479D1}"/>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grpSp>
        <p:nvGrpSpPr>
          <p:cNvPr id="9" name="Group 8"/>
          <p:cNvGrpSpPr/>
          <p:nvPr userDrawn="1"/>
        </p:nvGrpSpPr>
        <p:grpSpPr>
          <a:xfrm>
            <a:off x="7715194" y="0"/>
            <a:ext cx="4476806" cy="6858000"/>
            <a:chOff x="7715194" y="0"/>
            <a:chExt cx="4476806" cy="6858000"/>
          </a:xfrm>
        </p:grpSpPr>
        <p:sp>
          <p:nvSpPr>
            <p:cNvPr id="10" name="Freeform 9"/>
            <p:cNvSpPr>
              <a:spLocks/>
            </p:cNvSpPr>
            <p:nvPr userDrawn="1"/>
          </p:nvSpPr>
          <p:spPr bwMode="auto">
            <a:xfrm flipH="1">
              <a:off x="8513616" y="0"/>
              <a:ext cx="3678384" cy="6858000"/>
            </a:xfrm>
            <a:custGeom>
              <a:avLst/>
              <a:gdLst>
                <a:gd name="connsiteX0" fmla="*/ 23851 w 3678384"/>
                <a:gd name="connsiteY0" fmla="*/ 0 h 6858000"/>
                <a:gd name="connsiteX1" fmla="*/ 0 w 3678384"/>
                <a:gd name="connsiteY1" fmla="*/ 0 h 6858000"/>
                <a:gd name="connsiteX2" fmla="*/ 0 w 3678384"/>
                <a:gd name="connsiteY2" fmla="*/ 6858000 h 6858000"/>
                <a:gd name="connsiteX3" fmla="*/ 1667864 w 3678384"/>
                <a:gd name="connsiteY3" fmla="*/ 6858000 h 6858000"/>
                <a:gd name="connsiteX4" fmla="*/ 1594548 w 3678384"/>
                <a:gd name="connsiteY4" fmla="*/ 6720542 h 6858000"/>
                <a:gd name="connsiteX5" fmla="*/ 1480775 w 3678384"/>
                <a:gd name="connsiteY5" fmla="*/ 6334680 h 6858000"/>
                <a:gd name="connsiteX6" fmla="*/ 3253238 w 3678384"/>
                <a:gd name="connsiteY6" fmla="*/ 3953703 h 6858000"/>
                <a:gd name="connsiteX7" fmla="*/ 3229285 w 3678384"/>
                <a:gd name="connsiteY7" fmla="*/ 2601690 h 6858000"/>
                <a:gd name="connsiteX8" fmla="*/ 3109524 w 3678384"/>
                <a:gd name="connsiteY8" fmla="*/ 2529902 h 6858000"/>
                <a:gd name="connsiteX9" fmla="*/ 35446 w 3678384"/>
                <a:gd name="connsiteY9" fmla="*/ 1071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78384" h="6858000">
                  <a:moveTo>
                    <a:pt x="23851" y="0"/>
                  </a:moveTo>
                  <a:lnTo>
                    <a:pt x="0" y="0"/>
                  </a:lnTo>
                  <a:lnTo>
                    <a:pt x="0" y="6858000"/>
                  </a:lnTo>
                  <a:lnTo>
                    <a:pt x="1667864" y="6858000"/>
                  </a:lnTo>
                  <a:lnTo>
                    <a:pt x="1594548" y="6720542"/>
                  </a:lnTo>
                  <a:cubicBezTo>
                    <a:pt x="1543650" y="6606877"/>
                    <a:pt x="1504727" y="6478257"/>
                    <a:pt x="1480775" y="6334680"/>
                  </a:cubicBezTo>
                  <a:cubicBezTo>
                    <a:pt x="1349038" y="5174103"/>
                    <a:pt x="2199341" y="4863021"/>
                    <a:pt x="3253238" y="3953703"/>
                  </a:cubicBezTo>
                  <a:cubicBezTo>
                    <a:pt x="4079588" y="3235820"/>
                    <a:pt x="3492760" y="2757231"/>
                    <a:pt x="3229285" y="2601690"/>
                  </a:cubicBezTo>
                  <a:cubicBezTo>
                    <a:pt x="3181381" y="2577761"/>
                    <a:pt x="3145452" y="2553831"/>
                    <a:pt x="3109524" y="2529902"/>
                  </a:cubicBezTo>
                  <a:cubicBezTo>
                    <a:pt x="1492751" y="1733501"/>
                    <a:pt x="191755" y="1178964"/>
                    <a:pt x="35446" y="107179"/>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2" name="Freeform 5"/>
            <p:cNvSpPr>
              <a:spLocks/>
            </p:cNvSpPr>
            <p:nvPr userDrawn="1"/>
          </p:nvSpPr>
          <p:spPr bwMode="auto">
            <a:xfrm>
              <a:off x="8140700" y="2158549"/>
              <a:ext cx="525463" cy="763587"/>
            </a:xfrm>
            <a:custGeom>
              <a:avLst/>
              <a:gdLst>
                <a:gd name="T0" fmla="*/ 241 w 273"/>
                <a:gd name="T1" fmla="*/ 237 h 397"/>
                <a:gd name="T2" fmla="*/ 266 w 273"/>
                <a:gd name="T3" fmla="*/ 159 h 397"/>
                <a:gd name="T4" fmla="*/ 237 w 273"/>
                <a:gd name="T5" fmla="*/ 37 h 397"/>
                <a:gd name="T6" fmla="*/ 217 w 273"/>
                <a:gd name="T7" fmla="*/ 0 h 397"/>
                <a:gd name="T8" fmla="*/ 5 w 273"/>
                <a:gd name="T9" fmla="*/ 50 h 397"/>
                <a:gd name="T10" fmla="*/ 4 w 273"/>
                <a:gd name="T11" fmla="*/ 92 h 397"/>
                <a:gd name="T12" fmla="*/ 32 w 273"/>
                <a:gd name="T13" fmla="*/ 214 h 397"/>
                <a:gd name="T14" fmla="*/ 89 w 273"/>
                <a:gd name="T15" fmla="*/ 273 h 397"/>
                <a:gd name="T16" fmla="*/ 118 w 273"/>
                <a:gd name="T17" fmla="*/ 397 h 397"/>
                <a:gd name="T18" fmla="*/ 270 w 273"/>
                <a:gd name="T19" fmla="*/ 362 h 397"/>
                <a:gd name="T20" fmla="*/ 241 w 273"/>
                <a:gd name="T21" fmla="*/ 23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3" h="397">
                  <a:moveTo>
                    <a:pt x="241" y="237"/>
                  </a:moveTo>
                  <a:cubicBezTo>
                    <a:pt x="262" y="218"/>
                    <a:pt x="273" y="189"/>
                    <a:pt x="266" y="159"/>
                  </a:cubicBezTo>
                  <a:cubicBezTo>
                    <a:pt x="237" y="37"/>
                    <a:pt x="237" y="37"/>
                    <a:pt x="237" y="37"/>
                  </a:cubicBezTo>
                  <a:cubicBezTo>
                    <a:pt x="234" y="23"/>
                    <a:pt x="226" y="10"/>
                    <a:pt x="217" y="0"/>
                  </a:cubicBezTo>
                  <a:cubicBezTo>
                    <a:pt x="5" y="50"/>
                    <a:pt x="5" y="50"/>
                    <a:pt x="5" y="50"/>
                  </a:cubicBezTo>
                  <a:cubicBezTo>
                    <a:pt x="1" y="63"/>
                    <a:pt x="0" y="78"/>
                    <a:pt x="4" y="92"/>
                  </a:cubicBezTo>
                  <a:cubicBezTo>
                    <a:pt x="32" y="214"/>
                    <a:pt x="32" y="214"/>
                    <a:pt x="32" y="214"/>
                  </a:cubicBezTo>
                  <a:cubicBezTo>
                    <a:pt x="39" y="244"/>
                    <a:pt x="62" y="266"/>
                    <a:pt x="89" y="273"/>
                  </a:cubicBezTo>
                  <a:cubicBezTo>
                    <a:pt x="118" y="397"/>
                    <a:pt x="118" y="397"/>
                    <a:pt x="118" y="397"/>
                  </a:cubicBezTo>
                  <a:cubicBezTo>
                    <a:pt x="270" y="362"/>
                    <a:pt x="270" y="362"/>
                    <a:pt x="270" y="362"/>
                  </a:cubicBezTo>
                  <a:lnTo>
                    <a:pt x="241" y="237"/>
                  </a:ln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6"/>
            <p:cNvSpPr>
              <a:spLocks noEditPoints="1"/>
            </p:cNvSpPr>
            <p:nvPr userDrawn="1"/>
          </p:nvSpPr>
          <p:spPr bwMode="auto">
            <a:xfrm>
              <a:off x="7888288" y="1382262"/>
              <a:ext cx="1665288" cy="1452562"/>
            </a:xfrm>
            <a:custGeom>
              <a:avLst/>
              <a:gdLst>
                <a:gd name="T0" fmla="*/ 853 w 865"/>
                <a:gd name="T1" fmla="*/ 566 h 755"/>
                <a:gd name="T2" fmla="*/ 865 w 865"/>
                <a:gd name="T3" fmla="*/ 557 h 755"/>
                <a:gd name="T4" fmla="*/ 824 w 865"/>
                <a:gd name="T5" fmla="*/ 485 h 755"/>
                <a:gd name="T6" fmla="*/ 810 w 865"/>
                <a:gd name="T7" fmla="*/ 493 h 755"/>
                <a:gd name="T8" fmla="*/ 782 w 865"/>
                <a:gd name="T9" fmla="*/ 498 h 755"/>
                <a:gd name="T10" fmla="*/ 764 w 865"/>
                <a:gd name="T11" fmla="*/ 469 h 755"/>
                <a:gd name="T12" fmla="*/ 804 w 865"/>
                <a:gd name="T13" fmla="*/ 446 h 755"/>
                <a:gd name="T14" fmla="*/ 615 w 865"/>
                <a:gd name="T15" fmla="*/ 110 h 755"/>
                <a:gd name="T16" fmla="*/ 575 w 865"/>
                <a:gd name="T17" fmla="*/ 133 h 755"/>
                <a:gd name="T18" fmla="*/ 559 w 865"/>
                <a:gd name="T19" fmla="*/ 101 h 755"/>
                <a:gd name="T20" fmla="*/ 578 w 865"/>
                <a:gd name="T21" fmla="*/ 81 h 755"/>
                <a:gd name="T22" fmla="*/ 592 w 865"/>
                <a:gd name="T23" fmla="*/ 72 h 755"/>
                <a:gd name="T24" fmla="*/ 552 w 865"/>
                <a:gd name="T25" fmla="*/ 0 h 755"/>
                <a:gd name="T26" fmla="*/ 538 w 865"/>
                <a:gd name="T27" fmla="*/ 5 h 755"/>
                <a:gd name="T28" fmla="*/ 464 w 865"/>
                <a:gd name="T29" fmla="*/ 45 h 755"/>
                <a:gd name="T30" fmla="*/ 358 w 865"/>
                <a:gd name="T31" fmla="*/ 168 h 755"/>
                <a:gd name="T32" fmla="*/ 369 w 865"/>
                <a:gd name="T33" fmla="*/ 314 h 755"/>
                <a:gd name="T34" fmla="*/ 365 w 865"/>
                <a:gd name="T35" fmla="*/ 431 h 755"/>
                <a:gd name="T36" fmla="*/ 317 w 865"/>
                <a:gd name="T37" fmla="*/ 458 h 755"/>
                <a:gd name="T38" fmla="*/ 287 w 865"/>
                <a:gd name="T39" fmla="*/ 458 h 755"/>
                <a:gd name="T40" fmla="*/ 267 w 865"/>
                <a:gd name="T41" fmla="*/ 469 h 755"/>
                <a:gd name="T42" fmla="*/ 251 w 865"/>
                <a:gd name="T43" fmla="*/ 495 h 755"/>
                <a:gd name="T44" fmla="*/ 205 w 865"/>
                <a:gd name="T45" fmla="*/ 521 h 755"/>
                <a:gd name="T46" fmla="*/ 175 w 865"/>
                <a:gd name="T47" fmla="*/ 521 h 755"/>
                <a:gd name="T48" fmla="*/ 155 w 865"/>
                <a:gd name="T49" fmla="*/ 532 h 755"/>
                <a:gd name="T50" fmla="*/ 140 w 865"/>
                <a:gd name="T51" fmla="*/ 558 h 755"/>
                <a:gd name="T52" fmla="*/ 126 w 865"/>
                <a:gd name="T53" fmla="*/ 565 h 755"/>
                <a:gd name="T54" fmla="*/ 47 w 865"/>
                <a:gd name="T55" fmla="*/ 533 h 755"/>
                <a:gd name="T56" fmla="*/ 0 w 865"/>
                <a:gd name="T57" fmla="*/ 525 h 755"/>
                <a:gd name="T58" fmla="*/ 65 w 865"/>
                <a:gd name="T59" fmla="*/ 640 h 755"/>
                <a:gd name="T60" fmla="*/ 129 w 865"/>
                <a:gd name="T61" fmla="*/ 755 h 755"/>
                <a:gd name="T62" fmla="*/ 146 w 865"/>
                <a:gd name="T63" fmla="*/ 711 h 755"/>
                <a:gd name="T64" fmla="*/ 161 w 865"/>
                <a:gd name="T65" fmla="*/ 626 h 755"/>
                <a:gd name="T66" fmla="*/ 174 w 865"/>
                <a:gd name="T67" fmla="*/ 619 h 755"/>
                <a:gd name="T68" fmla="*/ 204 w 865"/>
                <a:gd name="T69" fmla="*/ 619 h 755"/>
                <a:gd name="T70" fmla="*/ 224 w 865"/>
                <a:gd name="T71" fmla="*/ 608 h 755"/>
                <a:gd name="T72" fmla="*/ 240 w 865"/>
                <a:gd name="T73" fmla="*/ 582 h 755"/>
                <a:gd name="T74" fmla="*/ 286 w 865"/>
                <a:gd name="T75" fmla="*/ 556 h 755"/>
                <a:gd name="T76" fmla="*/ 316 w 865"/>
                <a:gd name="T77" fmla="*/ 557 h 755"/>
                <a:gd name="T78" fmla="*/ 336 w 865"/>
                <a:gd name="T79" fmla="*/ 545 h 755"/>
                <a:gd name="T80" fmla="*/ 351 w 865"/>
                <a:gd name="T81" fmla="*/ 519 h 755"/>
                <a:gd name="T82" fmla="*/ 399 w 865"/>
                <a:gd name="T83" fmla="*/ 493 h 755"/>
                <a:gd name="T84" fmla="*/ 502 w 865"/>
                <a:gd name="T85" fmla="*/ 551 h 755"/>
                <a:gd name="T86" fmla="*/ 620 w 865"/>
                <a:gd name="T87" fmla="*/ 635 h 755"/>
                <a:gd name="T88" fmla="*/ 853 w 865"/>
                <a:gd name="T89" fmla="*/ 566 h 755"/>
                <a:gd name="T90" fmla="*/ 389 w 865"/>
                <a:gd name="T91" fmla="*/ 180 h 755"/>
                <a:gd name="T92" fmla="*/ 481 w 865"/>
                <a:gd name="T93" fmla="*/ 74 h 755"/>
                <a:gd name="T94" fmla="*/ 537 w 865"/>
                <a:gd name="T95" fmla="*/ 42 h 755"/>
                <a:gd name="T96" fmla="*/ 547 w 865"/>
                <a:gd name="T97" fmla="*/ 60 h 755"/>
                <a:gd name="T98" fmla="*/ 526 w 865"/>
                <a:gd name="T99" fmla="*/ 104 h 755"/>
                <a:gd name="T100" fmla="*/ 546 w 865"/>
                <a:gd name="T101" fmla="*/ 149 h 755"/>
                <a:gd name="T102" fmla="*/ 466 w 865"/>
                <a:gd name="T103" fmla="*/ 195 h 755"/>
                <a:gd name="T104" fmla="*/ 389 w 865"/>
                <a:gd name="T105" fmla="*/ 273 h 755"/>
                <a:gd name="T106" fmla="*/ 389 w 865"/>
                <a:gd name="T107" fmla="*/ 180 h 755"/>
                <a:gd name="T108" fmla="*/ 765 w 865"/>
                <a:gd name="T109" fmla="*/ 579 h 755"/>
                <a:gd name="T110" fmla="*/ 627 w 865"/>
                <a:gd name="T111" fmla="*/ 603 h 755"/>
                <a:gd name="T112" fmla="*/ 547 w 865"/>
                <a:gd name="T113" fmla="*/ 555 h 755"/>
                <a:gd name="T114" fmla="*/ 652 w 865"/>
                <a:gd name="T115" fmla="*/ 531 h 755"/>
                <a:gd name="T116" fmla="*/ 735 w 865"/>
                <a:gd name="T117" fmla="*/ 485 h 755"/>
                <a:gd name="T118" fmla="*/ 763 w 865"/>
                <a:gd name="T119" fmla="*/ 526 h 755"/>
                <a:gd name="T120" fmla="*/ 811 w 865"/>
                <a:gd name="T121" fmla="*/ 530 h 755"/>
                <a:gd name="T122" fmla="*/ 821 w 865"/>
                <a:gd name="T123" fmla="*/ 548 h 755"/>
                <a:gd name="T124" fmla="*/ 765 w 865"/>
                <a:gd name="T125" fmla="*/ 579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5" h="755">
                  <a:moveTo>
                    <a:pt x="853" y="566"/>
                  </a:moveTo>
                  <a:cubicBezTo>
                    <a:pt x="865" y="557"/>
                    <a:pt x="865" y="557"/>
                    <a:pt x="865" y="557"/>
                  </a:cubicBezTo>
                  <a:cubicBezTo>
                    <a:pt x="824" y="485"/>
                    <a:pt x="824" y="485"/>
                    <a:pt x="824" y="485"/>
                  </a:cubicBezTo>
                  <a:cubicBezTo>
                    <a:pt x="810" y="493"/>
                    <a:pt x="810" y="493"/>
                    <a:pt x="810" y="493"/>
                  </a:cubicBezTo>
                  <a:cubicBezTo>
                    <a:pt x="801" y="498"/>
                    <a:pt x="789" y="503"/>
                    <a:pt x="782" y="498"/>
                  </a:cubicBezTo>
                  <a:cubicBezTo>
                    <a:pt x="778" y="495"/>
                    <a:pt x="772" y="484"/>
                    <a:pt x="764" y="469"/>
                  </a:cubicBezTo>
                  <a:cubicBezTo>
                    <a:pt x="786" y="457"/>
                    <a:pt x="802" y="448"/>
                    <a:pt x="804" y="446"/>
                  </a:cubicBezTo>
                  <a:cubicBezTo>
                    <a:pt x="615" y="110"/>
                    <a:pt x="615" y="110"/>
                    <a:pt x="615" y="110"/>
                  </a:cubicBezTo>
                  <a:cubicBezTo>
                    <a:pt x="614" y="111"/>
                    <a:pt x="597" y="120"/>
                    <a:pt x="575" y="133"/>
                  </a:cubicBezTo>
                  <a:cubicBezTo>
                    <a:pt x="566" y="118"/>
                    <a:pt x="560" y="106"/>
                    <a:pt x="559" y="101"/>
                  </a:cubicBezTo>
                  <a:cubicBezTo>
                    <a:pt x="559" y="93"/>
                    <a:pt x="569" y="86"/>
                    <a:pt x="578" y="81"/>
                  </a:cubicBezTo>
                  <a:cubicBezTo>
                    <a:pt x="592" y="72"/>
                    <a:pt x="592" y="72"/>
                    <a:pt x="592" y="72"/>
                  </a:cubicBezTo>
                  <a:cubicBezTo>
                    <a:pt x="552" y="0"/>
                    <a:pt x="552" y="0"/>
                    <a:pt x="552" y="0"/>
                  </a:cubicBezTo>
                  <a:cubicBezTo>
                    <a:pt x="538" y="5"/>
                    <a:pt x="538" y="5"/>
                    <a:pt x="538" y="5"/>
                  </a:cubicBezTo>
                  <a:cubicBezTo>
                    <a:pt x="537" y="6"/>
                    <a:pt x="503" y="19"/>
                    <a:pt x="464" y="45"/>
                  </a:cubicBezTo>
                  <a:cubicBezTo>
                    <a:pt x="411" y="81"/>
                    <a:pt x="374" y="123"/>
                    <a:pt x="358" y="168"/>
                  </a:cubicBezTo>
                  <a:cubicBezTo>
                    <a:pt x="341" y="214"/>
                    <a:pt x="345" y="263"/>
                    <a:pt x="369" y="314"/>
                  </a:cubicBezTo>
                  <a:cubicBezTo>
                    <a:pt x="355" y="353"/>
                    <a:pt x="353" y="394"/>
                    <a:pt x="365" y="431"/>
                  </a:cubicBezTo>
                  <a:cubicBezTo>
                    <a:pt x="317" y="458"/>
                    <a:pt x="317" y="458"/>
                    <a:pt x="317" y="458"/>
                  </a:cubicBezTo>
                  <a:cubicBezTo>
                    <a:pt x="309" y="453"/>
                    <a:pt x="297" y="452"/>
                    <a:pt x="287" y="458"/>
                  </a:cubicBezTo>
                  <a:cubicBezTo>
                    <a:pt x="267" y="469"/>
                    <a:pt x="267" y="469"/>
                    <a:pt x="267" y="469"/>
                  </a:cubicBezTo>
                  <a:cubicBezTo>
                    <a:pt x="257" y="475"/>
                    <a:pt x="252" y="485"/>
                    <a:pt x="251" y="495"/>
                  </a:cubicBezTo>
                  <a:cubicBezTo>
                    <a:pt x="205" y="521"/>
                    <a:pt x="205" y="521"/>
                    <a:pt x="205" y="521"/>
                  </a:cubicBezTo>
                  <a:cubicBezTo>
                    <a:pt x="197" y="516"/>
                    <a:pt x="185" y="515"/>
                    <a:pt x="175" y="521"/>
                  </a:cubicBezTo>
                  <a:cubicBezTo>
                    <a:pt x="155" y="532"/>
                    <a:pt x="155" y="532"/>
                    <a:pt x="155" y="532"/>
                  </a:cubicBezTo>
                  <a:cubicBezTo>
                    <a:pt x="145" y="538"/>
                    <a:pt x="140" y="548"/>
                    <a:pt x="140" y="558"/>
                  </a:cubicBezTo>
                  <a:cubicBezTo>
                    <a:pt x="126" y="565"/>
                    <a:pt x="126" y="565"/>
                    <a:pt x="126" y="565"/>
                  </a:cubicBezTo>
                  <a:cubicBezTo>
                    <a:pt x="106" y="571"/>
                    <a:pt x="70" y="574"/>
                    <a:pt x="47" y="533"/>
                  </a:cubicBezTo>
                  <a:cubicBezTo>
                    <a:pt x="47" y="533"/>
                    <a:pt x="31" y="508"/>
                    <a:pt x="0" y="525"/>
                  </a:cubicBezTo>
                  <a:cubicBezTo>
                    <a:pt x="65" y="640"/>
                    <a:pt x="65" y="640"/>
                    <a:pt x="65" y="640"/>
                  </a:cubicBezTo>
                  <a:cubicBezTo>
                    <a:pt x="129" y="755"/>
                    <a:pt x="129" y="755"/>
                    <a:pt x="129" y="755"/>
                  </a:cubicBezTo>
                  <a:cubicBezTo>
                    <a:pt x="160" y="738"/>
                    <a:pt x="146" y="711"/>
                    <a:pt x="146" y="711"/>
                  </a:cubicBezTo>
                  <a:cubicBezTo>
                    <a:pt x="123" y="670"/>
                    <a:pt x="146" y="640"/>
                    <a:pt x="161" y="626"/>
                  </a:cubicBezTo>
                  <a:cubicBezTo>
                    <a:pt x="174" y="619"/>
                    <a:pt x="174" y="619"/>
                    <a:pt x="174" y="619"/>
                  </a:cubicBezTo>
                  <a:cubicBezTo>
                    <a:pt x="182" y="624"/>
                    <a:pt x="194" y="625"/>
                    <a:pt x="204" y="619"/>
                  </a:cubicBezTo>
                  <a:cubicBezTo>
                    <a:pt x="224" y="608"/>
                    <a:pt x="224" y="608"/>
                    <a:pt x="224" y="608"/>
                  </a:cubicBezTo>
                  <a:cubicBezTo>
                    <a:pt x="234" y="602"/>
                    <a:pt x="239" y="592"/>
                    <a:pt x="240" y="582"/>
                  </a:cubicBezTo>
                  <a:cubicBezTo>
                    <a:pt x="286" y="556"/>
                    <a:pt x="286" y="556"/>
                    <a:pt x="286" y="556"/>
                  </a:cubicBezTo>
                  <a:cubicBezTo>
                    <a:pt x="294" y="561"/>
                    <a:pt x="306" y="562"/>
                    <a:pt x="316" y="557"/>
                  </a:cubicBezTo>
                  <a:cubicBezTo>
                    <a:pt x="336" y="545"/>
                    <a:pt x="336" y="545"/>
                    <a:pt x="336" y="545"/>
                  </a:cubicBezTo>
                  <a:cubicBezTo>
                    <a:pt x="346" y="540"/>
                    <a:pt x="351" y="529"/>
                    <a:pt x="351" y="519"/>
                  </a:cubicBezTo>
                  <a:cubicBezTo>
                    <a:pt x="399" y="493"/>
                    <a:pt x="399" y="493"/>
                    <a:pt x="399" y="493"/>
                  </a:cubicBezTo>
                  <a:cubicBezTo>
                    <a:pt x="425" y="522"/>
                    <a:pt x="461" y="542"/>
                    <a:pt x="502" y="551"/>
                  </a:cubicBezTo>
                  <a:cubicBezTo>
                    <a:pt x="532" y="597"/>
                    <a:pt x="572" y="626"/>
                    <a:pt x="620" y="635"/>
                  </a:cubicBezTo>
                  <a:cubicBezTo>
                    <a:pt x="732" y="658"/>
                    <a:pt x="848" y="570"/>
                    <a:pt x="853" y="566"/>
                  </a:cubicBezTo>
                  <a:moveTo>
                    <a:pt x="389" y="180"/>
                  </a:moveTo>
                  <a:cubicBezTo>
                    <a:pt x="407" y="132"/>
                    <a:pt x="449" y="95"/>
                    <a:pt x="481" y="74"/>
                  </a:cubicBezTo>
                  <a:cubicBezTo>
                    <a:pt x="504" y="59"/>
                    <a:pt x="524" y="48"/>
                    <a:pt x="537" y="42"/>
                  </a:cubicBezTo>
                  <a:cubicBezTo>
                    <a:pt x="547" y="60"/>
                    <a:pt x="547" y="60"/>
                    <a:pt x="547" y="60"/>
                  </a:cubicBezTo>
                  <a:cubicBezTo>
                    <a:pt x="528" y="75"/>
                    <a:pt x="525" y="92"/>
                    <a:pt x="526" y="104"/>
                  </a:cubicBezTo>
                  <a:cubicBezTo>
                    <a:pt x="526" y="114"/>
                    <a:pt x="535" y="131"/>
                    <a:pt x="546" y="149"/>
                  </a:cubicBezTo>
                  <a:cubicBezTo>
                    <a:pt x="508" y="170"/>
                    <a:pt x="468" y="193"/>
                    <a:pt x="466" y="195"/>
                  </a:cubicBezTo>
                  <a:cubicBezTo>
                    <a:pt x="433" y="216"/>
                    <a:pt x="407" y="243"/>
                    <a:pt x="389" y="273"/>
                  </a:cubicBezTo>
                  <a:cubicBezTo>
                    <a:pt x="378" y="241"/>
                    <a:pt x="378" y="209"/>
                    <a:pt x="389" y="180"/>
                  </a:cubicBezTo>
                  <a:moveTo>
                    <a:pt x="765" y="579"/>
                  </a:moveTo>
                  <a:cubicBezTo>
                    <a:pt x="730" y="596"/>
                    <a:pt x="677" y="613"/>
                    <a:pt x="627" y="603"/>
                  </a:cubicBezTo>
                  <a:cubicBezTo>
                    <a:pt x="596" y="597"/>
                    <a:pt x="569" y="581"/>
                    <a:pt x="547" y="555"/>
                  </a:cubicBezTo>
                  <a:cubicBezTo>
                    <a:pt x="582" y="555"/>
                    <a:pt x="617" y="547"/>
                    <a:pt x="652" y="531"/>
                  </a:cubicBezTo>
                  <a:cubicBezTo>
                    <a:pt x="655" y="530"/>
                    <a:pt x="696" y="507"/>
                    <a:pt x="735" y="485"/>
                  </a:cubicBezTo>
                  <a:cubicBezTo>
                    <a:pt x="744" y="503"/>
                    <a:pt x="755" y="520"/>
                    <a:pt x="763" y="526"/>
                  </a:cubicBezTo>
                  <a:cubicBezTo>
                    <a:pt x="772" y="533"/>
                    <a:pt x="788" y="538"/>
                    <a:pt x="811" y="530"/>
                  </a:cubicBezTo>
                  <a:cubicBezTo>
                    <a:pt x="821" y="548"/>
                    <a:pt x="821" y="548"/>
                    <a:pt x="821" y="548"/>
                  </a:cubicBezTo>
                  <a:cubicBezTo>
                    <a:pt x="809" y="556"/>
                    <a:pt x="790" y="568"/>
                    <a:pt x="765" y="579"/>
                  </a:cubicBezTo>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33"/>
            <p:cNvSpPr>
              <a:spLocks/>
            </p:cNvSpPr>
            <p:nvPr userDrawn="1"/>
          </p:nvSpPr>
          <p:spPr bwMode="auto">
            <a:xfrm>
              <a:off x="8023225" y="2660199"/>
              <a:ext cx="223838" cy="222250"/>
            </a:xfrm>
            <a:custGeom>
              <a:avLst/>
              <a:gdLst>
                <a:gd name="T0" fmla="*/ 51 w 141"/>
                <a:gd name="T1" fmla="*/ 0 h 140"/>
                <a:gd name="T2" fmla="*/ 74 w 141"/>
                <a:gd name="T3" fmla="*/ 64 h 140"/>
                <a:gd name="T4" fmla="*/ 141 w 141"/>
                <a:gd name="T5" fmla="*/ 51 h 140"/>
                <a:gd name="T6" fmla="*/ 77 w 141"/>
                <a:gd name="T7" fmla="*/ 74 h 140"/>
                <a:gd name="T8" fmla="*/ 91 w 141"/>
                <a:gd name="T9" fmla="*/ 140 h 140"/>
                <a:gd name="T10" fmla="*/ 67 w 141"/>
                <a:gd name="T11" fmla="*/ 76 h 140"/>
                <a:gd name="T12" fmla="*/ 0 w 141"/>
                <a:gd name="T13" fmla="*/ 91 h 140"/>
                <a:gd name="T14" fmla="*/ 64 w 141"/>
                <a:gd name="T15" fmla="*/ 67 h 140"/>
                <a:gd name="T16" fmla="*/ 51 w 141"/>
                <a:gd name="T17"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40">
                  <a:moveTo>
                    <a:pt x="51" y="0"/>
                  </a:moveTo>
                  <a:lnTo>
                    <a:pt x="74" y="64"/>
                  </a:lnTo>
                  <a:lnTo>
                    <a:pt x="141" y="51"/>
                  </a:lnTo>
                  <a:lnTo>
                    <a:pt x="77" y="74"/>
                  </a:lnTo>
                  <a:lnTo>
                    <a:pt x="91" y="140"/>
                  </a:lnTo>
                  <a:lnTo>
                    <a:pt x="67" y="76"/>
                  </a:lnTo>
                  <a:lnTo>
                    <a:pt x="0" y="91"/>
                  </a:lnTo>
                  <a:lnTo>
                    <a:pt x="64" y="67"/>
                  </a:lnTo>
                  <a:lnTo>
                    <a:pt x="51" y="0"/>
                  </a:ln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34"/>
            <p:cNvSpPr>
              <a:spLocks/>
            </p:cNvSpPr>
            <p:nvPr userDrawn="1"/>
          </p:nvSpPr>
          <p:spPr bwMode="auto">
            <a:xfrm>
              <a:off x="8893175" y="1534662"/>
              <a:ext cx="322263" cy="319087"/>
            </a:xfrm>
            <a:custGeom>
              <a:avLst/>
              <a:gdLst>
                <a:gd name="T0" fmla="*/ 98 w 203"/>
                <a:gd name="T1" fmla="*/ 0 h 201"/>
                <a:gd name="T2" fmla="*/ 108 w 203"/>
                <a:gd name="T3" fmla="*/ 93 h 201"/>
                <a:gd name="T4" fmla="*/ 203 w 203"/>
                <a:gd name="T5" fmla="*/ 98 h 201"/>
                <a:gd name="T6" fmla="*/ 108 w 203"/>
                <a:gd name="T7" fmla="*/ 106 h 201"/>
                <a:gd name="T8" fmla="*/ 104 w 203"/>
                <a:gd name="T9" fmla="*/ 201 h 201"/>
                <a:gd name="T10" fmla="*/ 95 w 203"/>
                <a:gd name="T11" fmla="*/ 108 h 201"/>
                <a:gd name="T12" fmla="*/ 0 w 203"/>
                <a:gd name="T13" fmla="*/ 103 h 201"/>
                <a:gd name="T14" fmla="*/ 95 w 203"/>
                <a:gd name="T15" fmla="*/ 93 h 201"/>
                <a:gd name="T16" fmla="*/ 98 w 203"/>
                <a:gd name="T1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01">
                  <a:moveTo>
                    <a:pt x="98" y="0"/>
                  </a:moveTo>
                  <a:lnTo>
                    <a:pt x="108" y="93"/>
                  </a:lnTo>
                  <a:lnTo>
                    <a:pt x="203" y="98"/>
                  </a:lnTo>
                  <a:lnTo>
                    <a:pt x="108" y="106"/>
                  </a:lnTo>
                  <a:lnTo>
                    <a:pt x="104" y="201"/>
                  </a:lnTo>
                  <a:lnTo>
                    <a:pt x="95" y="108"/>
                  </a:lnTo>
                  <a:lnTo>
                    <a:pt x="0" y="103"/>
                  </a:lnTo>
                  <a:lnTo>
                    <a:pt x="95" y="93"/>
                  </a:lnTo>
                  <a:lnTo>
                    <a:pt x="98" y="0"/>
                  </a:ln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6" name="Group 15"/>
            <p:cNvGrpSpPr/>
            <p:nvPr userDrawn="1"/>
          </p:nvGrpSpPr>
          <p:grpSpPr>
            <a:xfrm>
              <a:off x="8645525" y="1791837"/>
              <a:ext cx="539751" cy="604837"/>
              <a:chOff x="8645525" y="1791837"/>
              <a:chExt cx="539751" cy="604837"/>
            </a:xfrm>
            <a:solidFill>
              <a:srgbClr val="C8FF16"/>
            </a:solidFill>
          </p:grpSpPr>
          <p:sp>
            <p:nvSpPr>
              <p:cNvPr id="54" name="Freeform 7"/>
              <p:cNvSpPr>
                <a:spLocks/>
              </p:cNvSpPr>
              <p:nvPr userDrawn="1"/>
            </p:nvSpPr>
            <p:spPr bwMode="auto">
              <a:xfrm>
                <a:off x="9055100" y="2317299"/>
                <a:ext cx="74613" cy="46037"/>
              </a:xfrm>
              <a:custGeom>
                <a:avLst/>
                <a:gdLst>
                  <a:gd name="T0" fmla="*/ 16 w 39"/>
                  <a:gd name="T1" fmla="*/ 1 h 24"/>
                  <a:gd name="T2" fmla="*/ 0 w 39"/>
                  <a:gd name="T3" fmla="*/ 9 h 24"/>
                  <a:gd name="T4" fmla="*/ 19 w 39"/>
                  <a:gd name="T5" fmla="*/ 12 h 24"/>
                  <a:gd name="T6" fmla="*/ 0 w 39"/>
                  <a:gd name="T7" fmla="*/ 11 h 24"/>
                  <a:gd name="T8" fmla="*/ 14 w 39"/>
                  <a:gd name="T9" fmla="*/ 23 h 24"/>
                  <a:gd name="T10" fmla="*/ 39 w 39"/>
                  <a:gd name="T11" fmla="*/ 15 h 24"/>
                  <a:gd name="T12" fmla="*/ 16 w 39"/>
                  <a:gd name="T13" fmla="*/ 1 h 24"/>
                </a:gdLst>
                <a:ahLst/>
                <a:cxnLst>
                  <a:cxn ang="0">
                    <a:pos x="T0" y="T1"/>
                  </a:cxn>
                  <a:cxn ang="0">
                    <a:pos x="T2" y="T3"/>
                  </a:cxn>
                  <a:cxn ang="0">
                    <a:pos x="T4" y="T5"/>
                  </a:cxn>
                  <a:cxn ang="0">
                    <a:pos x="T6" y="T7"/>
                  </a:cxn>
                  <a:cxn ang="0">
                    <a:pos x="T8" y="T9"/>
                  </a:cxn>
                  <a:cxn ang="0">
                    <a:pos x="T10" y="T11"/>
                  </a:cxn>
                  <a:cxn ang="0">
                    <a:pos x="T12" y="T13"/>
                  </a:cxn>
                </a:cxnLst>
                <a:rect l="0" t="0" r="r" b="b"/>
                <a:pathLst>
                  <a:path w="39" h="24">
                    <a:moveTo>
                      <a:pt x="16" y="1"/>
                    </a:moveTo>
                    <a:cubicBezTo>
                      <a:pt x="7" y="0"/>
                      <a:pt x="2" y="4"/>
                      <a:pt x="0" y="9"/>
                    </a:cubicBezTo>
                    <a:cubicBezTo>
                      <a:pt x="6" y="10"/>
                      <a:pt x="19" y="12"/>
                      <a:pt x="19" y="12"/>
                    </a:cubicBezTo>
                    <a:cubicBezTo>
                      <a:pt x="0" y="11"/>
                      <a:pt x="0" y="11"/>
                      <a:pt x="0" y="11"/>
                    </a:cubicBezTo>
                    <a:cubicBezTo>
                      <a:pt x="0" y="17"/>
                      <a:pt x="4" y="22"/>
                      <a:pt x="14" y="23"/>
                    </a:cubicBezTo>
                    <a:cubicBezTo>
                      <a:pt x="24" y="24"/>
                      <a:pt x="39" y="15"/>
                      <a:pt x="39" y="15"/>
                    </a:cubicBezTo>
                    <a:cubicBezTo>
                      <a:pt x="39" y="15"/>
                      <a:pt x="26" y="2"/>
                      <a:pt x="16" y="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55" name="Freeform 8"/>
              <p:cNvSpPr>
                <a:spLocks/>
              </p:cNvSpPr>
              <p:nvPr userDrawn="1"/>
            </p:nvSpPr>
            <p:spPr bwMode="auto">
              <a:xfrm>
                <a:off x="9017000" y="2233162"/>
                <a:ext cx="52388" cy="73025"/>
              </a:xfrm>
              <a:custGeom>
                <a:avLst/>
                <a:gdLst>
                  <a:gd name="T0" fmla="*/ 24 w 27"/>
                  <a:gd name="T1" fmla="*/ 26 h 38"/>
                  <a:gd name="T2" fmla="*/ 20 w 27"/>
                  <a:gd name="T3" fmla="*/ 0 h 38"/>
                  <a:gd name="T4" fmla="*/ 2 w 27"/>
                  <a:gd name="T5" fmla="*/ 19 h 38"/>
                  <a:gd name="T6" fmla="*/ 8 w 27"/>
                  <a:gd name="T7" fmla="*/ 37 h 38"/>
                  <a:gd name="T8" fmla="*/ 14 w 27"/>
                  <a:gd name="T9" fmla="*/ 19 h 38"/>
                  <a:gd name="T10" fmla="*/ 10 w 27"/>
                  <a:gd name="T11" fmla="*/ 38 h 38"/>
                  <a:gd name="T12" fmla="*/ 24 w 27"/>
                  <a:gd name="T13" fmla="*/ 26 h 38"/>
                </a:gdLst>
                <a:ahLst/>
                <a:cxnLst>
                  <a:cxn ang="0">
                    <a:pos x="T0" y="T1"/>
                  </a:cxn>
                  <a:cxn ang="0">
                    <a:pos x="T2" y="T3"/>
                  </a:cxn>
                  <a:cxn ang="0">
                    <a:pos x="T4" y="T5"/>
                  </a:cxn>
                  <a:cxn ang="0">
                    <a:pos x="T6" y="T7"/>
                  </a:cxn>
                  <a:cxn ang="0">
                    <a:pos x="T8" y="T9"/>
                  </a:cxn>
                  <a:cxn ang="0">
                    <a:pos x="T10" y="T11"/>
                  </a:cxn>
                  <a:cxn ang="0">
                    <a:pos x="T12" y="T13"/>
                  </a:cxn>
                </a:cxnLst>
                <a:rect l="0" t="0" r="r" b="b"/>
                <a:pathLst>
                  <a:path w="27" h="38">
                    <a:moveTo>
                      <a:pt x="24" y="26"/>
                    </a:moveTo>
                    <a:cubicBezTo>
                      <a:pt x="27" y="17"/>
                      <a:pt x="20" y="0"/>
                      <a:pt x="20" y="0"/>
                    </a:cubicBezTo>
                    <a:cubicBezTo>
                      <a:pt x="20" y="0"/>
                      <a:pt x="5" y="10"/>
                      <a:pt x="2" y="19"/>
                    </a:cubicBezTo>
                    <a:cubicBezTo>
                      <a:pt x="0" y="29"/>
                      <a:pt x="3" y="35"/>
                      <a:pt x="8" y="37"/>
                    </a:cubicBezTo>
                    <a:cubicBezTo>
                      <a:pt x="14" y="19"/>
                      <a:pt x="14" y="19"/>
                      <a:pt x="14" y="19"/>
                    </a:cubicBezTo>
                    <a:cubicBezTo>
                      <a:pt x="14" y="19"/>
                      <a:pt x="12" y="32"/>
                      <a:pt x="10" y="38"/>
                    </a:cubicBezTo>
                    <a:cubicBezTo>
                      <a:pt x="15" y="38"/>
                      <a:pt x="21" y="35"/>
                      <a:pt x="24" y="26"/>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56" name="Freeform 9"/>
              <p:cNvSpPr>
                <a:spLocks/>
              </p:cNvSpPr>
              <p:nvPr userDrawn="1"/>
            </p:nvSpPr>
            <p:spPr bwMode="auto">
              <a:xfrm>
                <a:off x="9075738" y="2207762"/>
                <a:ext cx="52388" cy="73025"/>
              </a:xfrm>
              <a:custGeom>
                <a:avLst/>
                <a:gdLst>
                  <a:gd name="T0" fmla="*/ 24 w 27"/>
                  <a:gd name="T1" fmla="*/ 26 h 38"/>
                  <a:gd name="T2" fmla="*/ 21 w 27"/>
                  <a:gd name="T3" fmla="*/ 0 h 38"/>
                  <a:gd name="T4" fmla="*/ 3 w 27"/>
                  <a:gd name="T5" fmla="*/ 19 h 38"/>
                  <a:gd name="T6" fmla="*/ 8 w 27"/>
                  <a:gd name="T7" fmla="*/ 37 h 38"/>
                  <a:gd name="T8" fmla="*/ 15 w 27"/>
                  <a:gd name="T9" fmla="*/ 19 h 38"/>
                  <a:gd name="T10" fmla="*/ 11 w 27"/>
                  <a:gd name="T11" fmla="*/ 37 h 38"/>
                  <a:gd name="T12" fmla="*/ 24 w 27"/>
                  <a:gd name="T13" fmla="*/ 26 h 38"/>
                </a:gdLst>
                <a:ahLst/>
                <a:cxnLst>
                  <a:cxn ang="0">
                    <a:pos x="T0" y="T1"/>
                  </a:cxn>
                  <a:cxn ang="0">
                    <a:pos x="T2" y="T3"/>
                  </a:cxn>
                  <a:cxn ang="0">
                    <a:pos x="T4" y="T5"/>
                  </a:cxn>
                  <a:cxn ang="0">
                    <a:pos x="T6" y="T7"/>
                  </a:cxn>
                  <a:cxn ang="0">
                    <a:pos x="T8" y="T9"/>
                  </a:cxn>
                  <a:cxn ang="0">
                    <a:pos x="T10" y="T11"/>
                  </a:cxn>
                  <a:cxn ang="0">
                    <a:pos x="T12" y="T13"/>
                  </a:cxn>
                </a:cxnLst>
                <a:rect l="0" t="0" r="r" b="b"/>
                <a:pathLst>
                  <a:path w="27" h="38">
                    <a:moveTo>
                      <a:pt x="24" y="26"/>
                    </a:moveTo>
                    <a:cubicBezTo>
                      <a:pt x="27" y="16"/>
                      <a:pt x="21" y="0"/>
                      <a:pt x="21" y="0"/>
                    </a:cubicBezTo>
                    <a:cubicBezTo>
                      <a:pt x="21" y="0"/>
                      <a:pt x="6" y="10"/>
                      <a:pt x="3" y="19"/>
                    </a:cubicBezTo>
                    <a:cubicBezTo>
                      <a:pt x="0" y="28"/>
                      <a:pt x="3" y="35"/>
                      <a:pt x="8" y="37"/>
                    </a:cubicBezTo>
                    <a:cubicBezTo>
                      <a:pt x="15" y="19"/>
                      <a:pt x="15" y="19"/>
                      <a:pt x="15" y="19"/>
                    </a:cubicBezTo>
                    <a:cubicBezTo>
                      <a:pt x="15" y="19"/>
                      <a:pt x="12" y="31"/>
                      <a:pt x="11" y="37"/>
                    </a:cubicBezTo>
                    <a:cubicBezTo>
                      <a:pt x="16" y="38"/>
                      <a:pt x="22" y="34"/>
                      <a:pt x="24" y="26"/>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57" name="Freeform 10"/>
              <p:cNvSpPr>
                <a:spLocks/>
              </p:cNvSpPr>
              <p:nvPr userDrawn="1"/>
            </p:nvSpPr>
            <p:spPr bwMode="auto">
              <a:xfrm>
                <a:off x="9110663" y="2274437"/>
                <a:ext cx="74613" cy="44450"/>
              </a:xfrm>
              <a:custGeom>
                <a:avLst/>
                <a:gdLst>
                  <a:gd name="T0" fmla="*/ 16 w 39"/>
                  <a:gd name="T1" fmla="*/ 23 h 23"/>
                  <a:gd name="T2" fmla="*/ 39 w 39"/>
                  <a:gd name="T3" fmla="*/ 10 h 23"/>
                  <a:gd name="T4" fmla="*/ 15 w 39"/>
                  <a:gd name="T5" fmla="*/ 0 h 23"/>
                  <a:gd name="T6" fmla="*/ 0 w 39"/>
                  <a:gd name="T7" fmla="*/ 12 h 23"/>
                  <a:gd name="T8" fmla="*/ 20 w 39"/>
                  <a:gd name="T9" fmla="*/ 11 h 23"/>
                  <a:gd name="T10" fmla="*/ 0 w 39"/>
                  <a:gd name="T11" fmla="*/ 14 h 23"/>
                  <a:gd name="T12" fmla="*/ 16 w 3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39" h="23">
                    <a:moveTo>
                      <a:pt x="16" y="23"/>
                    </a:moveTo>
                    <a:cubicBezTo>
                      <a:pt x="26" y="22"/>
                      <a:pt x="39" y="10"/>
                      <a:pt x="39" y="10"/>
                    </a:cubicBezTo>
                    <a:cubicBezTo>
                      <a:pt x="39" y="10"/>
                      <a:pt x="25" y="0"/>
                      <a:pt x="15" y="0"/>
                    </a:cubicBezTo>
                    <a:cubicBezTo>
                      <a:pt x="5" y="1"/>
                      <a:pt x="0" y="6"/>
                      <a:pt x="0" y="12"/>
                    </a:cubicBezTo>
                    <a:cubicBezTo>
                      <a:pt x="20" y="11"/>
                      <a:pt x="20" y="11"/>
                      <a:pt x="20" y="11"/>
                    </a:cubicBezTo>
                    <a:cubicBezTo>
                      <a:pt x="20" y="11"/>
                      <a:pt x="7" y="13"/>
                      <a:pt x="0" y="14"/>
                    </a:cubicBezTo>
                    <a:cubicBezTo>
                      <a:pt x="2" y="19"/>
                      <a:pt x="7" y="23"/>
                      <a:pt x="16" y="23"/>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Freeform 11"/>
              <p:cNvSpPr>
                <a:spLocks/>
              </p:cNvSpPr>
              <p:nvPr userDrawn="1"/>
            </p:nvSpPr>
            <p:spPr bwMode="auto">
              <a:xfrm>
                <a:off x="8983663" y="2334762"/>
                <a:ext cx="74613" cy="52387"/>
              </a:xfrm>
              <a:custGeom>
                <a:avLst/>
                <a:gdLst>
                  <a:gd name="T0" fmla="*/ 3 w 39"/>
                  <a:gd name="T1" fmla="*/ 7 h 27"/>
                  <a:gd name="T2" fmla="*/ 21 w 39"/>
                  <a:gd name="T3" fmla="*/ 15 h 27"/>
                  <a:gd name="T4" fmla="*/ 2 w 39"/>
                  <a:gd name="T5" fmla="*/ 10 h 27"/>
                  <a:gd name="T6" fmla="*/ 13 w 39"/>
                  <a:gd name="T7" fmla="*/ 24 h 27"/>
                  <a:gd name="T8" fmla="*/ 39 w 39"/>
                  <a:gd name="T9" fmla="*/ 21 h 27"/>
                  <a:gd name="T10" fmla="*/ 20 w 39"/>
                  <a:gd name="T11" fmla="*/ 3 h 27"/>
                  <a:gd name="T12" fmla="*/ 3 w 39"/>
                  <a:gd name="T13" fmla="*/ 7 h 27"/>
                </a:gdLst>
                <a:ahLst/>
                <a:cxnLst>
                  <a:cxn ang="0">
                    <a:pos x="T0" y="T1"/>
                  </a:cxn>
                  <a:cxn ang="0">
                    <a:pos x="T2" y="T3"/>
                  </a:cxn>
                  <a:cxn ang="0">
                    <a:pos x="T4" y="T5"/>
                  </a:cxn>
                  <a:cxn ang="0">
                    <a:pos x="T6" y="T7"/>
                  </a:cxn>
                  <a:cxn ang="0">
                    <a:pos x="T8" y="T9"/>
                  </a:cxn>
                  <a:cxn ang="0">
                    <a:pos x="T10" y="T11"/>
                  </a:cxn>
                  <a:cxn ang="0">
                    <a:pos x="T12" y="T13"/>
                  </a:cxn>
                </a:cxnLst>
                <a:rect l="0" t="0" r="r" b="b"/>
                <a:pathLst>
                  <a:path w="39" h="27">
                    <a:moveTo>
                      <a:pt x="3" y="7"/>
                    </a:moveTo>
                    <a:cubicBezTo>
                      <a:pt x="9" y="10"/>
                      <a:pt x="21" y="15"/>
                      <a:pt x="21" y="15"/>
                    </a:cubicBezTo>
                    <a:cubicBezTo>
                      <a:pt x="2" y="10"/>
                      <a:pt x="2" y="10"/>
                      <a:pt x="2" y="10"/>
                    </a:cubicBezTo>
                    <a:cubicBezTo>
                      <a:pt x="0" y="15"/>
                      <a:pt x="4" y="22"/>
                      <a:pt x="13" y="24"/>
                    </a:cubicBezTo>
                    <a:cubicBezTo>
                      <a:pt x="23" y="27"/>
                      <a:pt x="39" y="21"/>
                      <a:pt x="39" y="21"/>
                    </a:cubicBezTo>
                    <a:cubicBezTo>
                      <a:pt x="39" y="21"/>
                      <a:pt x="29" y="6"/>
                      <a:pt x="20" y="3"/>
                    </a:cubicBezTo>
                    <a:cubicBezTo>
                      <a:pt x="11" y="0"/>
                      <a:pt x="5" y="3"/>
                      <a:pt x="3" y="7"/>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59" name="Freeform 12"/>
              <p:cNvSpPr>
                <a:spLocks/>
              </p:cNvSpPr>
              <p:nvPr userDrawn="1"/>
            </p:nvSpPr>
            <p:spPr bwMode="auto">
              <a:xfrm>
                <a:off x="8958263" y="2250624"/>
                <a:ext cx="57150" cy="68262"/>
              </a:xfrm>
              <a:custGeom>
                <a:avLst/>
                <a:gdLst>
                  <a:gd name="T0" fmla="*/ 24 w 29"/>
                  <a:gd name="T1" fmla="*/ 26 h 36"/>
                  <a:gd name="T2" fmla="*/ 26 w 29"/>
                  <a:gd name="T3" fmla="*/ 0 h 36"/>
                  <a:gd name="T4" fmla="*/ 5 w 29"/>
                  <a:gd name="T5" fmla="*/ 15 h 36"/>
                  <a:gd name="T6" fmla="*/ 7 w 29"/>
                  <a:gd name="T7" fmla="*/ 34 h 36"/>
                  <a:gd name="T8" fmla="*/ 17 w 29"/>
                  <a:gd name="T9" fmla="*/ 17 h 36"/>
                  <a:gd name="T10" fmla="*/ 9 w 29"/>
                  <a:gd name="T11" fmla="*/ 35 h 36"/>
                  <a:gd name="T12" fmla="*/ 24 w 29"/>
                  <a:gd name="T13" fmla="*/ 26 h 36"/>
                </a:gdLst>
                <a:ahLst/>
                <a:cxnLst>
                  <a:cxn ang="0">
                    <a:pos x="T0" y="T1"/>
                  </a:cxn>
                  <a:cxn ang="0">
                    <a:pos x="T2" y="T3"/>
                  </a:cxn>
                  <a:cxn ang="0">
                    <a:pos x="T4" y="T5"/>
                  </a:cxn>
                  <a:cxn ang="0">
                    <a:pos x="T6" y="T7"/>
                  </a:cxn>
                  <a:cxn ang="0">
                    <a:pos x="T8" y="T9"/>
                  </a:cxn>
                  <a:cxn ang="0">
                    <a:pos x="T10" y="T11"/>
                  </a:cxn>
                  <a:cxn ang="0">
                    <a:pos x="T12" y="T13"/>
                  </a:cxn>
                </a:cxnLst>
                <a:rect l="0" t="0" r="r" b="b"/>
                <a:pathLst>
                  <a:path w="29" h="36">
                    <a:moveTo>
                      <a:pt x="24" y="26"/>
                    </a:moveTo>
                    <a:cubicBezTo>
                      <a:pt x="29" y="17"/>
                      <a:pt x="26" y="0"/>
                      <a:pt x="26" y="0"/>
                    </a:cubicBezTo>
                    <a:cubicBezTo>
                      <a:pt x="26" y="0"/>
                      <a:pt x="10" y="7"/>
                      <a:pt x="5" y="15"/>
                    </a:cubicBezTo>
                    <a:cubicBezTo>
                      <a:pt x="0" y="24"/>
                      <a:pt x="2" y="31"/>
                      <a:pt x="7" y="34"/>
                    </a:cubicBezTo>
                    <a:cubicBezTo>
                      <a:pt x="17" y="17"/>
                      <a:pt x="17" y="17"/>
                      <a:pt x="17" y="17"/>
                    </a:cubicBezTo>
                    <a:cubicBezTo>
                      <a:pt x="17" y="17"/>
                      <a:pt x="12" y="29"/>
                      <a:pt x="9" y="35"/>
                    </a:cubicBezTo>
                    <a:cubicBezTo>
                      <a:pt x="14" y="36"/>
                      <a:pt x="20" y="34"/>
                      <a:pt x="24" y="26"/>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0" name="Freeform 13"/>
              <p:cNvSpPr>
                <a:spLocks/>
              </p:cNvSpPr>
              <p:nvPr userDrawn="1"/>
            </p:nvSpPr>
            <p:spPr bwMode="auto">
              <a:xfrm>
                <a:off x="8904288" y="2341112"/>
                <a:ext cx="68263" cy="55562"/>
              </a:xfrm>
              <a:custGeom>
                <a:avLst/>
                <a:gdLst>
                  <a:gd name="T0" fmla="*/ 22 w 35"/>
                  <a:gd name="T1" fmla="*/ 5 h 29"/>
                  <a:gd name="T2" fmla="*/ 4 w 35"/>
                  <a:gd name="T3" fmla="*/ 4 h 29"/>
                  <a:gd name="T4" fmla="*/ 19 w 35"/>
                  <a:gd name="T5" fmla="*/ 16 h 29"/>
                  <a:gd name="T6" fmla="*/ 3 w 35"/>
                  <a:gd name="T7" fmla="*/ 6 h 29"/>
                  <a:gd name="T8" fmla="*/ 10 w 35"/>
                  <a:gd name="T9" fmla="*/ 23 h 29"/>
                  <a:gd name="T10" fmla="*/ 35 w 35"/>
                  <a:gd name="T11" fmla="*/ 27 h 29"/>
                  <a:gd name="T12" fmla="*/ 22 w 35"/>
                  <a:gd name="T13" fmla="*/ 5 h 29"/>
                </a:gdLst>
                <a:ahLst/>
                <a:cxnLst>
                  <a:cxn ang="0">
                    <a:pos x="T0" y="T1"/>
                  </a:cxn>
                  <a:cxn ang="0">
                    <a:pos x="T2" y="T3"/>
                  </a:cxn>
                  <a:cxn ang="0">
                    <a:pos x="T4" y="T5"/>
                  </a:cxn>
                  <a:cxn ang="0">
                    <a:pos x="T6" y="T7"/>
                  </a:cxn>
                  <a:cxn ang="0">
                    <a:pos x="T8" y="T9"/>
                  </a:cxn>
                  <a:cxn ang="0">
                    <a:pos x="T10" y="T11"/>
                  </a:cxn>
                  <a:cxn ang="0">
                    <a:pos x="T12" y="T13"/>
                  </a:cxn>
                </a:cxnLst>
                <a:rect l="0" t="0" r="r" b="b"/>
                <a:pathLst>
                  <a:path w="35" h="29">
                    <a:moveTo>
                      <a:pt x="22" y="5"/>
                    </a:moveTo>
                    <a:cubicBezTo>
                      <a:pt x="15" y="0"/>
                      <a:pt x="8" y="0"/>
                      <a:pt x="4" y="4"/>
                    </a:cubicBezTo>
                    <a:cubicBezTo>
                      <a:pt x="9" y="8"/>
                      <a:pt x="19" y="16"/>
                      <a:pt x="19" y="16"/>
                    </a:cubicBezTo>
                    <a:cubicBezTo>
                      <a:pt x="3" y="6"/>
                      <a:pt x="3" y="6"/>
                      <a:pt x="3" y="6"/>
                    </a:cubicBezTo>
                    <a:cubicBezTo>
                      <a:pt x="0" y="10"/>
                      <a:pt x="2" y="18"/>
                      <a:pt x="10" y="23"/>
                    </a:cubicBezTo>
                    <a:cubicBezTo>
                      <a:pt x="18" y="29"/>
                      <a:pt x="35" y="27"/>
                      <a:pt x="35" y="27"/>
                    </a:cubicBezTo>
                    <a:cubicBezTo>
                      <a:pt x="35" y="27"/>
                      <a:pt x="30" y="10"/>
                      <a:pt x="22" y="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1" name="Freeform 14"/>
              <p:cNvSpPr>
                <a:spLocks/>
              </p:cNvSpPr>
              <p:nvPr userDrawn="1"/>
            </p:nvSpPr>
            <p:spPr bwMode="auto">
              <a:xfrm>
                <a:off x="8899525" y="2260149"/>
                <a:ext cx="61913" cy="58737"/>
              </a:xfrm>
              <a:custGeom>
                <a:avLst/>
                <a:gdLst>
                  <a:gd name="T0" fmla="*/ 23 w 32"/>
                  <a:gd name="T1" fmla="*/ 24 h 31"/>
                  <a:gd name="T2" fmla="*/ 32 w 32"/>
                  <a:gd name="T3" fmla="*/ 0 h 31"/>
                  <a:gd name="T4" fmla="*/ 8 w 32"/>
                  <a:gd name="T5" fmla="*/ 8 h 31"/>
                  <a:gd name="T6" fmla="*/ 4 w 32"/>
                  <a:gd name="T7" fmla="*/ 26 h 31"/>
                  <a:gd name="T8" fmla="*/ 18 w 32"/>
                  <a:gd name="T9" fmla="*/ 13 h 31"/>
                  <a:gd name="T10" fmla="*/ 6 w 32"/>
                  <a:gd name="T11" fmla="*/ 28 h 31"/>
                  <a:gd name="T12" fmla="*/ 23 w 32"/>
                  <a:gd name="T13" fmla="*/ 24 h 31"/>
                </a:gdLst>
                <a:ahLst/>
                <a:cxnLst>
                  <a:cxn ang="0">
                    <a:pos x="T0" y="T1"/>
                  </a:cxn>
                  <a:cxn ang="0">
                    <a:pos x="T2" y="T3"/>
                  </a:cxn>
                  <a:cxn ang="0">
                    <a:pos x="T4" y="T5"/>
                  </a:cxn>
                  <a:cxn ang="0">
                    <a:pos x="T6" y="T7"/>
                  </a:cxn>
                  <a:cxn ang="0">
                    <a:pos x="T8" y="T9"/>
                  </a:cxn>
                  <a:cxn ang="0">
                    <a:pos x="T10" y="T11"/>
                  </a:cxn>
                  <a:cxn ang="0">
                    <a:pos x="T12" y="T13"/>
                  </a:cxn>
                </a:cxnLst>
                <a:rect l="0" t="0" r="r" b="b"/>
                <a:pathLst>
                  <a:path w="32" h="31">
                    <a:moveTo>
                      <a:pt x="23" y="24"/>
                    </a:moveTo>
                    <a:cubicBezTo>
                      <a:pt x="30" y="17"/>
                      <a:pt x="32" y="0"/>
                      <a:pt x="32" y="0"/>
                    </a:cubicBezTo>
                    <a:cubicBezTo>
                      <a:pt x="32" y="0"/>
                      <a:pt x="15" y="1"/>
                      <a:pt x="8" y="8"/>
                    </a:cubicBezTo>
                    <a:cubicBezTo>
                      <a:pt x="1" y="15"/>
                      <a:pt x="0" y="22"/>
                      <a:pt x="4" y="26"/>
                    </a:cubicBezTo>
                    <a:cubicBezTo>
                      <a:pt x="18" y="13"/>
                      <a:pt x="18" y="13"/>
                      <a:pt x="18" y="13"/>
                    </a:cubicBezTo>
                    <a:cubicBezTo>
                      <a:pt x="18" y="13"/>
                      <a:pt x="10" y="23"/>
                      <a:pt x="6" y="28"/>
                    </a:cubicBezTo>
                    <a:cubicBezTo>
                      <a:pt x="10" y="31"/>
                      <a:pt x="17" y="30"/>
                      <a:pt x="23" y="24"/>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2" name="Freeform 15"/>
              <p:cNvSpPr>
                <a:spLocks/>
              </p:cNvSpPr>
              <p:nvPr userDrawn="1"/>
            </p:nvSpPr>
            <p:spPr bwMode="auto">
              <a:xfrm>
                <a:off x="8831263" y="2322062"/>
                <a:ext cx="60325" cy="60325"/>
              </a:xfrm>
              <a:custGeom>
                <a:avLst/>
                <a:gdLst>
                  <a:gd name="T0" fmla="*/ 23 w 31"/>
                  <a:gd name="T1" fmla="*/ 7 h 32"/>
                  <a:gd name="T2" fmla="*/ 7 w 31"/>
                  <a:gd name="T3" fmla="*/ 2 h 32"/>
                  <a:gd name="T4" fmla="*/ 18 w 31"/>
                  <a:gd name="T5" fmla="*/ 18 h 32"/>
                  <a:gd name="T6" fmla="*/ 4 w 31"/>
                  <a:gd name="T7" fmla="*/ 4 h 32"/>
                  <a:gd name="T8" fmla="*/ 7 w 31"/>
                  <a:gd name="T9" fmla="*/ 22 h 32"/>
                  <a:gd name="T10" fmla="*/ 31 w 31"/>
                  <a:gd name="T11" fmla="*/ 32 h 32"/>
                  <a:gd name="T12" fmla="*/ 23 w 31"/>
                  <a:gd name="T13" fmla="*/ 7 h 32"/>
                </a:gdLst>
                <a:ahLst/>
                <a:cxnLst>
                  <a:cxn ang="0">
                    <a:pos x="T0" y="T1"/>
                  </a:cxn>
                  <a:cxn ang="0">
                    <a:pos x="T2" y="T3"/>
                  </a:cxn>
                  <a:cxn ang="0">
                    <a:pos x="T4" y="T5"/>
                  </a:cxn>
                  <a:cxn ang="0">
                    <a:pos x="T6" y="T7"/>
                  </a:cxn>
                  <a:cxn ang="0">
                    <a:pos x="T8" y="T9"/>
                  </a:cxn>
                  <a:cxn ang="0">
                    <a:pos x="T10" y="T11"/>
                  </a:cxn>
                  <a:cxn ang="0">
                    <a:pos x="T12" y="T13"/>
                  </a:cxn>
                </a:cxnLst>
                <a:rect l="0" t="0" r="r" b="b"/>
                <a:pathLst>
                  <a:path w="31" h="32">
                    <a:moveTo>
                      <a:pt x="23" y="7"/>
                    </a:moveTo>
                    <a:cubicBezTo>
                      <a:pt x="18" y="0"/>
                      <a:pt x="11" y="0"/>
                      <a:pt x="7" y="2"/>
                    </a:cubicBezTo>
                    <a:cubicBezTo>
                      <a:pt x="10" y="7"/>
                      <a:pt x="18" y="18"/>
                      <a:pt x="18" y="18"/>
                    </a:cubicBezTo>
                    <a:cubicBezTo>
                      <a:pt x="4" y="4"/>
                      <a:pt x="4" y="4"/>
                      <a:pt x="4" y="4"/>
                    </a:cubicBezTo>
                    <a:cubicBezTo>
                      <a:pt x="1" y="7"/>
                      <a:pt x="0" y="15"/>
                      <a:pt x="7" y="22"/>
                    </a:cubicBezTo>
                    <a:cubicBezTo>
                      <a:pt x="13" y="29"/>
                      <a:pt x="31" y="32"/>
                      <a:pt x="31" y="32"/>
                    </a:cubicBezTo>
                    <a:cubicBezTo>
                      <a:pt x="31" y="32"/>
                      <a:pt x="30" y="15"/>
                      <a:pt x="23" y="7"/>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3" name="Freeform 16"/>
              <p:cNvSpPr>
                <a:spLocks/>
              </p:cNvSpPr>
              <p:nvPr userDrawn="1"/>
            </p:nvSpPr>
            <p:spPr bwMode="auto">
              <a:xfrm>
                <a:off x="8843963" y="2245862"/>
                <a:ext cx="68263" cy="53975"/>
              </a:xfrm>
              <a:custGeom>
                <a:avLst/>
                <a:gdLst>
                  <a:gd name="T0" fmla="*/ 2 w 36"/>
                  <a:gd name="T1" fmla="*/ 21 h 28"/>
                  <a:gd name="T2" fmla="*/ 19 w 36"/>
                  <a:gd name="T3" fmla="*/ 12 h 28"/>
                  <a:gd name="T4" fmla="*/ 3 w 36"/>
                  <a:gd name="T5" fmla="*/ 23 h 28"/>
                  <a:gd name="T6" fmla="*/ 21 w 36"/>
                  <a:gd name="T7" fmla="*/ 24 h 28"/>
                  <a:gd name="T8" fmla="*/ 36 w 36"/>
                  <a:gd name="T9" fmla="*/ 2 h 28"/>
                  <a:gd name="T10" fmla="*/ 10 w 36"/>
                  <a:gd name="T11" fmla="*/ 5 h 28"/>
                  <a:gd name="T12" fmla="*/ 2 w 36"/>
                  <a:gd name="T13" fmla="*/ 21 h 28"/>
                </a:gdLst>
                <a:ahLst/>
                <a:cxnLst>
                  <a:cxn ang="0">
                    <a:pos x="T0" y="T1"/>
                  </a:cxn>
                  <a:cxn ang="0">
                    <a:pos x="T2" y="T3"/>
                  </a:cxn>
                  <a:cxn ang="0">
                    <a:pos x="T4" y="T5"/>
                  </a:cxn>
                  <a:cxn ang="0">
                    <a:pos x="T6" y="T7"/>
                  </a:cxn>
                  <a:cxn ang="0">
                    <a:pos x="T8" y="T9"/>
                  </a:cxn>
                  <a:cxn ang="0">
                    <a:pos x="T10" y="T11"/>
                  </a:cxn>
                  <a:cxn ang="0">
                    <a:pos x="T12" y="T13"/>
                  </a:cxn>
                </a:cxnLst>
                <a:rect l="0" t="0" r="r" b="b"/>
                <a:pathLst>
                  <a:path w="36" h="28">
                    <a:moveTo>
                      <a:pt x="2" y="21"/>
                    </a:moveTo>
                    <a:cubicBezTo>
                      <a:pt x="19" y="12"/>
                      <a:pt x="19" y="12"/>
                      <a:pt x="19" y="12"/>
                    </a:cubicBezTo>
                    <a:cubicBezTo>
                      <a:pt x="19" y="12"/>
                      <a:pt x="9" y="20"/>
                      <a:pt x="3" y="23"/>
                    </a:cubicBezTo>
                    <a:cubicBezTo>
                      <a:pt x="7" y="27"/>
                      <a:pt x="14" y="28"/>
                      <a:pt x="21" y="24"/>
                    </a:cubicBezTo>
                    <a:cubicBezTo>
                      <a:pt x="30" y="19"/>
                      <a:pt x="36" y="2"/>
                      <a:pt x="36" y="2"/>
                    </a:cubicBezTo>
                    <a:cubicBezTo>
                      <a:pt x="36" y="2"/>
                      <a:pt x="19" y="0"/>
                      <a:pt x="10" y="5"/>
                    </a:cubicBezTo>
                    <a:cubicBezTo>
                      <a:pt x="2" y="9"/>
                      <a:pt x="0" y="16"/>
                      <a:pt x="2" y="2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4" name="Freeform 17"/>
              <p:cNvSpPr>
                <a:spLocks/>
              </p:cNvSpPr>
              <p:nvPr userDrawn="1"/>
            </p:nvSpPr>
            <p:spPr bwMode="auto">
              <a:xfrm>
                <a:off x="8763000" y="2279199"/>
                <a:ext cx="55563" cy="68262"/>
              </a:xfrm>
              <a:custGeom>
                <a:avLst/>
                <a:gdLst>
                  <a:gd name="T0" fmla="*/ 9 w 29"/>
                  <a:gd name="T1" fmla="*/ 1 h 36"/>
                  <a:gd name="T2" fmla="*/ 17 w 29"/>
                  <a:gd name="T3" fmla="*/ 19 h 36"/>
                  <a:gd name="T4" fmla="*/ 7 w 29"/>
                  <a:gd name="T5" fmla="*/ 2 h 36"/>
                  <a:gd name="T6" fmla="*/ 5 w 29"/>
                  <a:gd name="T7" fmla="*/ 21 h 36"/>
                  <a:gd name="T8" fmla="*/ 26 w 29"/>
                  <a:gd name="T9" fmla="*/ 36 h 36"/>
                  <a:gd name="T10" fmla="*/ 25 w 29"/>
                  <a:gd name="T11" fmla="*/ 10 h 36"/>
                  <a:gd name="T12" fmla="*/ 9 w 29"/>
                  <a:gd name="T13" fmla="*/ 1 h 36"/>
                </a:gdLst>
                <a:ahLst/>
                <a:cxnLst>
                  <a:cxn ang="0">
                    <a:pos x="T0" y="T1"/>
                  </a:cxn>
                  <a:cxn ang="0">
                    <a:pos x="T2" y="T3"/>
                  </a:cxn>
                  <a:cxn ang="0">
                    <a:pos x="T4" y="T5"/>
                  </a:cxn>
                  <a:cxn ang="0">
                    <a:pos x="T6" y="T7"/>
                  </a:cxn>
                  <a:cxn ang="0">
                    <a:pos x="T8" y="T9"/>
                  </a:cxn>
                  <a:cxn ang="0">
                    <a:pos x="T10" y="T11"/>
                  </a:cxn>
                  <a:cxn ang="0">
                    <a:pos x="T12" y="T13"/>
                  </a:cxn>
                </a:cxnLst>
                <a:rect l="0" t="0" r="r" b="b"/>
                <a:pathLst>
                  <a:path w="29" h="36">
                    <a:moveTo>
                      <a:pt x="9" y="1"/>
                    </a:moveTo>
                    <a:cubicBezTo>
                      <a:pt x="12" y="7"/>
                      <a:pt x="17" y="19"/>
                      <a:pt x="17" y="19"/>
                    </a:cubicBezTo>
                    <a:cubicBezTo>
                      <a:pt x="7" y="2"/>
                      <a:pt x="7" y="2"/>
                      <a:pt x="7" y="2"/>
                    </a:cubicBezTo>
                    <a:cubicBezTo>
                      <a:pt x="2" y="5"/>
                      <a:pt x="0" y="12"/>
                      <a:pt x="5" y="21"/>
                    </a:cubicBezTo>
                    <a:cubicBezTo>
                      <a:pt x="10" y="29"/>
                      <a:pt x="26" y="36"/>
                      <a:pt x="26" y="36"/>
                    </a:cubicBezTo>
                    <a:cubicBezTo>
                      <a:pt x="26" y="36"/>
                      <a:pt x="29" y="19"/>
                      <a:pt x="25" y="10"/>
                    </a:cubicBezTo>
                    <a:cubicBezTo>
                      <a:pt x="20" y="2"/>
                      <a:pt x="14" y="0"/>
                      <a:pt x="9" y="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5" name="Freeform 18"/>
              <p:cNvSpPr>
                <a:spLocks/>
              </p:cNvSpPr>
              <p:nvPr userDrawn="1"/>
            </p:nvSpPr>
            <p:spPr bwMode="auto">
              <a:xfrm>
                <a:off x="8789988" y="2210937"/>
                <a:ext cx="74613" cy="52387"/>
              </a:xfrm>
              <a:custGeom>
                <a:avLst/>
                <a:gdLst>
                  <a:gd name="T0" fmla="*/ 19 w 39"/>
                  <a:gd name="T1" fmla="*/ 24 h 27"/>
                  <a:gd name="T2" fmla="*/ 39 w 39"/>
                  <a:gd name="T3" fmla="*/ 7 h 27"/>
                  <a:gd name="T4" fmla="*/ 13 w 39"/>
                  <a:gd name="T5" fmla="*/ 3 h 27"/>
                  <a:gd name="T6" fmla="*/ 1 w 39"/>
                  <a:gd name="T7" fmla="*/ 17 h 27"/>
                  <a:gd name="T8" fmla="*/ 20 w 39"/>
                  <a:gd name="T9" fmla="*/ 12 h 27"/>
                  <a:gd name="T10" fmla="*/ 2 w 39"/>
                  <a:gd name="T11" fmla="*/ 20 h 27"/>
                  <a:gd name="T12" fmla="*/ 19 w 39"/>
                  <a:gd name="T13" fmla="*/ 24 h 27"/>
                </a:gdLst>
                <a:ahLst/>
                <a:cxnLst>
                  <a:cxn ang="0">
                    <a:pos x="T0" y="T1"/>
                  </a:cxn>
                  <a:cxn ang="0">
                    <a:pos x="T2" y="T3"/>
                  </a:cxn>
                  <a:cxn ang="0">
                    <a:pos x="T4" y="T5"/>
                  </a:cxn>
                  <a:cxn ang="0">
                    <a:pos x="T6" y="T7"/>
                  </a:cxn>
                  <a:cxn ang="0">
                    <a:pos x="T8" y="T9"/>
                  </a:cxn>
                  <a:cxn ang="0">
                    <a:pos x="T10" y="T11"/>
                  </a:cxn>
                  <a:cxn ang="0">
                    <a:pos x="T12" y="T13"/>
                  </a:cxn>
                </a:cxnLst>
                <a:rect l="0" t="0" r="r" b="b"/>
                <a:pathLst>
                  <a:path w="39" h="27">
                    <a:moveTo>
                      <a:pt x="19" y="24"/>
                    </a:moveTo>
                    <a:cubicBezTo>
                      <a:pt x="29" y="21"/>
                      <a:pt x="39" y="7"/>
                      <a:pt x="39" y="7"/>
                    </a:cubicBezTo>
                    <a:cubicBezTo>
                      <a:pt x="39" y="7"/>
                      <a:pt x="22" y="0"/>
                      <a:pt x="13" y="3"/>
                    </a:cubicBezTo>
                    <a:cubicBezTo>
                      <a:pt x="4" y="6"/>
                      <a:pt x="0" y="12"/>
                      <a:pt x="1" y="17"/>
                    </a:cubicBezTo>
                    <a:cubicBezTo>
                      <a:pt x="20" y="12"/>
                      <a:pt x="20" y="12"/>
                      <a:pt x="20" y="12"/>
                    </a:cubicBezTo>
                    <a:cubicBezTo>
                      <a:pt x="20" y="12"/>
                      <a:pt x="8" y="17"/>
                      <a:pt x="2" y="20"/>
                    </a:cubicBezTo>
                    <a:cubicBezTo>
                      <a:pt x="5" y="24"/>
                      <a:pt x="11" y="27"/>
                      <a:pt x="19" y="24"/>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6" name="Freeform 19"/>
              <p:cNvSpPr>
                <a:spLocks/>
              </p:cNvSpPr>
              <p:nvPr userDrawn="1"/>
            </p:nvSpPr>
            <p:spPr bwMode="auto">
              <a:xfrm>
                <a:off x="8785225" y="1814062"/>
                <a:ext cx="55563" cy="69850"/>
              </a:xfrm>
              <a:custGeom>
                <a:avLst/>
                <a:gdLst>
                  <a:gd name="T0" fmla="*/ 7 w 29"/>
                  <a:gd name="T1" fmla="*/ 35 h 37"/>
                  <a:gd name="T2" fmla="*/ 16 w 29"/>
                  <a:gd name="T3" fmla="*/ 18 h 37"/>
                  <a:gd name="T4" fmla="*/ 9 w 29"/>
                  <a:gd name="T5" fmla="*/ 36 h 37"/>
                  <a:gd name="T6" fmla="*/ 24 w 29"/>
                  <a:gd name="T7" fmla="*/ 27 h 37"/>
                  <a:gd name="T8" fmla="*/ 24 w 29"/>
                  <a:gd name="T9" fmla="*/ 0 h 37"/>
                  <a:gd name="T10" fmla="*/ 4 w 29"/>
                  <a:gd name="T11" fmla="*/ 17 h 37"/>
                  <a:gd name="T12" fmla="*/ 7 w 29"/>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29" h="37">
                    <a:moveTo>
                      <a:pt x="7" y="35"/>
                    </a:moveTo>
                    <a:cubicBezTo>
                      <a:pt x="16" y="18"/>
                      <a:pt x="16" y="18"/>
                      <a:pt x="16" y="18"/>
                    </a:cubicBezTo>
                    <a:cubicBezTo>
                      <a:pt x="16" y="18"/>
                      <a:pt x="11" y="30"/>
                      <a:pt x="9" y="36"/>
                    </a:cubicBezTo>
                    <a:cubicBezTo>
                      <a:pt x="14" y="37"/>
                      <a:pt x="20" y="35"/>
                      <a:pt x="24" y="27"/>
                    </a:cubicBezTo>
                    <a:cubicBezTo>
                      <a:pt x="29" y="18"/>
                      <a:pt x="24" y="0"/>
                      <a:pt x="24" y="0"/>
                    </a:cubicBezTo>
                    <a:cubicBezTo>
                      <a:pt x="24" y="0"/>
                      <a:pt x="8" y="8"/>
                      <a:pt x="4" y="17"/>
                    </a:cubicBezTo>
                    <a:cubicBezTo>
                      <a:pt x="0" y="26"/>
                      <a:pt x="2" y="33"/>
                      <a:pt x="7" y="3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7" name="Freeform 20"/>
              <p:cNvSpPr>
                <a:spLocks/>
              </p:cNvSpPr>
              <p:nvPr userDrawn="1"/>
            </p:nvSpPr>
            <p:spPr bwMode="auto">
              <a:xfrm>
                <a:off x="8813800" y="1899787"/>
                <a:ext cx="76200" cy="50800"/>
              </a:xfrm>
              <a:custGeom>
                <a:avLst/>
                <a:gdLst>
                  <a:gd name="T0" fmla="*/ 13 w 39"/>
                  <a:gd name="T1" fmla="*/ 24 h 26"/>
                  <a:gd name="T2" fmla="*/ 39 w 39"/>
                  <a:gd name="T3" fmla="*/ 19 h 26"/>
                  <a:gd name="T4" fmla="*/ 19 w 39"/>
                  <a:gd name="T5" fmla="*/ 2 h 26"/>
                  <a:gd name="T6" fmla="*/ 2 w 39"/>
                  <a:gd name="T7" fmla="*/ 7 h 26"/>
                  <a:gd name="T8" fmla="*/ 20 w 39"/>
                  <a:gd name="T9" fmla="*/ 14 h 26"/>
                  <a:gd name="T10" fmla="*/ 1 w 39"/>
                  <a:gd name="T11" fmla="*/ 10 h 26"/>
                  <a:gd name="T12" fmla="*/ 13 w 39"/>
                  <a:gd name="T13" fmla="*/ 24 h 26"/>
                </a:gdLst>
                <a:ahLst/>
                <a:cxnLst>
                  <a:cxn ang="0">
                    <a:pos x="T0" y="T1"/>
                  </a:cxn>
                  <a:cxn ang="0">
                    <a:pos x="T2" y="T3"/>
                  </a:cxn>
                  <a:cxn ang="0">
                    <a:pos x="T4" y="T5"/>
                  </a:cxn>
                  <a:cxn ang="0">
                    <a:pos x="T6" y="T7"/>
                  </a:cxn>
                  <a:cxn ang="0">
                    <a:pos x="T8" y="T9"/>
                  </a:cxn>
                  <a:cxn ang="0">
                    <a:pos x="T10" y="T11"/>
                  </a:cxn>
                  <a:cxn ang="0">
                    <a:pos x="T12" y="T13"/>
                  </a:cxn>
                </a:cxnLst>
                <a:rect l="0" t="0" r="r" b="b"/>
                <a:pathLst>
                  <a:path w="39" h="26">
                    <a:moveTo>
                      <a:pt x="13" y="24"/>
                    </a:moveTo>
                    <a:cubicBezTo>
                      <a:pt x="23" y="26"/>
                      <a:pt x="39" y="19"/>
                      <a:pt x="39" y="19"/>
                    </a:cubicBezTo>
                    <a:cubicBezTo>
                      <a:pt x="39" y="19"/>
                      <a:pt x="28" y="4"/>
                      <a:pt x="19" y="2"/>
                    </a:cubicBezTo>
                    <a:cubicBezTo>
                      <a:pt x="10" y="0"/>
                      <a:pt x="4" y="3"/>
                      <a:pt x="2" y="7"/>
                    </a:cubicBezTo>
                    <a:cubicBezTo>
                      <a:pt x="8" y="9"/>
                      <a:pt x="20" y="14"/>
                      <a:pt x="20" y="14"/>
                    </a:cubicBezTo>
                    <a:cubicBezTo>
                      <a:pt x="1" y="10"/>
                      <a:pt x="1" y="10"/>
                      <a:pt x="1" y="10"/>
                    </a:cubicBezTo>
                    <a:cubicBezTo>
                      <a:pt x="0" y="15"/>
                      <a:pt x="4" y="21"/>
                      <a:pt x="13" y="24"/>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8" name="Freeform 21"/>
              <p:cNvSpPr>
                <a:spLocks/>
              </p:cNvSpPr>
              <p:nvPr userDrawn="1"/>
            </p:nvSpPr>
            <p:spPr bwMode="auto">
              <a:xfrm>
                <a:off x="8867775" y="1861687"/>
                <a:ext cx="76200" cy="49212"/>
              </a:xfrm>
              <a:custGeom>
                <a:avLst/>
                <a:gdLst>
                  <a:gd name="T0" fmla="*/ 13 w 39"/>
                  <a:gd name="T1" fmla="*/ 24 h 26"/>
                  <a:gd name="T2" fmla="*/ 39 w 39"/>
                  <a:gd name="T3" fmla="*/ 19 h 26"/>
                  <a:gd name="T4" fmla="*/ 18 w 39"/>
                  <a:gd name="T5" fmla="*/ 2 h 26"/>
                  <a:gd name="T6" fmla="*/ 2 w 39"/>
                  <a:gd name="T7" fmla="*/ 7 h 26"/>
                  <a:gd name="T8" fmla="*/ 20 w 39"/>
                  <a:gd name="T9" fmla="*/ 14 h 26"/>
                  <a:gd name="T10" fmla="*/ 1 w 39"/>
                  <a:gd name="T11" fmla="*/ 10 h 26"/>
                  <a:gd name="T12" fmla="*/ 13 w 39"/>
                  <a:gd name="T13" fmla="*/ 24 h 26"/>
                </a:gdLst>
                <a:ahLst/>
                <a:cxnLst>
                  <a:cxn ang="0">
                    <a:pos x="T0" y="T1"/>
                  </a:cxn>
                  <a:cxn ang="0">
                    <a:pos x="T2" y="T3"/>
                  </a:cxn>
                  <a:cxn ang="0">
                    <a:pos x="T4" y="T5"/>
                  </a:cxn>
                  <a:cxn ang="0">
                    <a:pos x="T6" y="T7"/>
                  </a:cxn>
                  <a:cxn ang="0">
                    <a:pos x="T8" y="T9"/>
                  </a:cxn>
                  <a:cxn ang="0">
                    <a:pos x="T10" y="T11"/>
                  </a:cxn>
                  <a:cxn ang="0">
                    <a:pos x="T12" y="T13"/>
                  </a:cxn>
                </a:cxnLst>
                <a:rect l="0" t="0" r="r" b="b"/>
                <a:pathLst>
                  <a:path w="39" h="26">
                    <a:moveTo>
                      <a:pt x="13" y="24"/>
                    </a:moveTo>
                    <a:cubicBezTo>
                      <a:pt x="23" y="26"/>
                      <a:pt x="39" y="19"/>
                      <a:pt x="39" y="19"/>
                    </a:cubicBezTo>
                    <a:cubicBezTo>
                      <a:pt x="39" y="19"/>
                      <a:pt x="28" y="5"/>
                      <a:pt x="18" y="2"/>
                    </a:cubicBezTo>
                    <a:cubicBezTo>
                      <a:pt x="10" y="0"/>
                      <a:pt x="4" y="3"/>
                      <a:pt x="2" y="7"/>
                    </a:cubicBezTo>
                    <a:cubicBezTo>
                      <a:pt x="7" y="9"/>
                      <a:pt x="20" y="14"/>
                      <a:pt x="20" y="14"/>
                    </a:cubicBezTo>
                    <a:cubicBezTo>
                      <a:pt x="1" y="10"/>
                      <a:pt x="1" y="10"/>
                      <a:pt x="1" y="10"/>
                    </a:cubicBezTo>
                    <a:cubicBezTo>
                      <a:pt x="0" y="15"/>
                      <a:pt x="4" y="21"/>
                      <a:pt x="13" y="24"/>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9" name="Freeform 22"/>
              <p:cNvSpPr>
                <a:spLocks/>
              </p:cNvSpPr>
              <p:nvPr userDrawn="1"/>
            </p:nvSpPr>
            <p:spPr bwMode="auto">
              <a:xfrm>
                <a:off x="8851900" y="1791837"/>
                <a:ext cx="57150" cy="68262"/>
              </a:xfrm>
              <a:custGeom>
                <a:avLst/>
                <a:gdLst>
                  <a:gd name="T0" fmla="*/ 24 w 30"/>
                  <a:gd name="T1" fmla="*/ 26 h 35"/>
                  <a:gd name="T2" fmla="*/ 28 w 30"/>
                  <a:gd name="T3" fmla="*/ 0 h 35"/>
                  <a:gd name="T4" fmla="*/ 5 w 30"/>
                  <a:gd name="T5" fmla="*/ 13 h 35"/>
                  <a:gd name="T6" fmla="*/ 4 w 30"/>
                  <a:gd name="T7" fmla="*/ 31 h 35"/>
                  <a:gd name="T8" fmla="*/ 17 w 30"/>
                  <a:gd name="T9" fmla="*/ 16 h 35"/>
                  <a:gd name="T10" fmla="*/ 6 w 30"/>
                  <a:gd name="T11" fmla="*/ 33 h 35"/>
                  <a:gd name="T12" fmla="*/ 24 w 30"/>
                  <a:gd name="T13" fmla="*/ 26 h 35"/>
                </a:gdLst>
                <a:ahLst/>
                <a:cxnLst>
                  <a:cxn ang="0">
                    <a:pos x="T0" y="T1"/>
                  </a:cxn>
                  <a:cxn ang="0">
                    <a:pos x="T2" y="T3"/>
                  </a:cxn>
                  <a:cxn ang="0">
                    <a:pos x="T4" y="T5"/>
                  </a:cxn>
                  <a:cxn ang="0">
                    <a:pos x="T6" y="T7"/>
                  </a:cxn>
                  <a:cxn ang="0">
                    <a:pos x="T8" y="T9"/>
                  </a:cxn>
                  <a:cxn ang="0">
                    <a:pos x="T10" y="T11"/>
                  </a:cxn>
                  <a:cxn ang="0">
                    <a:pos x="T12" y="T13"/>
                  </a:cxn>
                </a:cxnLst>
                <a:rect l="0" t="0" r="r" b="b"/>
                <a:pathLst>
                  <a:path w="30" h="35">
                    <a:moveTo>
                      <a:pt x="24" y="26"/>
                    </a:moveTo>
                    <a:cubicBezTo>
                      <a:pt x="30" y="18"/>
                      <a:pt x="28" y="0"/>
                      <a:pt x="28" y="0"/>
                    </a:cubicBezTo>
                    <a:cubicBezTo>
                      <a:pt x="28" y="0"/>
                      <a:pt x="11" y="5"/>
                      <a:pt x="5" y="13"/>
                    </a:cubicBezTo>
                    <a:cubicBezTo>
                      <a:pt x="0" y="20"/>
                      <a:pt x="1" y="27"/>
                      <a:pt x="4" y="31"/>
                    </a:cubicBezTo>
                    <a:cubicBezTo>
                      <a:pt x="8" y="26"/>
                      <a:pt x="17" y="16"/>
                      <a:pt x="17" y="16"/>
                    </a:cubicBezTo>
                    <a:cubicBezTo>
                      <a:pt x="6" y="33"/>
                      <a:pt x="6" y="33"/>
                      <a:pt x="6" y="33"/>
                    </a:cubicBezTo>
                    <a:cubicBezTo>
                      <a:pt x="11" y="35"/>
                      <a:pt x="18" y="34"/>
                      <a:pt x="24" y="26"/>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0" name="Freeform 23"/>
              <p:cNvSpPr>
                <a:spLocks/>
              </p:cNvSpPr>
              <p:nvPr userDrawn="1"/>
            </p:nvSpPr>
            <p:spPr bwMode="auto">
              <a:xfrm>
                <a:off x="8734425" y="1860099"/>
                <a:ext cx="50800" cy="73025"/>
              </a:xfrm>
              <a:custGeom>
                <a:avLst/>
                <a:gdLst>
                  <a:gd name="T0" fmla="*/ 9 w 27"/>
                  <a:gd name="T1" fmla="*/ 37 h 38"/>
                  <a:gd name="T2" fmla="*/ 14 w 27"/>
                  <a:gd name="T3" fmla="*/ 18 h 38"/>
                  <a:gd name="T4" fmla="*/ 11 w 27"/>
                  <a:gd name="T5" fmla="*/ 37 h 38"/>
                  <a:gd name="T6" fmla="*/ 24 w 27"/>
                  <a:gd name="T7" fmla="*/ 25 h 38"/>
                  <a:gd name="T8" fmla="*/ 19 w 27"/>
                  <a:gd name="T9" fmla="*/ 0 h 38"/>
                  <a:gd name="T10" fmla="*/ 3 w 27"/>
                  <a:gd name="T11" fmla="*/ 20 h 38"/>
                  <a:gd name="T12" fmla="*/ 9 w 27"/>
                  <a:gd name="T13" fmla="*/ 37 h 38"/>
                </a:gdLst>
                <a:ahLst/>
                <a:cxnLst>
                  <a:cxn ang="0">
                    <a:pos x="T0" y="T1"/>
                  </a:cxn>
                  <a:cxn ang="0">
                    <a:pos x="T2" y="T3"/>
                  </a:cxn>
                  <a:cxn ang="0">
                    <a:pos x="T4" y="T5"/>
                  </a:cxn>
                  <a:cxn ang="0">
                    <a:pos x="T6" y="T7"/>
                  </a:cxn>
                  <a:cxn ang="0">
                    <a:pos x="T8" y="T9"/>
                  </a:cxn>
                  <a:cxn ang="0">
                    <a:pos x="T10" y="T11"/>
                  </a:cxn>
                  <a:cxn ang="0">
                    <a:pos x="T12" y="T13"/>
                  </a:cxn>
                </a:cxnLst>
                <a:rect l="0" t="0" r="r" b="b"/>
                <a:pathLst>
                  <a:path w="27" h="38">
                    <a:moveTo>
                      <a:pt x="9" y="37"/>
                    </a:moveTo>
                    <a:cubicBezTo>
                      <a:pt x="14" y="18"/>
                      <a:pt x="14" y="18"/>
                      <a:pt x="14" y="18"/>
                    </a:cubicBezTo>
                    <a:cubicBezTo>
                      <a:pt x="14" y="18"/>
                      <a:pt x="13" y="31"/>
                      <a:pt x="11" y="37"/>
                    </a:cubicBezTo>
                    <a:cubicBezTo>
                      <a:pt x="16" y="38"/>
                      <a:pt x="22" y="34"/>
                      <a:pt x="24" y="25"/>
                    </a:cubicBezTo>
                    <a:cubicBezTo>
                      <a:pt x="27" y="16"/>
                      <a:pt x="19" y="0"/>
                      <a:pt x="19" y="0"/>
                    </a:cubicBezTo>
                    <a:cubicBezTo>
                      <a:pt x="19" y="0"/>
                      <a:pt x="5" y="10"/>
                      <a:pt x="3" y="20"/>
                    </a:cubicBezTo>
                    <a:cubicBezTo>
                      <a:pt x="0" y="29"/>
                      <a:pt x="4" y="35"/>
                      <a:pt x="9" y="37"/>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Freeform 24"/>
              <p:cNvSpPr>
                <a:spLocks/>
              </p:cNvSpPr>
              <p:nvPr userDrawn="1"/>
            </p:nvSpPr>
            <p:spPr bwMode="auto">
              <a:xfrm>
                <a:off x="8775700" y="1942649"/>
                <a:ext cx="76200" cy="44450"/>
              </a:xfrm>
              <a:custGeom>
                <a:avLst/>
                <a:gdLst>
                  <a:gd name="T0" fmla="*/ 14 w 39"/>
                  <a:gd name="T1" fmla="*/ 23 h 23"/>
                  <a:gd name="T2" fmla="*/ 39 w 39"/>
                  <a:gd name="T3" fmla="*/ 13 h 23"/>
                  <a:gd name="T4" fmla="*/ 16 w 39"/>
                  <a:gd name="T5" fmla="*/ 0 h 23"/>
                  <a:gd name="T6" fmla="*/ 0 w 39"/>
                  <a:gd name="T7" fmla="*/ 9 h 23"/>
                  <a:gd name="T8" fmla="*/ 19 w 39"/>
                  <a:gd name="T9" fmla="*/ 12 h 23"/>
                  <a:gd name="T10" fmla="*/ 0 w 39"/>
                  <a:gd name="T11" fmla="*/ 11 h 23"/>
                  <a:gd name="T12" fmla="*/ 14 w 3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39" h="23">
                    <a:moveTo>
                      <a:pt x="14" y="23"/>
                    </a:moveTo>
                    <a:cubicBezTo>
                      <a:pt x="24" y="23"/>
                      <a:pt x="39" y="13"/>
                      <a:pt x="39" y="13"/>
                    </a:cubicBezTo>
                    <a:cubicBezTo>
                      <a:pt x="39" y="13"/>
                      <a:pt x="26" y="1"/>
                      <a:pt x="16" y="0"/>
                    </a:cubicBezTo>
                    <a:cubicBezTo>
                      <a:pt x="7" y="0"/>
                      <a:pt x="1" y="4"/>
                      <a:pt x="0" y="9"/>
                    </a:cubicBezTo>
                    <a:cubicBezTo>
                      <a:pt x="6" y="10"/>
                      <a:pt x="19" y="12"/>
                      <a:pt x="19" y="12"/>
                    </a:cubicBezTo>
                    <a:cubicBezTo>
                      <a:pt x="0" y="11"/>
                      <a:pt x="0" y="11"/>
                      <a:pt x="0" y="11"/>
                    </a:cubicBezTo>
                    <a:cubicBezTo>
                      <a:pt x="0" y="17"/>
                      <a:pt x="5" y="22"/>
                      <a:pt x="14" y="23"/>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2" name="Freeform 25"/>
              <p:cNvSpPr>
                <a:spLocks/>
              </p:cNvSpPr>
              <p:nvPr userDrawn="1"/>
            </p:nvSpPr>
            <p:spPr bwMode="auto">
              <a:xfrm>
                <a:off x="8689975" y="1923599"/>
                <a:ext cx="44450" cy="74612"/>
              </a:xfrm>
              <a:custGeom>
                <a:avLst/>
                <a:gdLst>
                  <a:gd name="T0" fmla="*/ 12 w 23"/>
                  <a:gd name="T1" fmla="*/ 39 h 39"/>
                  <a:gd name="T2" fmla="*/ 12 w 23"/>
                  <a:gd name="T3" fmla="*/ 19 h 39"/>
                  <a:gd name="T4" fmla="*/ 14 w 23"/>
                  <a:gd name="T5" fmla="*/ 38 h 39"/>
                  <a:gd name="T6" fmla="*/ 23 w 23"/>
                  <a:gd name="T7" fmla="*/ 23 h 39"/>
                  <a:gd name="T8" fmla="*/ 11 w 23"/>
                  <a:gd name="T9" fmla="*/ 0 h 39"/>
                  <a:gd name="T10" fmla="*/ 1 w 23"/>
                  <a:gd name="T11" fmla="*/ 24 h 39"/>
                  <a:gd name="T12" fmla="*/ 12 w 23"/>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3" h="39">
                    <a:moveTo>
                      <a:pt x="12" y="39"/>
                    </a:moveTo>
                    <a:cubicBezTo>
                      <a:pt x="12" y="19"/>
                      <a:pt x="12" y="19"/>
                      <a:pt x="12" y="19"/>
                    </a:cubicBezTo>
                    <a:cubicBezTo>
                      <a:pt x="12" y="19"/>
                      <a:pt x="14" y="32"/>
                      <a:pt x="14" y="38"/>
                    </a:cubicBezTo>
                    <a:cubicBezTo>
                      <a:pt x="19" y="37"/>
                      <a:pt x="23" y="32"/>
                      <a:pt x="23" y="23"/>
                    </a:cubicBezTo>
                    <a:cubicBezTo>
                      <a:pt x="23" y="13"/>
                      <a:pt x="11" y="0"/>
                      <a:pt x="11" y="0"/>
                    </a:cubicBezTo>
                    <a:cubicBezTo>
                      <a:pt x="11" y="0"/>
                      <a:pt x="0" y="14"/>
                      <a:pt x="1" y="24"/>
                    </a:cubicBezTo>
                    <a:cubicBezTo>
                      <a:pt x="1" y="33"/>
                      <a:pt x="6" y="39"/>
                      <a:pt x="12" y="39"/>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3" name="Freeform 26"/>
              <p:cNvSpPr>
                <a:spLocks/>
              </p:cNvSpPr>
              <p:nvPr userDrawn="1"/>
            </p:nvSpPr>
            <p:spPr bwMode="auto">
              <a:xfrm>
                <a:off x="8745538" y="1988687"/>
                <a:ext cx="73025" cy="49212"/>
              </a:xfrm>
              <a:custGeom>
                <a:avLst/>
                <a:gdLst>
                  <a:gd name="T0" fmla="*/ 18 w 38"/>
                  <a:gd name="T1" fmla="*/ 24 h 26"/>
                  <a:gd name="T2" fmla="*/ 38 w 38"/>
                  <a:gd name="T3" fmla="*/ 7 h 26"/>
                  <a:gd name="T4" fmla="*/ 12 w 38"/>
                  <a:gd name="T5" fmla="*/ 2 h 26"/>
                  <a:gd name="T6" fmla="*/ 0 w 38"/>
                  <a:gd name="T7" fmla="*/ 15 h 26"/>
                  <a:gd name="T8" fmla="*/ 19 w 38"/>
                  <a:gd name="T9" fmla="*/ 12 h 26"/>
                  <a:gd name="T10" fmla="*/ 0 w 38"/>
                  <a:gd name="T11" fmla="*/ 17 h 26"/>
                  <a:gd name="T12" fmla="*/ 18 w 38"/>
                  <a:gd name="T13" fmla="*/ 24 h 26"/>
                </a:gdLst>
                <a:ahLst/>
                <a:cxnLst>
                  <a:cxn ang="0">
                    <a:pos x="T0" y="T1"/>
                  </a:cxn>
                  <a:cxn ang="0">
                    <a:pos x="T2" y="T3"/>
                  </a:cxn>
                  <a:cxn ang="0">
                    <a:pos x="T4" y="T5"/>
                  </a:cxn>
                  <a:cxn ang="0">
                    <a:pos x="T6" y="T7"/>
                  </a:cxn>
                  <a:cxn ang="0">
                    <a:pos x="T8" y="T9"/>
                  </a:cxn>
                  <a:cxn ang="0">
                    <a:pos x="T10" y="T11"/>
                  </a:cxn>
                  <a:cxn ang="0">
                    <a:pos x="T12" y="T13"/>
                  </a:cxn>
                </a:cxnLst>
                <a:rect l="0" t="0" r="r" b="b"/>
                <a:pathLst>
                  <a:path w="38" h="26">
                    <a:moveTo>
                      <a:pt x="18" y="24"/>
                    </a:moveTo>
                    <a:cubicBezTo>
                      <a:pt x="27" y="21"/>
                      <a:pt x="38" y="7"/>
                      <a:pt x="38" y="7"/>
                    </a:cubicBezTo>
                    <a:cubicBezTo>
                      <a:pt x="38" y="7"/>
                      <a:pt x="22" y="0"/>
                      <a:pt x="12" y="2"/>
                    </a:cubicBezTo>
                    <a:cubicBezTo>
                      <a:pt x="4" y="4"/>
                      <a:pt x="0" y="10"/>
                      <a:pt x="0" y="15"/>
                    </a:cubicBezTo>
                    <a:cubicBezTo>
                      <a:pt x="6" y="14"/>
                      <a:pt x="19" y="12"/>
                      <a:pt x="19" y="12"/>
                    </a:cubicBezTo>
                    <a:cubicBezTo>
                      <a:pt x="0" y="17"/>
                      <a:pt x="0" y="17"/>
                      <a:pt x="0" y="17"/>
                    </a:cubicBezTo>
                    <a:cubicBezTo>
                      <a:pt x="2" y="23"/>
                      <a:pt x="8" y="26"/>
                      <a:pt x="18" y="24"/>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4" name="Freeform 27"/>
              <p:cNvSpPr>
                <a:spLocks/>
              </p:cNvSpPr>
              <p:nvPr userDrawn="1"/>
            </p:nvSpPr>
            <p:spPr bwMode="auto">
              <a:xfrm>
                <a:off x="8662988" y="1998212"/>
                <a:ext cx="50800" cy="73025"/>
              </a:xfrm>
              <a:custGeom>
                <a:avLst/>
                <a:gdLst>
                  <a:gd name="T0" fmla="*/ 12 w 27"/>
                  <a:gd name="T1" fmla="*/ 18 h 38"/>
                  <a:gd name="T2" fmla="*/ 20 w 27"/>
                  <a:gd name="T3" fmla="*/ 36 h 38"/>
                  <a:gd name="T4" fmla="*/ 24 w 27"/>
                  <a:gd name="T5" fmla="*/ 19 h 38"/>
                  <a:gd name="T6" fmla="*/ 6 w 27"/>
                  <a:gd name="T7" fmla="*/ 0 h 38"/>
                  <a:gd name="T8" fmla="*/ 3 w 27"/>
                  <a:gd name="T9" fmla="*/ 26 h 38"/>
                  <a:gd name="T10" fmla="*/ 17 w 27"/>
                  <a:gd name="T11" fmla="*/ 37 h 38"/>
                  <a:gd name="T12" fmla="*/ 12 w 27"/>
                  <a:gd name="T13" fmla="*/ 18 h 38"/>
                </a:gdLst>
                <a:ahLst/>
                <a:cxnLst>
                  <a:cxn ang="0">
                    <a:pos x="T0" y="T1"/>
                  </a:cxn>
                  <a:cxn ang="0">
                    <a:pos x="T2" y="T3"/>
                  </a:cxn>
                  <a:cxn ang="0">
                    <a:pos x="T4" y="T5"/>
                  </a:cxn>
                  <a:cxn ang="0">
                    <a:pos x="T6" y="T7"/>
                  </a:cxn>
                  <a:cxn ang="0">
                    <a:pos x="T8" y="T9"/>
                  </a:cxn>
                  <a:cxn ang="0">
                    <a:pos x="T10" y="T11"/>
                  </a:cxn>
                  <a:cxn ang="0">
                    <a:pos x="T12" y="T13"/>
                  </a:cxn>
                </a:cxnLst>
                <a:rect l="0" t="0" r="r" b="b"/>
                <a:pathLst>
                  <a:path w="27" h="38">
                    <a:moveTo>
                      <a:pt x="12" y="18"/>
                    </a:moveTo>
                    <a:cubicBezTo>
                      <a:pt x="12" y="18"/>
                      <a:pt x="17" y="30"/>
                      <a:pt x="20" y="36"/>
                    </a:cubicBezTo>
                    <a:cubicBezTo>
                      <a:pt x="24" y="34"/>
                      <a:pt x="27" y="27"/>
                      <a:pt x="24" y="19"/>
                    </a:cubicBezTo>
                    <a:cubicBezTo>
                      <a:pt x="21" y="9"/>
                      <a:pt x="6" y="0"/>
                      <a:pt x="6" y="0"/>
                    </a:cubicBezTo>
                    <a:cubicBezTo>
                      <a:pt x="6" y="0"/>
                      <a:pt x="0" y="16"/>
                      <a:pt x="3" y="26"/>
                    </a:cubicBezTo>
                    <a:cubicBezTo>
                      <a:pt x="6" y="35"/>
                      <a:pt x="12" y="38"/>
                      <a:pt x="17" y="37"/>
                    </a:cubicBezTo>
                    <a:lnTo>
                      <a:pt x="12" y="18"/>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5" name="Freeform 28"/>
              <p:cNvSpPr>
                <a:spLocks/>
              </p:cNvSpPr>
              <p:nvPr userDrawn="1"/>
            </p:nvSpPr>
            <p:spPr bwMode="auto">
              <a:xfrm>
                <a:off x="8729663" y="2042662"/>
                <a:ext cx="69850" cy="55562"/>
              </a:xfrm>
              <a:custGeom>
                <a:avLst/>
                <a:gdLst>
                  <a:gd name="T0" fmla="*/ 1 w 36"/>
                  <a:gd name="T1" fmla="*/ 20 h 29"/>
                  <a:gd name="T2" fmla="*/ 19 w 36"/>
                  <a:gd name="T3" fmla="*/ 12 h 29"/>
                  <a:gd name="T4" fmla="*/ 2 w 36"/>
                  <a:gd name="T5" fmla="*/ 22 h 29"/>
                  <a:gd name="T6" fmla="*/ 21 w 36"/>
                  <a:gd name="T7" fmla="*/ 24 h 29"/>
                  <a:gd name="T8" fmla="*/ 36 w 36"/>
                  <a:gd name="T9" fmla="*/ 3 h 29"/>
                  <a:gd name="T10" fmla="*/ 10 w 36"/>
                  <a:gd name="T11" fmla="*/ 4 h 29"/>
                  <a:gd name="T12" fmla="*/ 1 w 36"/>
                  <a:gd name="T13" fmla="*/ 20 h 29"/>
                </a:gdLst>
                <a:ahLst/>
                <a:cxnLst>
                  <a:cxn ang="0">
                    <a:pos x="T0" y="T1"/>
                  </a:cxn>
                  <a:cxn ang="0">
                    <a:pos x="T2" y="T3"/>
                  </a:cxn>
                  <a:cxn ang="0">
                    <a:pos x="T4" y="T5"/>
                  </a:cxn>
                  <a:cxn ang="0">
                    <a:pos x="T6" y="T7"/>
                  </a:cxn>
                  <a:cxn ang="0">
                    <a:pos x="T8" y="T9"/>
                  </a:cxn>
                  <a:cxn ang="0">
                    <a:pos x="T10" y="T11"/>
                  </a:cxn>
                  <a:cxn ang="0">
                    <a:pos x="T12" y="T13"/>
                  </a:cxn>
                </a:cxnLst>
                <a:rect l="0" t="0" r="r" b="b"/>
                <a:pathLst>
                  <a:path w="36" h="29">
                    <a:moveTo>
                      <a:pt x="1" y="20"/>
                    </a:moveTo>
                    <a:cubicBezTo>
                      <a:pt x="7" y="17"/>
                      <a:pt x="19" y="12"/>
                      <a:pt x="19" y="12"/>
                    </a:cubicBezTo>
                    <a:cubicBezTo>
                      <a:pt x="2" y="22"/>
                      <a:pt x="2" y="22"/>
                      <a:pt x="2" y="22"/>
                    </a:cubicBezTo>
                    <a:cubicBezTo>
                      <a:pt x="5" y="27"/>
                      <a:pt x="12" y="29"/>
                      <a:pt x="21" y="24"/>
                    </a:cubicBezTo>
                    <a:cubicBezTo>
                      <a:pt x="29" y="19"/>
                      <a:pt x="36" y="3"/>
                      <a:pt x="36" y="3"/>
                    </a:cubicBezTo>
                    <a:cubicBezTo>
                      <a:pt x="36" y="3"/>
                      <a:pt x="19" y="0"/>
                      <a:pt x="10" y="4"/>
                    </a:cubicBezTo>
                    <a:cubicBezTo>
                      <a:pt x="2" y="9"/>
                      <a:pt x="0" y="15"/>
                      <a:pt x="1" y="20"/>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6" name="Freeform 29"/>
              <p:cNvSpPr>
                <a:spLocks/>
              </p:cNvSpPr>
              <p:nvPr userDrawn="1"/>
            </p:nvSpPr>
            <p:spPr bwMode="auto">
              <a:xfrm>
                <a:off x="8658225" y="2082349"/>
                <a:ext cx="55563" cy="69850"/>
              </a:xfrm>
              <a:custGeom>
                <a:avLst/>
                <a:gdLst>
                  <a:gd name="T0" fmla="*/ 24 w 29"/>
                  <a:gd name="T1" fmla="*/ 32 h 36"/>
                  <a:gd name="T2" fmla="*/ 24 w 29"/>
                  <a:gd name="T3" fmla="*/ 15 h 36"/>
                  <a:gd name="T4" fmla="*/ 3 w 29"/>
                  <a:gd name="T5" fmla="*/ 0 h 36"/>
                  <a:gd name="T6" fmla="*/ 5 w 29"/>
                  <a:gd name="T7" fmla="*/ 26 h 36"/>
                  <a:gd name="T8" fmla="*/ 22 w 29"/>
                  <a:gd name="T9" fmla="*/ 34 h 36"/>
                  <a:gd name="T10" fmla="*/ 12 w 29"/>
                  <a:gd name="T11" fmla="*/ 17 h 36"/>
                  <a:gd name="T12" fmla="*/ 24 w 29"/>
                  <a:gd name="T13" fmla="*/ 32 h 36"/>
                </a:gdLst>
                <a:ahLst/>
                <a:cxnLst>
                  <a:cxn ang="0">
                    <a:pos x="T0" y="T1"/>
                  </a:cxn>
                  <a:cxn ang="0">
                    <a:pos x="T2" y="T3"/>
                  </a:cxn>
                  <a:cxn ang="0">
                    <a:pos x="T4" y="T5"/>
                  </a:cxn>
                  <a:cxn ang="0">
                    <a:pos x="T6" y="T7"/>
                  </a:cxn>
                  <a:cxn ang="0">
                    <a:pos x="T8" y="T9"/>
                  </a:cxn>
                  <a:cxn ang="0">
                    <a:pos x="T10" y="T11"/>
                  </a:cxn>
                  <a:cxn ang="0">
                    <a:pos x="T12" y="T13"/>
                  </a:cxn>
                </a:cxnLst>
                <a:rect l="0" t="0" r="r" b="b"/>
                <a:pathLst>
                  <a:path w="29" h="36">
                    <a:moveTo>
                      <a:pt x="24" y="32"/>
                    </a:moveTo>
                    <a:cubicBezTo>
                      <a:pt x="27" y="29"/>
                      <a:pt x="29" y="22"/>
                      <a:pt x="24" y="15"/>
                    </a:cubicBezTo>
                    <a:cubicBezTo>
                      <a:pt x="19" y="6"/>
                      <a:pt x="3" y="0"/>
                      <a:pt x="3" y="0"/>
                    </a:cubicBezTo>
                    <a:cubicBezTo>
                      <a:pt x="3" y="0"/>
                      <a:pt x="0" y="17"/>
                      <a:pt x="5" y="26"/>
                    </a:cubicBezTo>
                    <a:cubicBezTo>
                      <a:pt x="10" y="34"/>
                      <a:pt x="17" y="36"/>
                      <a:pt x="22" y="34"/>
                    </a:cubicBezTo>
                    <a:cubicBezTo>
                      <a:pt x="12" y="17"/>
                      <a:pt x="12" y="17"/>
                      <a:pt x="12" y="17"/>
                    </a:cubicBezTo>
                    <a:cubicBezTo>
                      <a:pt x="12" y="17"/>
                      <a:pt x="20" y="27"/>
                      <a:pt x="24" y="32"/>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7" name="Freeform 30"/>
              <p:cNvSpPr>
                <a:spLocks/>
              </p:cNvSpPr>
              <p:nvPr userDrawn="1"/>
            </p:nvSpPr>
            <p:spPr bwMode="auto">
              <a:xfrm>
                <a:off x="8734425" y="2104574"/>
                <a:ext cx="63500" cy="57150"/>
              </a:xfrm>
              <a:custGeom>
                <a:avLst/>
                <a:gdLst>
                  <a:gd name="T0" fmla="*/ 22 w 33"/>
                  <a:gd name="T1" fmla="*/ 24 h 30"/>
                  <a:gd name="T2" fmla="*/ 33 w 33"/>
                  <a:gd name="T3" fmla="*/ 0 h 30"/>
                  <a:gd name="T4" fmla="*/ 7 w 33"/>
                  <a:gd name="T5" fmla="*/ 7 h 30"/>
                  <a:gd name="T6" fmla="*/ 2 w 33"/>
                  <a:gd name="T7" fmla="*/ 24 h 30"/>
                  <a:gd name="T8" fmla="*/ 18 w 33"/>
                  <a:gd name="T9" fmla="*/ 13 h 30"/>
                  <a:gd name="T10" fmla="*/ 4 w 33"/>
                  <a:gd name="T11" fmla="*/ 26 h 30"/>
                  <a:gd name="T12" fmla="*/ 22 w 33"/>
                  <a:gd name="T13" fmla="*/ 24 h 30"/>
                </a:gdLst>
                <a:ahLst/>
                <a:cxnLst>
                  <a:cxn ang="0">
                    <a:pos x="T0" y="T1"/>
                  </a:cxn>
                  <a:cxn ang="0">
                    <a:pos x="T2" y="T3"/>
                  </a:cxn>
                  <a:cxn ang="0">
                    <a:pos x="T4" y="T5"/>
                  </a:cxn>
                  <a:cxn ang="0">
                    <a:pos x="T6" y="T7"/>
                  </a:cxn>
                  <a:cxn ang="0">
                    <a:pos x="T8" y="T9"/>
                  </a:cxn>
                  <a:cxn ang="0">
                    <a:pos x="T10" y="T11"/>
                  </a:cxn>
                  <a:cxn ang="0">
                    <a:pos x="T12" y="T13"/>
                  </a:cxn>
                </a:cxnLst>
                <a:rect l="0" t="0" r="r" b="b"/>
                <a:pathLst>
                  <a:path w="33" h="30">
                    <a:moveTo>
                      <a:pt x="22" y="24"/>
                    </a:moveTo>
                    <a:cubicBezTo>
                      <a:pt x="30" y="17"/>
                      <a:pt x="33" y="0"/>
                      <a:pt x="33" y="0"/>
                    </a:cubicBezTo>
                    <a:cubicBezTo>
                      <a:pt x="33" y="0"/>
                      <a:pt x="15" y="1"/>
                      <a:pt x="7" y="7"/>
                    </a:cubicBezTo>
                    <a:cubicBezTo>
                      <a:pt x="1" y="13"/>
                      <a:pt x="0" y="20"/>
                      <a:pt x="2" y="24"/>
                    </a:cubicBezTo>
                    <a:cubicBezTo>
                      <a:pt x="7" y="20"/>
                      <a:pt x="18" y="13"/>
                      <a:pt x="18" y="13"/>
                    </a:cubicBezTo>
                    <a:cubicBezTo>
                      <a:pt x="4" y="26"/>
                      <a:pt x="4" y="26"/>
                      <a:pt x="4" y="26"/>
                    </a:cubicBezTo>
                    <a:cubicBezTo>
                      <a:pt x="8" y="30"/>
                      <a:pt x="15" y="30"/>
                      <a:pt x="22" y="24"/>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8" name="Freeform 31"/>
              <p:cNvSpPr>
                <a:spLocks noEditPoints="1"/>
              </p:cNvSpPr>
              <p:nvPr userDrawn="1"/>
            </p:nvSpPr>
            <p:spPr bwMode="auto">
              <a:xfrm>
                <a:off x="8645525" y="1871212"/>
                <a:ext cx="447675" cy="466725"/>
              </a:xfrm>
              <a:custGeom>
                <a:avLst/>
                <a:gdLst>
                  <a:gd name="T0" fmla="*/ 69 w 233"/>
                  <a:gd name="T1" fmla="*/ 197 h 243"/>
                  <a:gd name="T2" fmla="*/ 91 w 233"/>
                  <a:gd name="T3" fmla="*/ 221 h 243"/>
                  <a:gd name="T4" fmla="*/ 122 w 233"/>
                  <a:gd name="T5" fmla="*/ 237 h 243"/>
                  <a:gd name="T6" fmla="*/ 184 w 233"/>
                  <a:gd name="T7" fmla="*/ 241 h 243"/>
                  <a:gd name="T8" fmla="*/ 206 w 233"/>
                  <a:gd name="T9" fmla="*/ 235 h 243"/>
                  <a:gd name="T10" fmla="*/ 231 w 233"/>
                  <a:gd name="T11" fmla="*/ 222 h 243"/>
                  <a:gd name="T12" fmla="*/ 225 w 233"/>
                  <a:gd name="T13" fmla="*/ 225 h 243"/>
                  <a:gd name="T14" fmla="*/ 198 w 233"/>
                  <a:gd name="T15" fmla="*/ 235 h 243"/>
                  <a:gd name="T16" fmla="*/ 141 w 233"/>
                  <a:gd name="T17" fmla="*/ 236 h 243"/>
                  <a:gd name="T18" fmla="*/ 89 w 233"/>
                  <a:gd name="T19" fmla="*/ 211 h 243"/>
                  <a:gd name="T20" fmla="*/ 71 w 233"/>
                  <a:gd name="T21" fmla="*/ 195 h 243"/>
                  <a:gd name="T22" fmla="*/ 63 w 233"/>
                  <a:gd name="T23" fmla="*/ 183 h 243"/>
                  <a:gd name="T24" fmla="*/ 54 w 233"/>
                  <a:gd name="T25" fmla="*/ 174 h 243"/>
                  <a:gd name="T26" fmla="*/ 48 w 233"/>
                  <a:gd name="T27" fmla="*/ 157 h 243"/>
                  <a:gd name="T28" fmla="*/ 44 w 233"/>
                  <a:gd name="T29" fmla="*/ 140 h 243"/>
                  <a:gd name="T30" fmla="*/ 42 w 233"/>
                  <a:gd name="T31" fmla="*/ 104 h 243"/>
                  <a:gd name="T32" fmla="*/ 64 w 233"/>
                  <a:gd name="T33" fmla="*/ 40 h 243"/>
                  <a:gd name="T34" fmla="*/ 94 w 233"/>
                  <a:gd name="T35" fmla="*/ 10 h 243"/>
                  <a:gd name="T36" fmla="*/ 109 w 233"/>
                  <a:gd name="T37" fmla="*/ 1 h 243"/>
                  <a:gd name="T38" fmla="*/ 98 w 233"/>
                  <a:gd name="T39" fmla="*/ 6 h 243"/>
                  <a:gd name="T40" fmla="*/ 72 w 233"/>
                  <a:gd name="T41" fmla="*/ 25 h 243"/>
                  <a:gd name="T42" fmla="*/ 51 w 233"/>
                  <a:gd name="T43" fmla="*/ 52 h 243"/>
                  <a:gd name="T44" fmla="*/ 35 w 233"/>
                  <a:gd name="T45" fmla="*/ 112 h 243"/>
                  <a:gd name="T46" fmla="*/ 38 w 233"/>
                  <a:gd name="T47" fmla="*/ 135 h 243"/>
                  <a:gd name="T48" fmla="*/ 44 w 233"/>
                  <a:gd name="T49" fmla="*/ 153 h 243"/>
                  <a:gd name="T50" fmla="*/ 25 w 233"/>
                  <a:gd name="T51" fmla="*/ 155 h 243"/>
                  <a:gd name="T52" fmla="*/ 24 w 233"/>
                  <a:gd name="T53" fmla="*/ 166 h 243"/>
                  <a:gd name="T54" fmla="*/ 45 w 233"/>
                  <a:gd name="T55" fmla="*/ 177 h 243"/>
                  <a:gd name="T56" fmla="*/ 34 w 233"/>
                  <a:gd name="T57" fmla="*/ 179 h 243"/>
                  <a:gd name="T58" fmla="*/ 23 w 233"/>
                  <a:gd name="T59" fmla="*/ 184 h 243"/>
                  <a:gd name="T60" fmla="*/ 10 w 233"/>
                  <a:gd name="T61" fmla="*/ 191 h 243"/>
                  <a:gd name="T62" fmla="*/ 4 w 233"/>
                  <a:gd name="T63" fmla="*/ 191 h 243"/>
                  <a:gd name="T64" fmla="*/ 1 w 233"/>
                  <a:gd name="T65" fmla="*/ 188 h 243"/>
                  <a:gd name="T66" fmla="*/ 1 w 233"/>
                  <a:gd name="T67" fmla="*/ 191 h 243"/>
                  <a:gd name="T68" fmla="*/ 6 w 233"/>
                  <a:gd name="T69" fmla="*/ 197 h 243"/>
                  <a:gd name="T70" fmla="*/ 22 w 233"/>
                  <a:gd name="T71" fmla="*/ 192 h 243"/>
                  <a:gd name="T72" fmla="*/ 31 w 233"/>
                  <a:gd name="T73" fmla="*/ 185 h 243"/>
                  <a:gd name="T74" fmla="*/ 43 w 233"/>
                  <a:gd name="T75" fmla="*/ 180 h 243"/>
                  <a:gd name="T76" fmla="*/ 49 w 233"/>
                  <a:gd name="T77" fmla="*/ 178 h 243"/>
                  <a:gd name="T78" fmla="*/ 37 w 233"/>
                  <a:gd name="T79" fmla="*/ 188 h 243"/>
                  <a:gd name="T80" fmla="*/ 28 w 233"/>
                  <a:gd name="T81" fmla="*/ 192 h 243"/>
                  <a:gd name="T82" fmla="*/ 18 w 233"/>
                  <a:gd name="T83" fmla="*/ 197 h 243"/>
                  <a:gd name="T84" fmla="*/ 11 w 233"/>
                  <a:gd name="T85" fmla="*/ 211 h 243"/>
                  <a:gd name="T86" fmla="*/ 15 w 233"/>
                  <a:gd name="T87" fmla="*/ 214 h 243"/>
                  <a:gd name="T88" fmla="*/ 16 w 233"/>
                  <a:gd name="T89" fmla="*/ 211 h 243"/>
                  <a:gd name="T90" fmla="*/ 15 w 233"/>
                  <a:gd name="T91" fmla="*/ 209 h 243"/>
                  <a:gd name="T92" fmla="*/ 26 w 233"/>
                  <a:gd name="T93" fmla="*/ 200 h 243"/>
                  <a:gd name="T94" fmla="*/ 37 w 233"/>
                  <a:gd name="T95" fmla="*/ 193 h 243"/>
                  <a:gd name="T96" fmla="*/ 43 w 233"/>
                  <a:gd name="T97" fmla="*/ 188 h 243"/>
                  <a:gd name="T98" fmla="*/ 46 w 233"/>
                  <a:gd name="T99" fmla="*/ 189 h 243"/>
                  <a:gd name="T100" fmla="*/ 50 w 233"/>
                  <a:gd name="T101" fmla="*/ 210 h 243"/>
                  <a:gd name="T102" fmla="*/ 59 w 233"/>
                  <a:gd name="T103" fmla="*/ 211 h 243"/>
                  <a:gd name="T104" fmla="*/ 35 w 233"/>
                  <a:gd name="T105" fmla="*/ 171 h 243"/>
                  <a:gd name="T106" fmla="*/ 28 w 233"/>
                  <a:gd name="T107" fmla="*/ 158 h 243"/>
                  <a:gd name="T108" fmla="*/ 40 w 233"/>
                  <a:gd name="T109" fmla="*/ 159 h 243"/>
                  <a:gd name="T110" fmla="*/ 51 w 233"/>
                  <a:gd name="T111" fmla="*/ 177 h 243"/>
                  <a:gd name="T112" fmla="*/ 50 w 233"/>
                  <a:gd name="T113" fmla="*/ 177 h 243"/>
                  <a:gd name="T114" fmla="*/ 56 w 233"/>
                  <a:gd name="T115" fmla="*/ 207 h 243"/>
                  <a:gd name="T116" fmla="*/ 49 w 233"/>
                  <a:gd name="T117" fmla="*/ 201 h 243"/>
                  <a:gd name="T118" fmla="*/ 51 w 233"/>
                  <a:gd name="T119" fmla="*/ 178 h 243"/>
                  <a:gd name="T120" fmla="*/ 52 w 233"/>
                  <a:gd name="T121" fmla="*/ 178 h 243"/>
                  <a:gd name="T122" fmla="*/ 60 w 233"/>
                  <a:gd name="T123" fmla="*/ 191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 h="243">
                    <a:moveTo>
                      <a:pt x="66" y="205"/>
                    </a:moveTo>
                    <a:cubicBezTo>
                      <a:pt x="67" y="202"/>
                      <a:pt x="68" y="199"/>
                      <a:pt x="68" y="196"/>
                    </a:cubicBezTo>
                    <a:cubicBezTo>
                      <a:pt x="68" y="196"/>
                      <a:pt x="68" y="196"/>
                      <a:pt x="68" y="195"/>
                    </a:cubicBezTo>
                    <a:cubicBezTo>
                      <a:pt x="68" y="196"/>
                      <a:pt x="69" y="196"/>
                      <a:pt x="69" y="197"/>
                    </a:cubicBezTo>
                    <a:cubicBezTo>
                      <a:pt x="70" y="198"/>
                      <a:pt x="71" y="200"/>
                      <a:pt x="72" y="201"/>
                    </a:cubicBezTo>
                    <a:cubicBezTo>
                      <a:pt x="74" y="204"/>
                      <a:pt x="77" y="207"/>
                      <a:pt x="80" y="211"/>
                    </a:cubicBezTo>
                    <a:cubicBezTo>
                      <a:pt x="82" y="212"/>
                      <a:pt x="84" y="214"/>
                      <a:pt x="85" y="216"/>
                    </a:cubicBezTo>
                    <a:cubicBezTo>
                      <a:pt x="87" y="217"/>
                      <a:pt x="89" y="219"/>
                      <a:pt x="91" y="221"/>
                    </a:cubicBezTo>
                    <a:cubicBezTo>
                      <a:pt x="93" y="221"/>
                      <a:pt x="94" y="222"/>
                      <a:pt x="95" y="223"/>
                    </a:cubicBezTo>
                    <a:cubicBezTo>
                      <a:pt x="96" y="224"/>
                      <a:pt x="97" y="225"/>
                      <a:pt x="98" y="225"/>
                    </a:cubicBezTo>
                    <a:cubicBezTo>
                      <a:pt x="100" y="227"/>
                      <a:pt x="103" y="228"/>
                      <a:pt x="105" y="230"/>
                    </a:cubicBezTo>
                    <a:cubicBezTo>
                      <a:pt x="111" y="232"/>
                      <a:pt x="116" y="235"/>
                      <a:pt x="122" y="237"/>
                    </a:cubicBezTo>
                    <a:cubicBezTo>
                      <a:pt x="128" y="238"/>
                      <a:pt x="134" y="240"/>
                      <a:pt x="140" y="241"/>
                    </a:cubicBezTo>
                    <a:cubicBezTo>
                      <a:pt x="146" y="242"/>
                      <a:pt x="152" y="243"/>
                      <a:pt x="158" y="243"/>
                    </a:cubicBezTo>
                    <a:cubicBezTo>
                      <a:pt x="164" y="243"/>
                      <a:pt x="170" y="243"/>
                      <a:pt x="176" y="243"/>
                    </a:cubicBezTo>
                    <a:cubicBezTo>
                      <a:pt x="178" y="242"/>
                      <a:pt x="181" y="242"/>
                      <a:pt x="184" y="241"/>
                    </a:cubicBezTo>
                    <a:cubicBezTo>
                      <a:pt x="185" y="241"/>
                      <a:pt x="187" y="241"/>
                      <a:pt x="188" y="241"/>
                    </a:cubicBezTo>
                    <a:cubicBezTo>
                      <a:pt x="189" y="240"/>
                      <a:pt x="191" y="240"/>
                      <a:pt x="192" y="240"/>
                    </a:cubicBezTo>
                    <a:cubicBezTo>
                      <a:pt x="194" y="239"/>
                      <a:pt x="197" y="238"/>
                      <a:pt x="199" y="238"/>
                    </a:cubicBezTo>
                    <a:cubicBezTo>
                      <a:pt x="202" y="237"/>
                      <a:pt x="204" y="236"/>
                      <a:pt x="206" y="235"/>
                    </a:cubicBezTo>
                    <a:cubicBezTo>
                      <a:pt x="210" y="234"/>
                      <a:pt x="214" y="232"/>
                      <a:pt x="217" y="230"/>
                    </a:cubicBezTo>
                    <a:cubicBezTo>
                      <a:pt x="219" y="229"/>
                      <a:pt x="220" y="229"/>
                      <a:pt x="222" y="228"/>
                    </a:cubicBezTo>
                    <a:cubicBezTo>
                      <a:pt x="223" y="227"/>
                      <a:pt x="224" y="226"/>
                      <a:pt x="226" y="226"/>
                    </a:cubicBezTo>
                    <a:cubicBezTo>
                      <a:pt x="228" y="224"/>
                      <a:pt x="230" y="223"/>
                      <a:pt x="231" y="222"/>
                    </a:cubicBezTo>
                    <a:cubicBezTo>
                      <a:pt x="232" y="221"/>
                      <a:pt x="233" y="221"/>
                      <a:pt x="233" y="221"/>
                    </a:cubicBezTo>
                    <a:cubicBezTo>
                      <a:pt x="232" y="221"/>
                      <a:pt x="232" y="221"/>
                      <a:pt x="232" y="221"/>
                    </a:cubicBezTo>
                    <a:cubicBezTo>
                      <a:pt x="232" y="221"/>
                      <a:pt x="232" y="221"/>
                      <a:pt x="230" y="222"/>
                    </a:cubicBezTo>
                    <a:cubicBezTo>
                      <a:pt x="229" y="222"/>
                      <a:pt x="227" y="223"/>
                      <a:pt x="225" y="225"/>
                    </a:cubicBezTo>
                    <a:cubicBezTo>
                      <a:pt x="224" y="225"/>
                      <a:pt x="223" y="226"/>
                      <a:pt x="221" y="227"/>
                    </a:cubicBezTo>
                    <a:cubicBezTo>
                      <a:pt x="220" y="227"/>
                      <a:pt x="218" y="228"/>
                      <a:pt x="217" y="229"/>
                    </a:cubicBezTo>
                    <a:cubicBezTo>
                      <a:pt x="213" y="230"/>
                      <a:pt x="209" y="232"/>
                      <a:pt x="205" y="233"/>
                    </a:cubicBezTo>
                    <a:cubicBezTo>
                      <a:pt x="203" y="234"/>
                      <a:pt x="201" y="234"/>
                      <a:pt x="198" y="235"/>
                    </a:cubicBezTo>
                    <a:cubicBezTo>
                      <a:pt x="196" y="235"/>
                      <a:pt x="194" y="236"/>
                      <a:pt x="191" y="237"/>
                    </a:cubicBezTo>
                    <a:cubicBezTo>
                      <a:pt x="186" y="238"/>
                      <a:pt x="181" y="238"/>
                      <a:pt x="175" y="239"/>
                    </a:cubicBezTo>
                    <a:cubicBezTo>
                      <a:pt x="170" y="239"/>
                      <a:pt x="164" y="239"/>
                      <a:pt x="158" y="239"/>
                    </a:cubicBezTo>
                    <a:cubicBezTo>
                      <a:pt x="152" y="238"/>
                      <a:pt x="147" y="237"/>
                      <a:pt x="141" y="236"/>
                    </a:cubicBezTo>
                    <a:cubicBezTo>
                      <a:pt x="135" y="235"/>
                      <a:pt x="129" y="233"/>
                      <a:pt x="124" y="231"/>
                    </a:cubicBezTo>
                    <a:cubicBezTo>
                      <a:pt x="119" y="229"/>
                      <a:pt x="114" y="226"/>
                      <a:pt x="109" y="224"/>
                    </a:cubicBezTo>
                    <a:cubicBezTo>
                      <a:pt x="104" y="221"/>
                      <a:pt x="99" y="218"/>
                      <a:pt x="95" y="215"/>
                    </a:cubicBezTo>
                    <a:cubicBezTo>
                      <a:pt x="93" y="214"/>
                      <a:pt x="91" y="212"/>
                      <a:pt x="89" y="211"/>
                    </a:cubicBezTo>
                    <a:cubicBezTo>
                      <a:pt x="87" y="210"/>
                      <a:pt x="86" y="208"/>
                      <a:pt x="84" y="207"/>
                    </a:cubicBezTo>
                    <a:cubicBezTo>
                      <a:pt x="82" y="205"/>
                      <a:pt x="81" y="204"/>
                      <a:pt x="79" y="203"/>
                    </a:cubicBezTo>
                    <a:cubicBezTo>
                      <a:pt x="78" y="201"/>
                      <a:pt x="76" y="200"/>
                      <a:pt x="75" y="199"/>
                    </a:cubicBezTo>
                    <a:cubicBezTo>
                      <a:pt x="74" y="197"/>
                      <a:pt x="72" y="196"/>
                      <a:pt x="71" y="195"/>
                    </a:cubicBezTo>
                    <a:cubicBezTo>
                      <a:pt x="70" y="194"/>
                      <a:pt x="69" y="193"/>
                      <a:pt x="68" y="192"/>
                    </a:cubicBezTo>
                    <a:cubicBezTo>
                      <a:pt x="68" y="191"/>
                      <a:pt x="67" y="191"/>
                      <a:pt x="67" y="190"/>
                    </a:cubicBezTo>
                    <a:cubicBezTo>
                      <a:pt x="67" y="190"/>
                      <a:pt x="67" y="189"/>
                      <a:pt x="67" y="189"/>
                    </a:cubicBezTo>
                    <a:cubicBezTo>
                      <a:pt x="66" y="187"/>
                      <a:pt x="65" y="185"/>
                      <a:pt x="63" y="183"/>
                    </a:cubicBezTo>
                    <a:cubicBezTo>
                      <a:pt x="62" y="181"/>
                      <a:pt x="61" y="180"/>
                      <a:pt x="59" y="179"/>
                    </a:cubicBezTo>
                    <a:cubicBezTo>
                      <a:pt x="58" y="178"/>
                      <a:pt x="56" y="177"/>
                      <a:pt x="55" y="177"/>
                    </a:cubicBezTo>
                    <a:cubicBezTo>
                      <a:pt x="54" y="177"/>
                      <a:pt x="53" y="177"/>
                      <a:pt x="53" y="177"/>
                    </a:cubicBezTo>
                    <a:cubicBezTo>
                      <a:pt x="53" y="176"/>
                      <a:pt x="53" y="175"/>
                      <a:pt x="54" y="174"/>
                    </a:cubicBezTo>
                    <a:cubicBezTo>
                      <a:pt x="54" y="173"/>
                      <a:pt x="54" y="172"/>
                      <a:pt x="54" y="170"/>
                    </a:cubicBezTo>
                    <a:cubicBezTo>
                      <a:pt x="54" y="168"/>
                      <a:pt x="54" y="166"/>
                      <a:pt x="53" y="164"/>
                    </a:cubicBezTo>
                    <a:cubicBezTo>
                      <a:pt x="52" y="162"/>
                      <a:pt x="51" y="160"/>
                      <a:pt x="49" y="158"/>
                    </a:cubicBezTo>
                    <a:cubicBezTo>
                      <a:pt x="49" y="158"/>
                      <a:pt x="49" y="157"/>
                      <a:pt x="48" y="157"/>
                    </a:cubicBezTo>
                    <a:cubicBezTo>
                      <a:pt x="48" y="156"/>
                      <a:pt x="48" y="156"/>
                      <a:pt x="48" y="155"/>
                    </a:cubicBezTo>
                    <a:cubicBezTo>
                      <a:pt x="47" y="154"/>
                      <a:pt x="47" y="152"/>
                      <a:pt x="47" y="151"/>
                    </a:cubicBezTo>
                    <a:cubicBezTo>
                      <a:pt x="46" y="149"/>
                      <a:pt x="46" y="148"/>
                      <a:pt x="45" y="146"/>
                    </a:cubicBezTo>
                    <a:cubicBezTo>
                      <a:pt x="45" y="144"/>
                      <a:pt x="45" y="142"/>
                      <a:pt x="44" y="140"/>
                    </a:cubicBezTo>
                    <a:cubicBezTo>
                      <a:pt x="44" y="138"/>
                      <a:pt x="44" y="136"/>
                      <a:pt x="43" y="134"/>
                    </a:cubicBezTo>
                    <a:cubicBezTo>
                      <a:pt x="43" y="132"/>
                      <a:pt x="43" y="130"/>
                      <a:pt x="42" y="127"/>
                    </a:cubicBezTo>
                    <a:cubicBezTo>
                      <a:pt x="42" y="125"/>
                      <a:pt x="42" y="122"/>
                      <a:pt x="42" y="120"/>
                    </a:cubicBezTo>
                    <a:cubicBezTo>
                      <a:pt x="42" y="115"/>
                      <a:pt x="42" y="110"/>
                      <a:pt x="42" y="104"/>
                    </a:cubicBezTo>
                    <a:cubicBezTo>
                      <a:pt x="42" y="99"/>
                      <a:pt x="43" y="93"/>
                      <a:pt x="44" y="87"/>
                    </a:cubicBezTo>
                    <a:cubicBezTo>
                      <a:pt x="45" y="82"/>
                      <a:pt x="46" y="76"/>
                      <a:pt x="48" y="70"/>
                    </a:cubicBezTo>
                    <a:cubicBezTo>
                      <a:pt x="50" y="65"/>
                      <a:pt x="52" y="59"/>
                      <a:pt x="55" y="54"/>
                    </a:cubicBezTo>
                    <a:cubicBezTo>
                      <a:pt x="58" y="49"/>
                      <a:pt x="61" y="44"/>
                      <a:pt x="64" y="40"/>
                    </a:cubicBezTo>
                    <a:cubicBezTo>
                      <a:pt x="67" y="35"/>
                      <a:pt x="71" y="31"/>
                      <a:pt x="74" y="27"/>
                    </a:cubicBezTo>
                    <a:cubicBezTo>
                      <a:pt x="76" y="25"/>
                      <a:pt x="78" y="24"/>
                      <a:pt x="79" y="22"/>
                    </a:cubicBezTo>
                    <a:cubicBezTo>
                      <a:pt x="81" y="20"/>
                      <a:pt x="83" y="19"/>
                      <a:pt x="84" y="17"/>
                    </a:cubicBezTo>
                    <a:cubicBezTo>
                      <a:pt x="88" y="14"/>
                      <a:pt x="91" y="12"/>
                      <a:pt x="94" y="10"/>
                    </a:cubicBezTo>
                    <a:cubicBezTo>
                      <a:pt x="96" y="9"/>
                      <a:pt x="97" y="8"/>
                      <a:pt x="98" y="7"/>
                    </a:cubicBezTo>
                    <a:cubicBezTo>
                      <a:pt x="100" y="6"/>
                      <a:pt x="101" y="5"/>
                      <a:pt x="102" y="5"/>
                    </a:cubicBezTo>
                    <a:cubicBezTo>
                      <a:pt x="104" y="3"/>
                      <a:pt x="106" y="2"/>
                      <a:pt x="107" y="2"/>
                    </a:cubicBezTo>
                    <a:cubicBezTo>
                      <a:pt x="109" y="1"/>
                      <a:pt x="109" y="1"/>
                      <a:pt x="109" y="1"/>
                    </a:cubicBezTo>
                    <a:cubicBezTo>
                      <a:pt x="109" y="0"/>
                      <a:pt x="109" y="0"/>
                      <a:pt x="109" y="0"/>
                    </a:cubicBezTo>
                    <a:cubicBezTo>
                      <a:pt x="109" y="0"/>
                      <a:pt x="108" y="0"/>
                      <a:pt x="107" y="1"/>
                    </a:cubicBezTo>
                    <a:cubicBezTo>
                      <a:pt x="106" y="1"/>
                      <a:pt x="104" y="2"/>
                      <a:pt x="101" y="4"/>
                    </a:cubicBezTo>
                    <a:cubicBezTo>
                      <a:pt x="100" y="4"/>
                      <a:pt x="99" y="5"/>
                      <a:pt x="98" y="6"/>
                    </a:cubicBezTo>
                    <a:cubicBezTo>
                      <a:pt x="96" y="6"/>
                      <a:pt x="95" y="7"/>
                      <a:pt x="93" y="8"/>
                    </a:cubicBezTo>
                    <a:cubicBezTo>
                      <a:pt x="90" y="10"/>
                      <a:pt x="87" y="12"/>
                      <a:pt x="83" y="15"/>
                    </a:cubicBezTo>
                    <a:cubicBezTo>
                      <a:pt x="81" y="17"/>
                      <a:pt x="79" y="18"/>
                      <a:pt x="77" y="20"/>
                    </a:cubicBezTo>
                    <a:cubicBezTo>
                      <a:pt x="76" y="21"/>
                      <a:pt x="74" y="23"/>
                      <a:pt x="72" y="25"/>
                    </a:cubicBezTo>
                    <a:cubicBezTo>
                      <a:pt x="71" y="26"/>
                      <a:pt x="70" y="27"/>
                      <a:pt x="69" y="28"/>
                    </a:cubicBezTo>
                    <a:cubicBezTo>
                      <a:pt x="68" y="29"/>
                      <a:pt x="67" y="30"/>
                      <a:pt x="66" y="31"/>
                    </a:cubicBezTo>
                    <a:cubicBezTo>
                      <a:pt x="64" y="33"/>
                      <a:pt x="63" y="35"/>
                      <a:pt x="61" y="37"/>
                    </a:cubicBezTo>
                    <a:cubicBezTo>
                      <a:pt x="57" y="42"/>
                      <a:pt x="54" y="47"/>
                      <a:pt x="51" y="52"/>
                    </a:cubicBezTo>
                    <a:cubicBezTo>
                      <a:pt x="48" y="57"/>
                      <a:pt x="45" y="63"/>
                      <a:pt x="43" y="69"/>
                    </a:cubicBezTo>
                    <a:cubicBezTo>
                      <a:pt x="41" y="74"/>
                      <a:pt x="39" y="80"/>
                      <a:pt x="38" y="86"/>
                    </a:cubicBezTo>
                    <a:cubicBezTo>
                      <a:pt x="36" y="92"/>
                      <a:pt x="36" y="98"/>
                      <a:pt x="35" y="104"/>
                    </a:cubicBezTo>
                    <a:cubicBezTo>
                      <a:pt x="35" y="107"/>
                      <a:pt x="35" y="109"/>
                      <a:pt x="35" y="112"/>
                    </a:cubicBezTo>
                    <a:cubicBezTo>
                      <a:pt x="35" y="114"/>
                      <a:pt x="35" y="115"/>
                      <a:pt x="35" y="116"/>
                    </a:cubicBezTo>
                    <a:cubicBezTo>
                      <a:pt x="35" y="118"/>
                      <a:pt x="35" y="119"/>
                      <a:pt x="35" y="120"/>
                    </a:cubicBezTo>
                    <a:cubicBezTo>
                      <a:pt x="36" y="123"/>
                      <a:pt x="36" y="126"/>
                      <a:pt x="36" y="128"/>
                    </a:cubicBezTo>
                    <a:cubicBezTo>
                      <a:pt x="37" y="131"/>
                      <a:pt x="37" y="133"/>
                      <a:pt x="38" y="135"/>
                    </a:cubicBezTo>
                    <a:cubicBezTo>
                      <a:pt x="39" y="140"/>
                      <a:pt x="40" y="144"/>
                      <a:pt x="42" y="147"/>
                    </a:cubicBezTo>
                    <a:cubicBezTo>
                      <a:pt x="42" y="149"/>
                      <a:pt x="43" y="150"/>
                      <a:pt x="44" y="152"/>
                    </a:cubicBezTo>
                    <a:cubicBezTo>
                      <a:pt x="44" y="153"/>
                      <a:pt x="44" y="153"/>
                      <a:pt x="45" y="154"/>
                    </a:cubicBezTo>
                    <a:cubicBezTo>
                      <a:pt x="44" y="154"/>
                      <a:pt x="44" y="153"/>
                      <a:pt x="44" y="153"/>
                    </a:cubicBezTo>
                    <a:cubicBezTo>
                      <a:pt x="41" y="152"/>
                      <a:pt x="38" y="151"/>
                      <a:pt x="35" y="151"/>
                    </a:cubicBezTo>
                    <a:cubicBezTo>
                      <a:pt x="34" y="151"/>
                      <a:pt x="32" y="151"/>
                      <a:pt x="31" y="151"/>
                    </a:cubicBezTo>
                    <a:cubicBezTo>
                      <a:pt x="29" y="151"/>
                      <a:pt x="28" y="152"/>
                      <a:pt x="26" y="153"/>
                    </a:cubicBezTo>
                    <a:cubicBezTo>
                      <a:pt x="26" y="154"/>
                      <a:pt x="25" y="154"/>
                      <a:pt x="25" y="155"/>
                    </a:cubicBezTo>
                    <a:cubicBezTo>
                      <a:pt x="24" y="155"/>
                      <a:pt x="24" y="156"/>
                      <a:pt x="24" y="156"/>
                    </a:cubicBezTo>
                    <a:cubicBezTo>
                      <a:pt x="24" y="157"/>
                      <a:pt x="24" y="157"/>
                      <a:pt x="23" y="157"/>
                    </a:cubicBezTo>
                    <a:cubicBezTo>
                      <a:pt x="23" y="159"/>
                      <a:pt x="23" y="160"/>
                      <a:pt x="23" y="162"/>
                    </a:cubicBezTo>
                    <a:cubicBezTo>
                      <a:pt x="23" y="163"/>
                      <a:pt x="24" y="165"/>
                      <a:pt x="24" y="166"/>
                    </a:cubicBezTo>
                    <a:cubicBezTo>
                      <a:pt x="25" y="167"/>
                      <a:pt x="26" y="168"/>
                      <a:pt x="27" y="169"/>
                    </a:cubicBezTo>
                    <a:cubicBezTo>
                      <a:pt x="29" y="171"/>
                      <a:pt x="31" y="172"/>
                      <a:pt x="33" y="173"/>
                    </a:cubicBezTo>
                    <a:cubicBezTo>
                      <a:pt x="35" y="174"/>
                      <a:pt x="37" y="175"/>
                      <a:pt x="39" y="176"/>
                    </a:cubicBezTo>
                    <a:cubicBezTo>
                      <a:pt x="41" y="176"/>
                      <a:pt x="43" y="177"/>
                      <a:pt x="45" y="177"/>
                    </a:cubicBezTo>
                    <a:cubicBezTo>
                      <a:pt x="44" y="177"/>
                      <a:pt x="43" y="177"/>
                      <a:pt x="42" y="177"/>
                    </a:cubicBezTo>
                    <a:cubicBezTo>
                      <a:pt x="41" y="178"/>
                      <a:pt x="39" y="178"/>
                      <a:pt x="38" y="178"/>
                    </a:cubicBezTo>
                    <a:cubicBezTo>
                      <a:pt x="37" y="178"/>
                      <a:pt x="36" y="179"/>
                      <a:pt x="35" y="179"/>
                    </a:cubicBezTo>
                    <a:cubicBezTo>
                      <a:pt x="35" y="179"/>
                      <a:pt x="35" y="179"/>
                      <a:pt x="34" y="179"/>
                    </a:cubicBezTo>
                    <a:cubicBezTo>
                      <a:pt x="34" y="179"/>
                      <a:pt x="33" y="180"/>
                      <a:pt x="33" y="180"/>
                    </a:cubicBezTo>
                    <a:cubicBezTo>
                      <a:pt x="32" y="180"/>
                      <a:pt x="31" y="180"/>
                      <a:pt x="30" y="181"/>
                    </a:cubicBezTo>
                    <a:cubicBezTo>
                      <a:pt x="30" y="181"/>
                      <a:pt x="29" y="181"/>
                      <a:pt x="28" y="182"/>
                    </a:cubicBezTo>
                    <a:cubicBezTo>
                      <a:pt x="26" y="183"/>
                      <a:pt x="25" y="184"/>
                      <a:pt x="23" y="184"/>
                    </a:cubicBezTo>
                    <a:cubicBezTo>
                      <a:pt x="22" y="185"/>
                      <a:pt x="21" y="185"/>
                      <a:pt x="21" y="186"/>
                    </a:cubicBezTo>
                    <a:cubicBezTo>
                      <a:pt x="20" y="186"/>
                      <a:pt x="19" y="187"/>
                      <a:pt x="18" y="187"/>
                    </a:cubicBezTo>
                    <a:cubicBezTo>
                      <a:pt x="17" y="188"/>
                      <a:pt x="15" y="188"/>
                      <a:pt x="14" y="189"/>
                    </a:cubicBezTo>
                    <a:cubicBezTo>
                      <a:pt x="12" y="190"/>
                      <a:pt x="11" y="190"/>
                      <a:pt x="10" y="191"/>
                    </a:cubicBezTo>
                    <a:cubicBezTo>
                      <a:pt x="9" y="191"/>
                      <a:pt x="8" y="191"/>
                      <a:pt x="7" y="192"/>
                    </a:cubicBezTo>
                    <a:cubicBezTo>
                      <a:pt x="6" y="192"/>
                      <a:pt x="5" y="192"/>
                      <a:pt x="5" y="191"/>
                    </a:cubicBezTo>
                    <a:cubicBezTo>
                      <a:pt x="4" y="191"/>
                      <a:pt x="4" y="191"/>
                      <a:pt x="4" y="191"/>
                    </a:cubicBezTo>
                    <a:cubicBezTo>
                      <a:pt x="4" y="191"/>
                      <a:pt x="4" y="191"/>
                      <a:pt x="4" y="191"/>
                    </a:cubicBezTo>
                    <a:cubicBezTo>
                      <a:pt x="3" y="190"/>
                      <a:pt x="3" y="190"/>
                      <a:pt x="3" y="190"/>
                    </a:cubicBezTo>
                    <a:cubicBezTo>
                      <a:pt x="3" y="190"/>
                      <a:pt x="3" y="190"/>
                      <a:pt x="3" y="190"/>
                    </a:cubicBezTo>
                    <a:cubicBezTo>
                      <a:pt x="2" y="189"/>
                      <a:pt x="2" y="189"/>
                      <a:pt x="2" y="188"/>
                    </a:cubicBezTo>
                    <a:cubicBezTo>
                      <a:pt x="1" y="188"/>
                      <a:pt x="1" y="188"/>
                      <a:pt x="1" y="188"/>
                    </a:cubicBezTo>
                    <a:cubicBezTo>
                      <a:pt x="1" y="188"/>
                      <a:pt x="1" y="188"/>
                      <a:pt x="1" y="188"/>
                    </a:cubicBezTo>
                    <a:cubicBezTo>
                      <a:pt x="1" y="188"/>
                      <a:pt x="1" y="188"/>
                      <a:pt x="1" y="189"/>
                    </a:cubicBezTo>
                    <a:cubicBezTo>
                      <a:pt x="1" y="189"/>
                      <a:pt x="0" y="190"/>
                      <a:pt x="1" y="191"/>
                    </a:cubicBezTo>
                    <a:cubicBezTo>
                      <a:pt x="1" y="191"/>
                      <a:pt x="1" y="191"/>
                      <a:pt x="1" y="191"/>
                    </a:cubicBezTo>
                    <a:cubicBezTo>
                      <a:pt x="1" y="192"/>
                      <a:pt x="1" y="192"/>
                      <a:pt x="1" y="192"/>
                    </a:cubicBezTo>
                    <a:cubicBezTo>
                      <a:pt x="1" y="192"/>
                      <a:pt x="1" y="193"/>
                      <a:pt x="1" y="193"/>
                    </a:cubicBezTo>
                    <a:cubicBezTo>
                      <a:pt x="1" y="193"/>
                      <a:pt x="2" y="194"/>
                      <a:pt x="2" y="194"/>
                    </a:cubicBezTo>
                    <a:cubicBezTo>
                      <a:pt x="3" y="195"/>
                      <a:pt x="4" y="196"/>
                      <a:pt x="6" y="197"/>
                    </a:cubicBezTo>
                    <a:cubicBezTo>
                      <a:pt x="8" y="197"/>
                      <a:pt x="10" y="197"/>
                      <a:pt x="12" y="197"/>
                    </a:cubicBezTo>
                    <a:cubicBezTo>
                      <a:pt x="13" y="197"/>
                      <a:pt x="15" y="196"/>
                      <a:pt x="17" y="195"/>
                    </a:cubicBezTo>
                    <a:cubicBezTo>
                      <a:pt x="18" y="195"/>
                      <a:pt x="18" y="194"/>
                      <a:pt x="19" y="194"/>
                    </a:cubicBezTo>
                    <a:cubicBezTo>
                      <a:pt x="20" y="193"/>
                      <a:pt x="21" y="193"/>
                      <a:pt x="22" y="192"/>
                    </a:cubicBezTo>
                    <a:cubicBezTo>
                      <a:pt x="22" y="192"/>
                      <a:pt x="23" y="191"/>
                      <a:pt x="24" y="191"/>
                    </a:cubicBezTo>
                    <a:cubicBezTo>
                      <a:pt x="26" y="189"/>
                      <a:pt x="26" y="189"/>
                      <a:pt x="26" y="189"/>
                    </a:cubicBezTo>
                    <a:cubicBezTo>
                      <a:pt x="27" y="188"/>
                      <a:pt x="29" y="187"/>
                      <a:pt x="30" y="186"/>
                    </a:cubicBezTo>
                    <a:cubicBezTo>
                      <a:pt x="31" y="186"/>
                      <a:pt x="31" y="185"/>
                      <a:pt x="31" y="185"/>
                    </a:cubicBezTo>
                    <a:cubicBezTo>
                      <a:pt x="32" y="185"/>
                      <a:pt x="32" y="185"/>
                      <a:pt x="32" y="185"/>
                    </a:cubicBezTo>
                    <a:cubicBezTo>
                      <a:pt x="33" y="184"/>
                      <a:pt x="34" y="184"/>
                      <a:pt x="34" y="183"/>
                    </a:cubicBezTo>
                    <a:cubicBezTo>
                      <a:pt x="36" y="182"/>
                      <a:pt x="37" y="182"/>
                      <a:pt x="39" y="181"/>
                    </a:cubicBezTo>
                    <a:cubicBezTo>
                      <a:pt x="40" y="180"/>
                      <a:pt x="41" y="180"/>
                      <a:pt x="43" y="180"/>
                    </a:cubicBezTo>
                    <a:cubicBezTo>
                      <a:pt x="44" y="179"/>
                      <a:pt x="45" y="179"/>
                      <a:pt x="46" y="179"/>
                    </a:cubicBezTo>
                    <a:cubicBezTo>
                      <a:pt x="47" y="178"/>
                      <a:pt x="48" y="178"/>
                      <a:pt x="49" y="178"/>
                    </a:cubicBezTo>
                    <a:cubicBezTo>
                      <a:pt x="49" y="178"/>
                      <a:pt x="49" y="178"/>
                      <a:pt x="50" y="178"/>
                    </a:cubicBezTo>
                    <a:cubicBezTo>
                      <a:pt x="49" y="178"/>
                      <a:pt x="49" y="178"/>
                      <a:pt x="49" y="178"/>
                    </a:cubicBezTo>
                    <a:cubicBezTo>
                      <a:pt x="49" y="179"/>
                      <a:pt x="48" y="180"/>
                      <a:pt x="47" y="181"/>
                    </a:cubicBezTo>
                    <a:cubicBezTo>
                      <a:pt x="46" y="181"/>
                      <a:pt x="46" y="182"/>
                      <a:pt x="45" y="183"/>
                    </a:cubicBezTo>
                    <a:cubicBezTo>
                      <a:pt x="44" y="184"/>
                      <a:pt x="43" y="185"/>
                      <a:pt x="41" y="186"/>
                    </a:cubicBezTo>
                    <a:cubicBezTo>
                      <a:pt x="40" y="186"/>
                      <a:pt x="39" y="187"/>
                      <a:pt x="37" y="188"/>
                    </a:cubicBezTo>
                    <a:cubicBezTo>
                      <a:pt x="36" y="189"/>
                      <a:pt x="36" y="189"/>
                      <a:pt x="35" y="189"/>
                    </a:cubicBezTo>
                    <a:cubicBezTo>
                      <a:pt x="34" y="190"/>
                      <a:pt x="34" y="190"/>
                      <a:pt x="34" y="190"/>
                    </a:cubicBezTo>
                    <a:cubicBezTo>
                      <a:pt x="34" y="190"/>
                      <a:pt x="33" y="190"/>
                      <a:pt x="33" y="190"/>
                    </a:cubicBezTo>
                    <a:cubicBezTo>
                      <a:pt x="31" y="191"/>
                      <a:pt x="30" y="192"/>
                      <a:pt x="28" y="192"/>
                    </a:cubicBezTo>
                    <a:cubicBezTo>
                      <a:pt x="25" y="193"/>
                      <a:pt x="25" y="193"/>
                      <a:pt x="25" y="193"/>
                    </a:cubicBezTo>
                    <a:cubicBezTo>
                      <a:pt x="24" y="194"/>
                      <a:pt x="24" y="194"/>
                      <a:pt x="23" y="194"/>
                    </a:cubicBezTo>
                    <a:cubicBezTo>
                      <a:pt x="22" y="195"/>
                      <a:pt x="21" y="195"/>
                      <a:pt x="20" y="195"/>
                    </a:cubicBezTo>
                    <a:cubicBezTo>
                      <a:pt x="19" y="196"/>
                      <a:pt x="18" y="196"/>
                      <a:pt x="18" y="197"/>
                    </a:cubicBezTo>
                    <a:cubicBezTo>
                      <a:pt x="16" y="198"/>
                      <a:pt x="15" y="199"/>
                      <a:pt x="13" y="200"/>
                    </a:cubicBezTo>
                    <a:cubicBezTo>
                      <a:pt x="12" y="202"/>
                      <a:pt x="11" y="203"/>
                      <a:pt x="11" y="205"/>
                    </a:cubicBezTo>
                    <a:cubicBezTo>
                      <a:pt x="10" y="207"/>
                      <a:pt x="10" y="209"/>
                      <a:pt x="11" y="210"/>
                    </a:cubicBezTo>
                    <a:cubicBezTo>
                      <a:pt x="11" y="211"/>
                      <a:pt x="11" y="211"/>
                      <a:pt x="11" y="211"/>
                    </a:cubicBezTo>
                    <a:cubicBezTo>
                      <a:pt x="12" y="212"/>
                      <a:pt x="12" y="212"/>
                      <a:pt x="12" y="212"/>
                    </a:cubicBezTo>
                    <a:cubicBezTo>
                      <a:pt x="12" y="212"/>
                      <a:pt x="12" y="213"/>
                      <a:pt x="13" y="213"/>
                    </a:cubicBezTo>
                    <a:cubicBezTo>
                      <a:pt x="13" y="213"/>
                      <a:pt x="13" y="213"/>
                      <a:pt x="13" y="213"/>
                    </a:cubicBezTo>
                    <a:cubicBezTo>
                      <a:pt x="14" y="214"/>
                      <a:pt x="14" y="214"/>
                      <a:pt x="15" y="214"/>
                    </a:cubicBezTo>
                    <a:cubicBezTo>
                      <a:pt x="15" y="214"/>
                      <a:pt x="16" y="215"/>
                      <a:pt x="16" y="215"/>
                    </a:cubicBezTo>
                    <a:cubicBezTo>
                      <a:pt x="16" y="214"/>
                      <a:pt x="16" y="214"/>
                      <a:pt x="16" y="214"/>
                    </a:cubicBezTo>
                    <a:cubicBezTo>
                      <a:pt x="16" y="214"/>
                      <a:pt x="17" y="214"/>
                      <a:pt x="16" y="213"/>
                    </a:cubicBezTo>
                    <a:cubicBezTo>
                      <a:pt x="16" y="213"/>
                      <a:pt x="17" y="212"/>
                      <a:pt x="16" y="211"/>
                    </a:cubicBezTo>
                    <a:cubicBezTo>
                      <a:pt x="16" y="211"/>
                      <a:pt x="16" y="211"/>
                      <a:pt x="16" y="211"/>
                    </a:cubicBezTo>
                    <a:cubicBezTo>
                      <a:pt x="16" y="211"/>
                      <a:pt x="16" y="211"/>
                      <a:pt x="16" y="210"/>
                    </a:cubicBezTo>
                    <a:cubicBezTo>
                      <a:pt x="15" y="210"/>
                      <a:pt x="15" y="210"/>
                      <a:pt x="15" y="210"/>
                    </a:cubicBezTo>
                    <a:cubicBezTo>
                      <a:pt x="15" y="210"/>
                      <a:pt x="15" y="210"/>
                      <a:pt x="15" y="209"/>
                    </a:cubicBezTo>
                    <a:cubicBezTo>
                      <a:pt x="15" y="209"/>
                      <a:pt x="15" y="208"/>
                      <a:pt x="16" y="207"/>
                    </a:cubicBezTo>
                    <a:cubicBezTo>
                      <a:pt x="16" y="207"/>
                      <a:pt x="17" y="206"/>
                      <a:pt x="18" y="205"/>
                    </a:cubicBezTo>
                    <a:cubicBezTo>
                      <a:pt x="19" y="204"/>
                      <a:pt x="20" y="204"/>
                      <a:pt x="22" y="203"/>
                    </a:cubicBezTo>
                    <a:cubicBezTo>
                      <a:pt x="23" y="202"/>
                      <a:pt x="24" y="201"/>
                      <a:pt x="26" y="200"/>
                    </a:cubicBezTo>
                    <a:cubicBezTo>
                      <a:pt x="26" y="199"/>
                      <a:pt x="27" y="199"/>
                      <a:pt x="28" y="199"/>
                    </a:cubicBezTo>
                    <a:cubicBezTo>
                      <a:pt x="29" y="198"/>
                      <a:pt x="29" y="198"/>
                      <a:pt x="30" y="197"/>
                    </a:cubicBezTo>
                    <a:cubicBezTo>
                      <a:pt x="32" y="196"/>
                      <a:pt x="33" y="195"/>
                      <a:pt x="35" y="195"/>
                    </a:cubicBezTo>
                    <a:cubicBezTo>
                      <a:pt x="36" y="194"/>
                      <a:pt x="37" y="194"/>
                      <a:pt x="37" y="193"/>
                    </a:cubicBezTo>
                    <a:cubicBezTo>
                      <a:pt x="38" y="192"/>
                      <a:pt x="39" y="192"/>
                      <a:pt x="39" y="191"/>
                    </a:cubicBezTo>
                    <a:cubicBezTo>
                      <a:pt x="40" y="191"/>
                      <a:pt x="40" y="191"/>
                      <a:pt x="40" y="191"/>
                    </a:cubicBezTo>
                    <a:cubicBezTo>
                      <a:pt x="41" y="190"/>
                      <a:pt x="41" y="190"/>
                      <a:pt x="41" y="190"/>
                    </a:cubicBezTo>
                    <a:cubicBezTo>
                      <a:pt x="42" y="189"/>
                      <a:pt x="43" y="189"/>
                      <a:pt x="43" y="188"/>
                    </a:cubicBezTo>
                    <a:cubicBezTo>
                      <a:pt x="44" y="187"/>
                      <a:pt x="45" y="186"/>
                      <a:pt x="46" y="185"/>
                    </a:cubicBezTo>
                    <a:cubicBezTo>
                      <a:pt x="47" y="184"/>
                      <a:pt x="48" y="183"/>
                      <a:pt x="49" y="182"/>
                    </a:cubicBezTo>
                    <a:cubicBezTo>
                      <a:pt x="49" y="182"/>
                      <a:pt x="49" y="182"/>
                      <a:pt x="49" y="181"/>
                    </a:cubicBezTo>
                    <a:cubicBezTo>
                      <a:pt x="48" y="183"/>
                      <a:pt x="47" y="186"/>
                      <a:pt x="46" y="189"/>
                    </a:cubicBezTo>
                    <a:cubicBezTo>
                      <a:pt x="46" y="191"/>
                      <a:pt x="45" y="193"/>
                      <a:pt x="45" y="195"/>
                    </a:cubicBezTo>
                    <a:cubicBezTo>
                      <a:pt x="45" y="197"/>
                      <a:pt x="45" y="200"/>
                      <a:pt x="45" y="202"/>
                    </a:cubicBezTo>
                    <a:cubicBezTo>
                      <a:pt x="46" y="203"/>
                      <a:pt x="46" y="205"/>
                      <a:pt x="47" y="206"/>
                    </a:cubicBezTo>
                    <a:cubicBezTo>
                      <a:pt x="47" y="207"/>
                      <a:pt x="48" y="209"/>
                      <a:pt x="50" y="210"/>
                    </a:cubicBezTo>
                    <a:cubicBezTo>
                      <a:pt x="51" y="211"/>
                      <a:pt x="52" y="211"/>
                      <a:pt x="54" y="212"/>
                    </a:cubicBezTo>
                    <a:cubicBezTo>
                      <a:pt x="54" y="212"/>
                      <a:pt x="54" y="212"/>
                      <a:pt x="55" y="212"/>
                    </a:cubicBezTo>
                    <a:cubicBezTo>
                      <a:pt x="56" y="212"/>
                      <a:pt x="56" y="212"/>
                      <a:pt x="56" y="212"/>
                    </a:cubicBezTo>
                    <a:cubicBezTo>
                      <a:pt x="57" y="212"/>
                      <a:pt x="58" y="212"/>
                      <a:pt x="59" y="211"/>
                    </a:cubicBezTo>
                    <a:cubicBezTo>
                      <a:pt x="61" y="211"/>
                      <a:pt x="62" y="210"/>
                      <a:pt x="63" y="209"/>
                    </a:cubicBezTo>
                    <a:cubicBezTo>
                      <a:pt x="64" y="207"/>
                      <a:pt x="65" y="206"/>
                      <a:pt x="66" y="205"/>
                    </a:cubicBezTo>
                    <a:moveTo>
                      <a:pt x="40" y="173"/>
                    </a:moveTo>
                    <a:cubicBezTo>
                      <a:pt x="38" y="173"/>
                      <a:pt x="36" y="172"/>
                      <a:pt x="35" y="171"/>
                    </a:cubicBezTo>
                    <a:cubicBezTo>
                      <a:pt x="33" y="170"/>
                      <a:pt x="31" y="168"/>
                      <a:pt x="30" y="167"/>
                    </a:cubicBezTo>
                    <a:cubicBezTo>
                      <a:pt x="28" y="165"/>
                      <a:pt x="27" y="163"/>
                      <a:pt x="27" y="161"/>
                    </a:cubicBezTo>
                    <a:cubicBezTo>
                      <a:pt x="27" y="161"/>
                      <a:pt x="28" y="160"/>
                      <a:pt x="28" y="159"/>
                    </a:cubicBezTo>
                    <a:cubicBezTo>
                      <a:pt x="28" y="159"/>
                      <a:pt x="28" y="158"/>
                      <a:pt x="28" y="158"/>
                    </a:cubicBezTo>
                    <a:cubicBezTo>
                      <a:pt x="28" y="158"/>
                      <a:pt x="28" y="158"/>
                      <a:pt x="29" y="158"/>
                    </a:cubicBezTo>
                    <a:cubicBezTo>
                      <a:pt x="29" y="158"/>
                      <a:pt x="29" y="157"/>
                      <a:pt x="29" y="157"/>
                    </a:cubicBezTo>
                    <a:cubicBezTo>
                      <a:pt x="31" y="156"/>
                      <a:pt x="33" y="156"/>
                      <a:pt x="35" y="157"/>
                    </a:cubicBezTo>
                    <a:cubicBezTo>
                      <a:pt x="36" y="157"/>
                      <a:pt x="38" y="158"/>
                      <a:pt x="40" y="159"/>
                    </a:cubicBezTo>
                    <a:cubicBezTo>
                      <a:pt x="42" y="160"/>
                      <a:pt x="43" y="161"/>
                      <a:pt x="44" y="163"/>
                    </a:cubicBezTo>
                    <a:cubicBezTo>
                      <a:pt x="46" y="164"/>
                      <a:pt x="47" y="165"/>
                      <a:pt x="48" y="167"/>
                    </a:cubicBezTo>
                    <a:cubicBezTo>
                      <a:pt x="50" y="169"/>
                      <a:pt x="51" y="172"/>
                      <a:pt x="51" y="174"/>
                    </a:cubicBezTo>
                    <a:cubicBezTo>
                      <a:pt x="51" y="175"/>
                      <a:pt x="51" y="176"/>
                      <a:pt x="51" y="177"/>
                    </a:cubicBezTo>
                    <a:cubicBezTo>
                      <a:pt x="51" y="177"/>
                      <a:pt x="51" y="177"/>
                      <a:pt x="51" y="177"/>
                    </a:cubicBezTo>
                    <a:cubicBezTo>
                      <a:pt x="51" y="177"/>
                      <a:pt x="51" y="177"/>
                      <a:pt x="51" y="177"/>
                    </a:cubicBezTo>
                    <a:cubicBezTo>
                      <a:pt x="51" y="177"/>
                      <a:pt x="51" y="177"/>
                      <a:pt x="51" y="177"/>
                    </a:cubicBezTo>
                    <a:cubicBezTo>
                      <a:pt x="51" y="177"/>
                      <a:pt x="51" y="177"/>
                      <a:pt x="50" y="177"/>
                    </a:cubicBezTo>
                    <a:cubicBezTo>
                      <a:pt x="50" y="177"/>
                      <a:pt x="49" y="177"/>
                      <a:pt x="48" y="176"/>
                    </a:cubicBezTo>
                    <a:cubicBezTo>
                      <a:pt x="46" y="176"/>
                      <a:pt x="43" y="175"/>
                      <a:pt x="40" y="173"/>
                    </a:cubicBezTo>
                    <a:moveTo>
                      <a:pt x="57" y="206"/>
                    </a:moveTo>
                    <a:cubicBezTo>
                      <a:pt x="57" y="207"/>
                      <a:pt x="56" y="207"/>
                      <a:pt x="56" y="207"/>
                    </a:cubicBezTo>
                    <a:cubicBezTo>
                      <a:pt x="56" y="207"/>
                      <a:pt x="56" y="207"/>
                      <a:pt x="55" y="207"/>
                    </a:cubicBezTo>
                    <a:cubicBezTo>
                      <a:pt x="55" y="207"/>
                      <a:pt x="55" y="207"/>
                      <a:pt x="55" y="207"/>
                    </a:cubicBezTo>
                    <a:cubicBezTo>
                      <a:pt x="54" y="207"/>
                      <a:pt x="53" y="206"/>
                      <a:pt x="52" y="206"/>
                    </a:cubicBezTo>
                    <a:cubicBezTo>
                      <a:pt x="51" y="205"/>
                      <a:pt x="50" y="203"/>
                      <a:pt x="49" y="201"/>
                    </a:cubicBezTo>
                    <a:cubicBezTo>
                      <a:pt x="48" y="199"/>
                      <a:pt x="48" y="197"/>
                      <a:pt x="48" y="195"/>
                    </a:cubicBezTo>
                    <a:cubicBezTo>
                      <a:pt x="48" y="193"/>
                      <a:pt x="48" y="191"/>
                      <a:pt x="48" y="189"/>
                    </a:cubicBezTo>
                    <a:cubicBezTo>
                      <a:pt x="49" y="186"/>
                      <a:pt x="50" y="183"/>
                      <a:pt x="50" y="181"/>
                    </a:cubicBezTo>
                    <a:cubicBezTo>
                      <a:pt x="51" y="179"/>
                      <a:pt x="51" y="178"/>
                      <a:pt x="51" y="178"/>
                    </a:cubicBezTo>
                    <a:cubicBezTo>
                      <a:pt x="51" y="178"/>
                      <a:pt x="51" y="178"/>
                      <a:pt x="51" y="178"/>
                    </a:cubicBezTo>
                    <a:cubicBezTo>
                      <a:pt x="51" y="178"/>
                      <a:pt x="51" y="178"/>
                      <a:pt x="51" y="178"/>
                    </a:cubicBezTo>
                    <a:cubicBezTo>
                      <a:pt x="52" y="178"/>
                      <a:pt x="52" y="178"/>
                      <a:pt x="52" y="178"/>
                    </a:cubicBezTo>
                    <a:cubicBezTo>
                      <a:pt x="52" y="178"/>
                      <a:pt x="52" y="178"/>
                      <a:pt x="52" y="178"/>
                    </a:cubicBezTo>
                    <a:cubicBezTo>
                      <a:pt x="52" y="178"/>
                      <a:pt x="52" y="178"/>
                      <a:pt x="52" y="178"/>
                    </a:cubicBezTo>
                    <a:cubicBezTo>
                      <a:pt x="52" y="178"/>
                      <a:pt x="53" y="179"/>
                      <a:pt x="54" y="179"/>
                    </a:cubicBezTo>
                    <a:cubicBezTo>
                      <a:pt x="56" y="180"/>
                      <a:pt x="57" y="183"/>
                      <a:pt x="58" y="186"/>
                    </a:cubicBezTo>
                    <a:cubicBezTo>
                      <a:pt x="59" y="187"/>
                      <a:pt x="60" y="189"/>
                      <a:pt x="60" y="191"/>
                    </a:cubicBezTo>
                    <a:cubicBezTo>
                      <a:pt x="60" y="193"/>
                      <a:pt x="61" y="195"/>
                      <a:pt x="61" y="197"/>
                    </a:cubicBezTo>
                    <a:cubicBezTo>
                      <a:pt x="61" y="198"/>
                      <a:pt x="61" y="201"/>
                      <a:pt x="60" y="202"/>
                    </a:cubicBezTo>
                    <a:cubicBezTo>
                      <a:pt x="60" y="204"/>
                      <a:pt x="58" y="206"/>
                      <a:pt x="57" y="206"/>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9" name="Freeform 32"/>
              <p:cNvSpPr>
                <a:spLocks/>
              </p:cNvSpPr>
              <p:nvPr userDrawn="1"/>
            </p:nvSpPr>
            <p:spPr bwMode="auto">
              <a:xfrm>
                <a:off x="8861425" y="1942649"/>
                <a:ext cx="292100" cy="254000"/>
              </a:xfrm>
              <a:custGeom>
                <a:avLst/>
                <a:gdLst>
                  <a:gd name="T0" fmla="*/ 138 w 184"/>
                  <a:gd name="T1" fmla="*/ 2 h 160"/>
                  <a:gd name="T2" fmla="*/ 141 w 184"/>
                  <a:gd name="T3" fmla="*/ 0 h 160"/>
                  <a:gd name="T4" fmla="*/ 175 w 184"/>
                  <a:gd name="T5" fmla="*/ 43 h 160"/>
                  <a:gd name="T6" fmla="*/ 184 w 184"/>
                  <a:gd name="T7" fmla="*/ 60 h 160"/>
                  <a:gd name="T8" fmla="*/ 38 w 184"/>
                  <a:gd name="T9" fmla="*/ 142 h 160"/>
                  <a:gd name="T10" fmla="*/ 48 w 184"/>
                  <a:gd name="T11" fmla="*/ 157 h 160"/>
                  <a:gd name="T12" fmla="*/ 43 w 184"/>
                  <a:gd name="T13" fmla="*/ 160 h 160"/>
                  <a:gd name="T14" fmla="*/ 0 w 184"/>
                  <a:gd name="T15" fmla="*/ 80 h 160"/>
                  <a:gd name="T16" fmla="*/ 3 w 184"/>
                  <a:gd name="T17" fmla="*/ 79 h 160"/>
                  <a:gd name="T18" fmla="*/ 15 w 184"/>
                  <a:gd name="T19" fmla="*/ 100 h 160"/>
                  <a:gd name="T20" fmla="*/ 154 w 184"/>
                  <a:gd name="T21" fmla="*/ 24 h 160"/>
                  <a:gd name="T22" fmla="*/ 138 w 184"/>
                  <a:gd name="T23" fmla="*/ 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160">
                    <a:moveTo>
                      <a:pt x="138" y="2"/>
                    </a:moveTo>
                    <a:lnTo>
                      <a:pt x="141" y="0"/>
                    </a:lnTo>
                    <a:lnTo>
                      <a:pt x="175" y="43"/>
                    </a:lnTo>
                    <a:lnTo>
                      <a:pt x="184" y="60"/>
                    </a:lnTo>
                    <a:lnTo>
                      <a:pt x="38" y="142"/>
                    </a:lnTo>
                    <a:lnTo>
                      <a:pt x="48" y="157"/>
                    </a:lnTo>
                    <a:lnTo>
                      <a:pt x="43" y="160"/>
                    </a:lnTo>
                    <a:lnTo>
                      <a:pt x="0" y="80"/>
                    </a:lnTo>
                    <a:lnTo>
                      <a:pt x="3" y="79"/>
                    </a:lnTo>
                    <a:lnTo>
                      <a:pt x="15" y="100"/>
                    </a:lnTo>
                    <a:lnTo>
                      <a:pt x="154" y="24"/>
                    </a:lnTo>
                    <a:lnTo>
                      <a:pt x="138" y="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7" name="Freeform 36"/>
            <p:cNvSpPr>
              <a:spLocks/>
            </p:cNvSpPr>
            <p:nvPr userDrawn="1"/>
          </p:nvSpPr>
          <p:spPr bwMode="auto">
            <a:xfrm>
              <a:off x="8447088" y="2055362"/>
              <a:ext cx="163513" cy="279400"/>
            </a:xfrm>
            <a:custGeom>
              <a:avLst/>
              <a:gdLst>
                <a:gd name="T0" fmla="*/ 22 w 85"/>
                <a:gd name="T1" fmla="*/ 120 h 145"/>
                <a:gd name="T2" fmla="*/ 58 w 85"/>
                <a:gd name="T3" fmla="*/ 142 h 145"/>
                <a:gd name="T4" fmla="*/ 60 w 85"/>
                <a:gd name="T5" fmla="*/ 141 h 145"/>
                <a:gd name="T6" fmla="*/ 82 w 85"/>
                <a:gd name="T7" fmla="*/ 106 h 145"/>
                <a:gd name="T8" fmla="*/ 63 w 85"/>
                <a:gd name="T9" fmla="*/ 26 h 145"/>
                <a:gd name="T10" fmla="*/ 28 w 85"/>
                <a:gd name="T11" fmla="*/ 4 h 145"/>
                <a:gd name="T12" fmla="*/ 25 w 85"/>
                <a:gd name="T13" fmla="*/ 5 h 145"/>
                <a:gd name="T14" fmla="*/ 4 w 85"/>
                <a:gd name="T15" fmla="*/ 40 h 145"/>
                <a:gd name="T16" fmla="*/ 22 w 85"/>
                <a:gd name="T17" fmla="*/ 12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45">
                  <a:moveTo>
                    <a:pt x="22" y="120"/>
                  </a:moveTo>
                  <a:cubicBezTo>
                    <a:pt x="26" y="136"/>
                    <a:pt x="42" y="145"/>
                    <a:pt x="58" y="142"/>
                  </a:cubicBezTo>
                  <a:cubicBezTo>
                    <a:pt x="60" y="141"/>
                    <a:pt x="60" y="141"/>
                    <a:pt x="60" y="141"/>
                  </a:cubicBezTo>
                  <a:cubicBezTo>
                    <a:pt x="76" y="138"/>
                    <a:pt x="85" y="122"/>
                    <a:pt x="82" y="106"/>
                  </a:cubicBezTo>
                  <a:cubicBezTo>
                    <a:pt x="63" y="26"/>
                    <a:pt x="63" y="26"/>
                    <a:pt x="63" y="26"/>
                  </a:cubicBezTo>
                  <a:cubicBezTo>
                    <a:pt x="59" y="10"/>
                    <a:pt x="43" y="0"/>
                    <a:pt x="28" y="4"/>
                  </a:cubicBezTo>
                  <a:cubicBezTo>
                    <a:pt x="25" y="5"/>
                    <a:pt x="25" y="5"/>
                    <a:pt x="25" y="5"/>
                  </a:cubicBezTo>
                  <a:cubicBezTo>
                    <a:pt x="10" y="8"/>
                    <a:pt x="0" y="24"/>
                    <a:pt x="4" y="40"/>
                  </a:cubicBezTo>
                  <a:lnTo>
                    <a:pt x="22" y="120"/>
                  </a:ln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37"/>
            <p:cNvSpPr>
              <a:spLocks/>
            </p:cNvSpPr>
            <p:nvPr userDrawn="1"/>
          </p:nvSpPr>
          <p:spPr bwMode="auto">
            <a:xfrm>
              <a:off x="8332788" y="2082349"/>
              <a:ext cx="163513" cy="279400"/>
            </a:xfrm>
            <a:custGeom>
              <a:avLst/>
              <a:gdLst>
                <a:gd name="T0" fmla="*/ 22 w 85"/>
                <a:gd name="T1" fmla="*/ 120 h 145"/>
                <a:gd name="T2" fmla="*/ 57 w 85"/>
                <a:gd name="T3" fmla="*/ 142 h 145"/>
                <a:gd name="T4" fmla="*/ 60 w 85"/>
                <a:gd name="T5" fmla="*/ 141 h 145"/>
                <a:gd name="T6" fmla="*/ 81 w 85"/>
                <a:gd name="T7" fmla="*/ 106 h 145"/>
                <a:gd name="T8" fmla="*/ 63 w 85"/>
                <a:gd name="T9" fmla="*/ 26 h 145"/>
                <a:gd name="T10" fmla="*/ 28 w 85"/>
                <a:gd name="T11" fmla="*/ 4 h 145"/>
                <a:gd name="T12" fmla="*/ 25 w 85"/>
                <a:gd name="T13" fmla="*/ 5 h 145"/>
                <a:gd name="T14" fmla="*/ 3 w 85"/>
                <a:gd name="T15" fmla="*/ 40 h 145"/>
                <a:gd name="T16" fmla="*/ 22 w 85"/>
                <a:gd name="T17" fmla="*/ 12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45">
                  <a:moveTo>
                    <a:pt x="22" y="120"/>
                  </a:moveTo>
                  <a:cubicBezTo>
                    <a:pt x="26" y="136"/>
                    <a:pt x="42" y="145"/>
                    <a:pt x="57" y="142"/>
                  </a:cubicBezTo>
                  <a:cubicBezTo>
                    <a:pt x="60" y="141"/>
                    <a:pt x="60" y="141"/>
                    <a:pt x="60" y="141"/>
                  </a:cubicBezTo>
                  <a:cubicBezTo>
                    <a:pt x="75" y="137"/>
                    <a:pt x="85" y="122"/>
                    <a:pt x="81" y="106"/>
                  </a:cubicBezTo>
                  <a:cubicBezTo>
                    <a:pt x="63" y="26"/>
                    <a:pt x="63" y="26"/>
                    <a:pt x="63" y="26"/>
                  </a:cubicBezTo>
                  <a:cubicBezTo>
                    <a:pt x="59" y="10"/>
                    <a:pt x="43" y="0"/>
                    <a:pt x="28" y="4"/>
                  </a:cubicBezTo>
                  <a:cubicBezTo>
                    <a:pt x="25" y="5"/>
                    <a:pt x="25" y="5"/>
                    <a:pt x="25" y="5"/>
                  </a:cubicBezTo>
                  <a:cubicBezTo>
                    <a:pt x="9" y="8"/>
                    <a:pt x="0" y="24"/>
                    <a:pt x="3" y="40"/>
                  </a:cubicBezTo>
                  <a:lnTo>
                    <a:pt x="22" y="120"/>
                  </a:ln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Freeform 38"/>
            <p:cNvSpPr>
              <a:spLocks/>
            </p:cNvSpPr>
            <p:nvPr userDrawn="1"/>
          </p:nvSpPr>
          <p:spPr bwMode="auto">
            <a:xfrm>
              <a:off x="8218488" y="2109337"/>
              <a:ext cx="165100" cy="279400"/>
            </a:xfrm>
            <a:custGeom>
              <a:avLst/>
              <a:gdLst>
                <a:gd name="T0" fmla="*/ 23 w 86"/>
                <a:gd name="T1" fmla="*/ 120 h 145"/>
                <a:gd name="T2" fmla="*/ 58 w 86"/>
                <a:gd name="T3" fmla="*/ 142 h 145"/>
                <a:gd name="T4" fmla="*/ 61 w 86"/>
                <a:gd name="T5" fmla="*/ 141 h 145"/>
                <a:gd name="T6" fmla="*/ 82 w 86"/>
                <a:gd name="T7" fmla="*/ 106 h 145"/>
                <a:gd name="T8" fmla="*/ 63 w 86"/>
                <a:gd name="T9" fmla="*/ 26 h 145"/>
                <a:gd name="T10" fmla="*/ 28 w 86"/>
                <a:gd name="T11" fmla="*/ 4 h 145"/>
                <a:gd name="T12" fmla="*/ 26 w 86"/>
                <a:gd name="T13" fmla="*/ 5 h 145"/>
                <a:gd name="T14" fmla="*/ 4 w 86"/>
                <a:gd name="T15" fmla="*/ 40 h 145"/>
                <a:gd name="T16" fmla="*/ 23 w 86"/>
                <a:gd name="T17" fmla="*/ 12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145">
                  <a:moveTo>
                    <a:pt x="23" y="120"/>
                  </a:moveTo>
                  <a:cubicBezTo>
                    <a:pt x="27" y="136"/>
                    <a:pt x="42" y="145"/>
                    <a:pt x="58" y="142"/>
                  </a:cubicBezTo>
                  <a:cubicBezTo>
                    <a:pt x="61" y="141"/>
                    <a:pt x="61" y="141"/>
                    <a:pt x="61" y="141"/>
                  </a:cubicBezTo>
                  <a:cubicBezTo>
                    <a:pt x="76" y="137"/>
                    <a:pt x="86" y="122"/>
                    <a:pt x="82" y="106"/>
                  </a:cubicBezTo>
                  <a:cubicBezTo>
                    <a:pt x="63" y="26"/>
                    <a:pt x="63" y="26"/>
                    <a:pt x="63" y="26"/>
                  </a:cubicBezTo>
                  <a:cubicBezTo>
                    <a:pt x="60" y="10"/>
                    <a:pt x="44" y="0"/>
                    <a:pt x="28" y="4"/>
                  </a:cubicBezTo>
                  <a:cubicBezTo>
                    <a:pt x="26" y="5"/>
                    <a:pt x="26" y="5"/>
                    <a:pt x="26" y="5"/>
                  </a:cubicBezTo>
                  <a:cubicBezTo>
                    <a:pt x="10" y="8"/>
                    <a:pt x="0" y="24"/>
                    <a:pt x="4" y="40"/>
                  </a:cubicBezTo>
                  <a:lnTo>
                    <a:pt x="23" y="120"/>
                  </a:ln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39"/>
            <p:cNvSpPr>
              <a:spLocks/>
            </p:cNvSpPr>
            <p:nvPr userDrawn="1"/>
          </p:nvSpPr>
          <p:spPr bwMode="auto">
            <a:xfrm>
              <a:off x="8112125" y="2134737"/>
              <a:ext cx="163513" cy="279400"/>
            </a:xfrm>
            <a:custGeom>
              <a:avLst/>
              <a:gdLst>
                <a:gd name="T0" fmla="*/ 22 w 85"/>
                <a:gd name="T1" fmla="*/ 120 h 145"/>
                <a:gd name="T2" fmla="*/ 57 w 85"/>
                <a:gd name="T3" fmla="*/ 142 h 145"/>
                <a:gd name="T4" fmla="*/ 60 w 85"/>
                <a:gd name="T5" fmla="*/ 141 h 145"/>
                <a:gd name="T6" fmla="*/ 82 w 85"/>
                <a:gd name="T7" fmla="*/ 106 h 145"/>
                <a:gd name="T8" fmla="*/ 63 w 85"/>
                <a:gd name="T9" fmla="*/ 26 h 145"/>
                <a:gd name="T10" fmla="*/ 28 w 85"/>
                <a:gd name="T11" fmla="*/ 4 h 145"/>
                <a:gd name="T12" fmla="*/ 25 w 85"/>
                <a:gd name="T13" fmla="*/ 5 h 145"/>
                <a:gd name="T14" fmla="*/ 3 w 85"/>
                <a:gd name="T15" fmla="*/ 40 h 145"/>
                <a:gd name="T16" fmla="*/ 22 w 85"/>
                <a:gd name="T17" fmla="*/ 12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45">
                  <a:moveTo>
                    <a:pt x="22" y="120"/>
                  </a:moveTo>
                  <a:cubicBezTo>
                    <a:pt x="26" y="136"/>
                    <a:pt x="42" y="145"/>
                    <a:pt x="57" y="142"/>
                  </a:cubicBezTo>
                  <a:cubicBezTo>
                    <a:pt x="60" y="141"/>
                    <a:pt x="60" y="141"/>
                    <a:pt x="60" y="141"/>
                  </a:cubicBezTo>
                  <a:cubicBezTo>
                    <a:pt x="76" y="138"/>
                    <a:pt x="85" y="122"/>
                    <a:pt x="82" y="106"/>
                  </a:cubicBezTo>
                  <a:cubicBezTo>
                    <a:pt x="63" y="26"/>
                    <a:pt x="63" y="26"/>
                    <a:pt x="63" y="26"/>
                  </a:cubicBezTo>
                  <a:cubicBezTo>
                    <a:pt x="59" y="10"/>
                    <a:pt x="43" y="0"/>
                    <a:pt x="28" y="4"/>
                  </a:cubicBezTo>
                  <a:cubicBezTo>
                    <a:pt x="25" y="5"/>
                    <a:pt x="25" y="5"/>
                    <a:pt x="25" y="5"/>
                  </a:cubicBezTo>
                  <a:cubicBezTo>
                    <a:pt x="9" y="8"/>
                    <a:pt x="0" y="24"/>
                    <a:pt x="3" y="40"/>
                  </a:cubicBezTo>
                  <a:lnTo>
                    <a:pt x="22" y="120"/>
                  </a:ln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Freeform 40"/>
            <p:cNvSpPr>
              <a:spLocks/>
            </p:cNvSpPr>
            <p:nvPr userDrawn="1"/>
          </p:nvSpPr>
          <p:spPr bwMode="auto">
            <a:xfrm>
              <a:off x="8389938" y="2268087"/>
              <a:ext cx="317500" cy="395287"/>
            </a:xfrm>
            <a:custGeom>
              <a:avLst/>
              <a:gdLst>
                <a:gd name="T0" fmla="*/ 29 w 165"/>
                <a:gd name="T1" fmla="*/ 167 h 206"/>
                <a:gd name="T2" fmla="*/ 61 w 165"/>
                <a:gd name="T3" fmla="*/ 202 h 206"/>
                <a:gd name="T4" fmla="*/ 140 w 165"/>
                <a:gd name="T5" fmla="*/ 174 h 206"/>
                <a:gd name="T6" fmla="*/ 161 w 165"/>
                <a:gd name="T7" fmla="*/ 106 h 206"/>
                <a:gd name="T8" fmla="*/ 142 w 165"/>
                <a:gd name="T9" fmla="*/ 25 h 206"/>
                <a:gd name="T10" fmla="*/ 107 w 165"/>
                <a:gd name="T11" fmla="*/ 4 h 206"/>
                <a:gd name="T12" fmla="*/ 105 w 165"/>
                <a:gd name="T13" fmla="*/ 4 h 206"/>
                <a:gd name="T14" fmla="*/ 83 w 165"/>
                <a:gd name="T15" fmla="*/ 39 h 206"/>
                <a:gd name="T16" fmla="*/ 99 w 165"/>
                <a:gd name="T17" fmla="*/ 108 h 206"/>
                <a:gd name="T18" fmla="*/ 29 w 165"/>
                <a:gd name="T19" fmla="*/ 16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5" h="206">
                  <a:moveTo>
                    <a:pt x="29" y="167"/>
                  </a:moveTo>
                  <a:cubicBezTo>
                    <a:pt x="0" y="191"/>
                    <a:pt x="37" y="198"/>
                    <a:pt x="61" y="202"/>
                  </a:cubicBezTo>
                  <a:cubicBezTo>
                    <a:pt x="86" y="206"/>
                    <a:pt x="115" y="197"/>
                    <a:pt x="140" y="174"/>
                  </a:cubicBezTo>
                  <a:cubicBezTo>
                    <a:pt x="165" y="150"/>
                    <a:pt x="165" y="121"/>
                    <a:pt x="161" y="106"/>
                  </a:cubicBezTo>
                  <a:cubicBezTo>
                    <a:pt x="142" y="25"/>
                    <a:pt x="142" y="25"/>
                    <a:pt x="142" y="25"/>
                  </a:cubicBezTo>
                  <a:cubicBezTo>
                    <a:pt x="138" y="10"/>
                    <a:pt x="123" y="0"/>
                    <a:pt x="107" y="4"/>
                  </a:cubicBezTo>
                  <a:cubicBezTo>
                    <a:pt x="105" y="4"/>
                    <a:pt x="105" y="4"/>
                    <a:pt x="105" y="4"/>
                  </a:cubicBezTo>
                  <a:cubicBezTo>
                    <a:pt x="89" y="8"/>
                    <a:pt x="79" y="24"/>
                    <a:pt x="83" y="39"/>
                  </a:cubicBezTo>
                  <a:cubicBezTo>
                    <a:pt x="99" y="108"/>
                    <a:pt x="99" y="108"/>
                    <a:pt x="99" y="108"/>
                  </a:cubicBezTo>
                  <a:cubicBezTo>
                    <a:pt x="99" y="108"/>
                    <a:pt x="58" y="143"/>
                    <a:pt x="29" y="167"/>
                  </a:cubicBezTo>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41"/>
            <p:cNvSpPr>
              <a:spLocks/>
            </p:cNvSpPr>
            <p:nvPr userDrawn="1"/>
          </p:nvSpPr>
          <p:spPr bwMode="auto">
            <a:xfrm>
              <a:off x="10560050" y="3971474"/>
              <a:ext cx="608013" cy="742950"/>
            </a:xfrm>
            <a:custGeom>
              <a:avLst/>
              <a:gdLst>
                <a:gd name="T0" fmla="*/ 160 w 316"/>
                <a:gd name="T1" fmla="*/ 74 h 386"/>
                <a:gd name="T2" fmla="*/ 0 w 316"/>
                <a:gd name="T3" fmla="*/ 0 h 386"/>
                <a:gd name="T4" fmla="*/ 0 w 316"/>
                <a:gd name="T5" fmla="*/ 386 h 386"/>
                <a:gd name="T6" fmla="*/ 316 w 316"/>
                <a:gd name="T7" fmla="*/ 386 h 386"/>
                <a:gd name="T8" fmla="*/ 316 w 316"/>
                <a:gd name="T9" fmla="*/ 5 h 386"/>
                <a:gd name="T10" fmla="*/ 160 w 316"/>
                <a:gd name="T11" fmla="*/ 74 h 386"/>
              </a:gdLst>
              <a:ahLst/>
              <a:cxnLst>
                <a:cxn ang="0">
                  <a:pos x="T0" y="T1"/>
                </a:cxn>
                <a:cxn ang="0">
                  <a:pos x="T2" y="T3"/>
                </a:cxn>
                <a:cxn ang="0">
                  <a:pos x="T4" y="T5"/>
                </a:cxn>
                <a:cxn ang="0">
                  <a:pos x="T6" y="T7"/>
                </a:cxn>
                <a:cxn ang="0">
                  <a:pos x="T8" y="T9"/>
                </a:cxn>
                <a:cxn ang="0">
                  <a:pos x="T10" y="T11"/>
                </a:cxn>
              </a:cxnLst>
              <a:rect l="0" t="0" r="r" b="b"/>
              <a:pathLst>
                <a:path w="316" h="386">
                  <a:moveTo>
                    <a:pt x="160" y="74"/>
                  </a:moveTo>
                  <a:cubicBezTo>
                    <a:pt x="73" y="74"/>
                    <a:pt x="28" y="48"/>
                    <a:pt x="0" y="0"/>
                  </a:cubicBezTo>
                  <a:cubicBezTo>
                    <a:pt x="0" y="386"/>
                    <a:pt x="0" y="386"/>
                    <a:pt x="0" y="386"/>
                  </a:cubicBezTo>
                  <a:cubicBezTo>
                    <a:pt x="316" y="386"/>
                    <a:pt x="316" y="386"/>
                    <a:pt x="316" y="386"/>
                  </a:cubicBezTo>
                  <a:cubicBezTo>
                    <a:pt x="316" y="5"/>
                    <a:pt x="316" y="5"/>
                    <a:pt x="316" y="5"/>
                  </a:cubicBezTo>
                  <a:cubicBezTo>
                    <a:pt x="280" y="50"/>
                    <a:pt x="243" y="74"/>
                    <a:pt x="160" y="74"/>
                  </a:cubicBezTo>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42"/>
            <p:cNvSpPr>
              <a:spLocks/>
            </p:cNvSpPr>
            <p:nvPr userDrawn="1"/>
          </p:nvSpPr>
          <p:spPr bwMode="auto">
            <a:xfrm>
              <a:off x="10560050" y="3942899"/>
              <a:ext cx="608013" cy="171450"/>
            </a:xfrm>
            <a:custGeom>
              <a:avLst/>
              <a:gdLst>
                <a:gd name="T0" fmla="*/ 160 w 316"/>
                <a:gd name="T1" fmla="*/ 74 h 89"/>
                <a:gd name="T2" fmla="*/ 0 w 316"/>
                <a:gd name="T3" fmla="*/ 0 h 89"/>
                <a:gd name="T4" fmla="*/ 0 w 316"/>
                <a:gd name="T5" fmla="*/ 15 h 89"/>
                <a:gd name="T6" fmla="*/ 160 w 316"/>
                <a:gd name="T7" fmla="*/ 89 h 89"/>
                <a:gd name="T8" fmla="*/ 316 w 316"/>
                <a:gd name="T9" fmla="*/ 20 h 89"/>
                <a:gd name="T10" fmla="*/ 316 w 316"/>
                <a:gd name="T11" fmla="*/ 5 h 89"/>
                <a:gd name="T12" fmla="*/ 160 w 316"/>
                <a:gd name="T13" fmla="*/ 74 h 89"/>
              </a:gdLst>
              <a:ahLst/>
              <a:cxnLst>
                <a:cxn ang="0">
                  <a:pos x="T0" y="T1"/>
                </a:cxn>
                <a:cxn ang="0">
                  <a:pos x="T2" y="T3"/>
                </a:cxn>
                <a:cxn ang="0">
                  <a:pos x="T4" y="T5"/>
                </a:cxn>
                <a:cxn ang="0">
                  <a:pos x="T6" y="T7"/>
                </a:cxn>
                <a:cxn ang="0">
                  <a:pos x="T8" y="T9"/>
                </a:cxn>
                <a:cxn ang="0">
                  <a:pos x="T10" y="T11"/>
                </a:cxn>
                <a:cxn ang="0">
                  <a:pos x="T12" y="T13"/>
                </a:cxn>
              </a:cxnLst>
              <a:rect l="0" t="0" r="r" b="b"/>
              <a:pathLst>
                <a:path w="316" h="89">
                  <a:moveTo>
                    <a:pt x="160" y="74"/>
                  </a:moveTo>
                  <a:cubicBezTo>
                    <a:pt x="73" y="74"/>
                    <a:pt x="33" y="48"/>
                    <a:pt x="0" y="0"/>
                  </a:cubicBezTo>
                  <a:cubicBezTo>
                    <a:pt x="0" y="15"/>
                    <a:pt x="0" y="15"/>
                    <a:pt x="0" y="15"/>
                  </a:cubicBezTo>
                  <a:cubicBezTo>
                    <a:pt x="28" y="63"/>
                    <a:pt x="73" y="89"/>
                    <a:pt x="160" y="89"/>
                  </a:cubicBezTo>
                  <a:cubicBezTo>
                    <a:pt x="243" y="89"/>
                    <a:pt x="280" y="65"/>
                    <a:pt x="316" y="20"/>
                  </a:cubicBezTo>
                  <a:cubicBezTo>
                    <a:pt x="316" y="5"/>
                    <a:pt x="316" y="5"/>
                    <a:pt x="316" y="5"/>
                  </a:cubicBezTo>
                  <a:cubicBezTo>
                    <a:pt x="283" y="50"/>
                    <a:pt x="244" y="74"/>
                    <a:pt x="160" y="74"/>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43"/>
            <p:cNvSpPr>
              <a:spLocks/>
            </p:cNvSpPr>
            <p:nvPr userDrawn="1"/>
          </p:nvSpPr>
          <p:spPr bwMode="auto">
            <a:xfrm>
              <a:off x="10223500" y="2799899"/>
              <a:ext cx="1289050" cy="1285875"/>
            </a:xfrm>
            <a:custGeom>
              <a:avLst/>
              <a:gdLst>
                <a:gd name="T0" fmla="*/ 651 w 670"/>
                <a:gd name="T1" fmla="*/ 230 h 668"/>
                <a:gd name="T2" fmla="*/ 632 w 670"/>
                <a:gd name="T3" fmla="*/ 222 h 668"/>
                <a:gd name="T4" fmla="*/ 629 w 670"/>
                <a:gd name="T5" fmla="*/ 242 h 668"/>
                <a:gd name="T6" fmla="*/ 629 w 670"/>
                <a:gd name="T7" fmla="*/ 244 h 668"/>
                <a:gd name="T8" fmla="*/ 611 w 670"/>
                <a:gd name="T9" fmla="*/ 327 h 668"/>
                <a:gd name="T10" fmla="*/ 603 w 670"/>
                <a:gd name="T11" fmla="*/ 327 h 668"/>
                <a:gd name="T12" fmla="*/ 600 w 670"/>
                <a:gd name="T13" fmla="*/ 172 h 668"/>
                <a:gd name="T14" fmla="*/ 498 w 670"/>
                <a:gd name="T15" fmla="*/ 1 h 668"/>
                <a:gd name="T16" fmla="*/ 496 w 670"/>
                <a:gd name="T17" fmla="*/ 0 h 668"/>
                <a:gd name="T18" fmla="*/ 175 w 670"/>
                <a:gd name="T19" fmla="*/ 39 h 668"/>
                <a:gd name="T20" fmla="*/ 153 w 670"/>
                <a:gd name="T21" fmla="*/ 33 h 668"/>
                <a:gd name="T22" fmla="*/ 113 w 670"/>
                <a:gd name="T23" fmla="*/ 75 h 668"/>
                <a:gd name="T24" fmla="*/ 71 w 670"/>
                <a:gd name="T25" fmla="*/ 172 h 668"/>
                <a:gd name="T26" fmla="*/ 68 w 670"/>
                <a:gd name="T27" fmla="*/ 327 h 668"/>
                <a:gd name="T28" fmla="*/ 60 w 670"/>
                <a:gd name="T29" fmla="*/ 327 h 668"/>
                <a:gd name="T30" fmla="*/ 49 w 670"/>
                <a:gd name="T31" fmla="*/ 282 h 668"/>
                <a:gd name="T32" fmla="*/ 49 w 670"/>
                <a:gd name="T33" fmla="*/ 282 h 668"/>
                <a:gd name="T34" fmla="*/ 48 w 670"/>
                <a:gd name="T35" fmla="*/ 277 h 668"/>
                <a:gd name="T36" fmla="*/ 47 w 670"/>
                <a:gd name="T37" fmla="*/ 270 h 668"/>
                <a:gd name="T38" fmla="*/ 46 w 670"/>
                <a:gd name="T39" fmla="*/ 264 h 668"/>
                <a:gd name="T40" fmla="*/ 44 w 670"/>
                <a:gd name="T41" fmla="*/ 255 h 668"/>
                <a:gd name="T42" fmla="*/ 43 w 670"/>
                <a:gd name="T43" fmla="*/ 250 h 668"/>
                <a:gd name="T44" fmla="*/ 42 w 670"/>
                <a:gd name="T45" fmla="*/ 241 h 668"/>
                <a:gd name="T46" fmla="*/ 41 w 670"/>
                <a:gd name="T47" fmla="*/ 236 h 668"/>
                <a:gd name="T48" fmla="*/ 39 w 670"/>
                <a:gd name="T49" fmla="*/ 222 h 668"/>
                <a:gd name="T50" fmla="*/ 19 w 670"/>
                <a:gd name="T51" fmla="*/ 230 h 668"/>
                <a:gd name="T52" fmla="*/ 54 w 670"/>
                <a:gd name="T53" fmla="*/ 386 h 668"/>
                <a:gd name="T54" fmla="*/ 78 w 670"/>
                <a:gd name="T55" fmla="*/ 394 h 668"/>
                <a:gd name="T56" fmla="*/ 117 w 670"/>
                <a:gd name="T57" fmla="*/ 493 h 668"/>
                <a:gd name="T58" fmla="*/ 175 w 670"/>
                <a:gd name="T59" fmla="*/ 594 h 668"/>
                <a:gd name="T60" fmla="*/ 335 w 670"/>
                <a:gd name="T61" fmla="*/ 668 h 668"/>
                <a:gd name="T62" fmla="*/ 491 w 670"/>
                <a:gd name="T63" fmla="*/ 599 h 668"/>
                <a:gd name="T64" fmla="*/ 553 w 670"/>
                <a:gd name="T65" fmla="*/ 493 h 668"/>
                <a:gd name="T66" fmla="*/ 593 w 670"/>
                <a:gd name="T67" fmla="*/ 394 h 668"/>
                <a:gd name="T68" fmla="*/ 616 w 670"/>
                <a:gd name="T69" fmla="*/ 386 h 668"/>
                <a:gd name="T70" fmla="*/ 651 w 670"/>
                <a:gd name="T71" fmla="*/ 230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0" h="668">
                  <a:moveTo>
                    <a:pt x="651" y="230"/>
                  </a:moveTo>
                  <a:cubicBezTo>
                    <a:pt x="645" y="223"/>
                    <a:pt x="638" y="221"/>
                    <a:pt x="632" y="222"/>
                  </a:cubicBezTo>
                  <a:cubicBezTo>
                    <a:pt x="631" y="229"/>
                    <a:pt x="630" y="235"/>
                    <a:pt x="629" y="242"/>
                  </a:cubicBezTo>
                  <a:cubicBezTo>
                    <a:pt x="629" y="242"/>
                    <a:pt x="629" y="243"/>
                    <a:pt x="629" y="244"/>
                  </a:cubicBezTo>
                  <a:cubicBezTo>
                    <a:pt x="624" y="271"/>
                    <a:pt x="618" y="299"/>
                    <a:pt x="611" y="327"/>
                  </a:cubicBezTo>
                  <a:cubicBezTo>
                    <a:pt x="603" y="327"/>
                    <a:pt x="603" y="327"/>
                    <a:pt x="603" y="327"/>
                  </a:cubicBezTo>
                  <a:cubicBezTo>
                    <a:pt x="608" y="283"/>
                    <a:pt x="611" y="223"/>
                    <a:pt x="600" y="172"/>
                  </a:cubicBezTo>
                  <a:cubicBezTo>
                    <a:pt x="586" y="108"/>
                    <a:pt x="553" y="97"/>
                    <a:pt x="498" y="1"/>
                  </a:cubicBezTo>
                  <a:cubicBezTo>
                    <a:pt x="497" y="1"/>
                    <a:pt x="497" y="0"/>
                    <a:pt x="496" y="0"/>
                  </a:cubicBezTo>
                  <a:cubicBezTo>
                    <a:pt x="495" y="1"/>
                    <a:pt x="306" y="71"/>
                    <a:pt x="175" y="39"/>
                  </a:cubicBezTo>
                  <a:cubicBezTo>
                    <a:pt x="167" y="37"/>
                    <a:pt x="160" y="35"/>
                    <a:pt x="153" y="33"/>
                  </a:cubicBezTo>
                  <a:cubicBezTo>
                    <a:pt x="139" y="43"/>
                    <a:pt x="125" y="57"/>
                    <a:pt x="113" y="75"/>
                  </a:cubicBezTo>
                  <a:cubicBezTo>
                    <a:pt x="94" y="102"/>
                    <a:pt x="78" y="136"/>
                    <a:pt x="71" y="172"/>
                  </a:cubicBezTo>
                  <a:cubicBezTo>
                    <a:pt x="60" y="223"/>
                    <a:pt x="63" y="283"/>
                    <a:pt x="68" y="327"/>
                  </a:cubicBezTo>
                  <a:cubicBezTo>
                    <a:pt x="60" y="327"/>
                    <a:pt x="60" y="327"/>
                    <a:pt x="60" y="327"/>
                  </a:cubicBezTo>
                  <a:cubicBezTo>
                    <a:pt x="56" y="311"/>
                    <a:pt x="52" y="297"/>
                    <a:pt x="49" y="282"/>
                  </a:cubicBezTo>
                  <a:cubicBezTo>
                    <a:pt x="49" y="282"/>
                    <a:pt x="49" y="282"/>
                    <a:pt x="49" y="282"/>
                  </a:cubicBezTo>
                  <a:cubicBezTo>
                    <a:pt x="49" y="281"/>
                    <a:pt x="49" y="279"/>
                    <a:pt x="48" y="277"/>
                  </a:cubicBezTo>
                  <a:cubicBezTo>
                    <a:pt x="48" y="275"/>
                    <a:pt x="47" y="272"/>
                    <a:pt x="47" y="270"/>
                  </a:cubicBezTo>
                  <a:cubicBezTo>
                    <a:pt x="46" y="268"/>
                    <a:pt x="46" y="266"/>
                    <a:pt x="46" y="264"/>
                  </a:cubicBezTo>
                  <a:cubicBezTo>
                    <a:pt x="45" y="261"/>
                    <a:pt x="45" y="258"/>
                    <a:pt x="44" y="255"/>
                  </a:cubicBezTo>
                  <a:cubicBezTo>
                    <a:pt x="44" y="253"/>
                    <a:pt x="43" y="252"/>
                    <a:pt x="43" y="250"/>
                  </a:cubicBezTo>
                  <a:cubicBezTo>
                    <a:pt x="43" y="247"/>
                    <a:pt x="42" y="244"/>
                    <a:pt x="42" y="241"/>
                  </a:cubicBezTo>
                  <a:cubicBezTo>
                    <a:pt x="41" y="239"/>
                    <a:pt x="41" y="237"/>
                    <a:pt x="41" y="236"/>
                  </a:cubicBezTo>
                  <a:cubicBezTo>
                    <a:pt x="40" y="231"/>
                    <a:pt x="39" y="227"/>
                    <a:pt x="39" y="222"/>
                  </a:cubicBezTo>
                  <a:cubicBezTo>
                    <a:pt x="33" y="221"/>
                    <a:pt x="26" y="223"/>
                    <a:pt x="19" y="230"/>
                  </a:cubicBezTo>
                  <a:cubicBezTo>
                    <a:pt x="0" y="253"/>
                    <a:pt x="29" y="364"/>
                    <a:pt x="54" y="386"/>
                  </a:cubicBezTo>
                  <a:cubicBezTo>
                    <a:pt x="63" y="394"/>
                    <a:pt x="71" y="396"/>
                    <a:pt x="78" y="394"/>
                  </a:cubicBezTo>
                  <a:cubicBezTo>
                    <a:pt x="88" y="429"/>
                    <a:pt x="100" y="463"/>
                    <a:pt x="117" y="493"/>
                  </a:cubicBezTo>
                  <a:cubicBezTo>
                    <a:pt x="140" y="533"/>
                    <a:pt x="156" y="567"/>
                    <a:pt x="175" y="594"/>
                  </a:cubicBezTo>
                  <a:cubicBezTo>
                    <a:pt x="208" y="642"/>
                    <a:pt x="248" y="668"/>
                    <a:pt x="335" y="668"/>
                  </a:cubicBezTo>
                  <a:cubicBezTo>
                    <a:pt x="419" y="668"/>
                    <a:pt x="458" y="644"/>
                    <a:pt x="491" y="599"/>
                  </a:cubicBezTo>
                  <a:cubicBezTo>
                    <a:pt x="512" y="571"/>
                    <a:pt x="529" y="536"/>
                    <a:pt x="553" y="493"/>
                  </a:cubicBezTo>
                  <a:cubicBezTo>
                    <a:pt x="570" y="463"/>
                    <a:pt x="583" y="429"/>
                    <a:pt x="593" y="394"/>
                  </a:cubicBezTo>
                  <a:cubicBezTo>
                    <a:pt x="600" y="396"/>
                    <a:pt x="608" y="394"/>
                    <a:pt x="616" y="386"/>
                  </a:cubicBezTo>
                  <a:cubicBezTo>
                    <a:pt x="642" y="364"/>
                    <a:pt x="670" y="253"/>
                    <a:pt x="651" y="230"/>
                  </a:cubicBezTo>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Freeform 44"/>
            <p:cNvSpPr>
              <a:spLocks/>
            </p:cNvSpPr>
            <p:nvPr userDrawn="1"/>
          </p:nvSpPr>
          <p:spPr bwMode="auto">
            <a:xfrm>
              <a:off x="10196513" y="2390324"/>
              <a:ext cx="1265238" cy="1039812"/>
            </a:xfrm>
            <a:custGeom>
              <a:avLst/>
              <a:gdLst>
                <a:gd name="T0" fmla="*/ 56 w 657"/>
                <a:gd name="T1" fmla="*/ 454 h 540"/>
                <a:gd name="T2" fmla="*/ 57 w 657"/>
                <a:gd name="T3" fmla="*/ 463 h 540"/>
                <a:gd name="T4" fmla="*/ 58 w 657"/>
                <a:gd name="T5" fmla="*/ 468 h 540"/>
                <a:gd name="T6" fmla="*/ 60 w 657"/>
                <a:gd name="T7" fmla="*/ 477 h 540"/>
                <a:gd name="T8" fmla="*/ 61 w 657"/>
                <a:gd name="T9" fmla="*/ 483 h 540"/>
                <a:gd name="T10" fmla="*/ 62 w 657"/>
                <a:gd name="T11" fmla="*/ 490 h 540"/>
                <a:gd name="T12" fmla="*/ 63 w 657"/>
                <a:gd name="T13" fmla="*/ 495 h 540"/>
                <a:gd name="T14" fmla="*/ 74 w 657"/>
                <a:gd name="T15" fmla="*/ 540 h 540"/>
                <a:gd name="T16" fmla="*/ 82 w 657"/>
                <a:gd name="T17" fmla="*/ 540 h 540"/>
                <a:gd name="T18" fmla="*/ 85 w 657"/>
                <a:gd name="T19" fmla="*/ 385 h 540"/>
                <a:gd name="T20" fmla="*/ 127 w 657"/>
                <a:gd name="T21" fmla="*/ 288 h 540"/>
                <a:gd name="T22" fmla="*/ 167 w 657"/>
                <a:gd name="T23" fmla="*/ 246 h 540"/>
                <a:gd name="T24" fmla="*/ 189 w 657"/>
                <a:gd name="T25" fmla="*/ 252 h 540"/>
                <a:gd name="T26" fmla="*/ 510 w 657"/>
                <a:gd name="T27" fmla="*/ 213 h 540"/>
                <a:gd name="T28" fmla="*/ 512 w 657"/>
                <a:gd name="T29" fmla="*/ 214 h 540"/>
                <a:gd name="T30" fmla="*/ 614 w 657"/>
                <a:gd name="T31" fmla="*/ 385 h 540"/>
                <a:gd name="T32" fmla="*/ 617 w 657"/>
                <a:gd name="T33" fmla="*/ 540 h 540"/>
                <a:gd name="T34" fmla="*/ 625 w 657"/>
                <a:gd name="T35" fmla="*/ 540 h 540"/>
                <a:gd name="T36" fmla="*/ 643 w 657"/>
                <a:gd name="T37" fmla="*/ 457 h 540"/>
                <a:gd name="T38" fmla="*/ 643 w 657"/>
                <a:gd name="T39" fmla="*/ 455 h 540"/>
                <a:gd name="T40" fmla="*/ 646 w 657"/>
                <a:gd name="T41" fmla="*/ 435 h 540"/>
                <a:gd name="T42" fmla="*/ 621 w 657"/>
                <a:gd name="T43" fmla="*/ 207 h 540"/>
                <a:gd name="T44" fmla="*/ 525 w 657"/>
                <a:gd name="T45" fmla="*/ 111 h 540"/>
                <a:gd name="T46" fmla="*/ 361 w 657"/>
                <a:gd name="T47" fmla="*/ 32 h 540"/>
                <a:gd name="T48" fmla="*/ 0 w 657"/>
                <a:gd name="T49" fmla="*/ 67 h 540"/>
                <a:gd name="T50" fmla="*/ 81 w 657"/>
                <a:gd name="T51" fmla="*/ 201 h 540"/>
                <a:gd name="T52" fmla="*/ 78 w 657"/>
                <a:gd name="T53" fmla="*/ 207 h 540"/>
                <a:gd name="T54" fmla="*/ 53 w 657"/>
                <a:gd name="T55" fmla="*/ 435 h 540"/>
                <a:gd name="T56" fmla="*/ 55 w 657"/>
                <a:gd name="T57" fmla="*/ 449 h 540"/>
                <a:gd name="T58" fmla="*/ 56 w 657"/>
                <a:gd name="T59" fmla="*/ 454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57" h="540">
                  <a:moveTo>
                    <a:pt x="56" y="454"/>
                  </a:moveTo>
                  <a:cubicBezTo>
                    <a:pt x="56" y="457"/>
                    <a:pt x="57" y="460"/>
                    <a:pt x="57" y="463"/>
                  </a:cubicBezTo>
                  <a:cubicBezTo>
                    <a:pt x="57" y="465"/>
                    <a:pt x="58" y="466"/>
                    <a:pt x="58" y="468"/>
                  </a:cubicBezTo>
                  <a:cubicBezTo>
                    <a:pt x="59" y="471"/>
                    <a:pt x="59" y="474"/>
                    <a:pt x="60" y="477"/>
                  </a:cubicBezTo>
                  <a:cubicBezTo>
                    <a:pt x="60" y="479"/>
                    <a:pt x="60" y="481"/>
                    <a:pt x="61" y="483"/>
                  </a:cubicBezTo>
                  <a:cubicBezTo>
                    <a:pt x="61" y="485"/>
                    <a:pt x="62" y="488"/>
                    <a:pt x="62" y="490"/>
                  </a:cubicBezTo>
                  <a:cubicBezTo>
                    <a:pt x="63" y="492"/>
                    <a:pt x="63" y="494"/>
                    <a:pt x="63" y="495"/>
                  </a:cubicBezTo>
                  <a:cubicBezTo>
                    <a:pt x="66" y="510"/>
                    <a:pt x="70" y="524"/>
                    <a:pt x="74" y="540"/>
                  </a:cubicBezTo>
                  <a:cubicBezTo>
                    <a:pt x="82" y="540"/>
                    <a:pt x="82" y="540"/>
                    <a:pt x="82" y="540"/>
                  </a:cubicBezTo>
                  <a:cubicBezTo>
                    <a:pt x="77" y="496"/>
                    <a:pt x="74" y="436"/>
                    <a:pt x="85" y="385"/>
                  </a:cubicBezTo>
                  <a:cubicBezTo>
                    <a:pt x="92" y="349"/>
                    <a:pt x="108" y="315"/>
                    <a:pt x="127" y="288"/>
                  </a:cubicBezTo>
                  <a:cubicBezTo>
                    <a:pt x="139" y="271"/>
                    <a:pt x="153" y="256"/>
                    <a:pt x="167" y="246"/>
                  </a:cubicBezTo>
                  <a:cubicBezTo>
                    <a:pt x="174" y="248"/>
                    <a:pt x="181" y="250"/>
                    <a:pt x="189" y="252"/>
                  </a:cubicBezTo>
                  <a:cubicBezTo>
                    <a:pt x="320" y="284"/>
                    <a:pt x="509" y="213"/>
                    <a:pt x="510" y="213"/>
                  </a:cubicBezTo>
                  <a:cubicBezTo>
                    <a:pt x="511" y="213"/>
                    <a:pt x="511" y="213"/>
                    <a:pt x="512" y="214"/>
                  </a:cubicBezTo>
                  <a:cubicBezTo>
                    <a:pt x="567" y="310"/>
                    <a:pt x="600" y="321"/>
                    <a:pt x="614" y="385"/>
                  </a:cubicBezTo>
                  <a:cubicBezTo>
                    <a:pt x="625" y="436"/>
                    <a:pt x="622" y="496"/>
                    <a:pt x="617" y="540"/>
                  </a:cubicBezTo>
                  <a:cubicBezTo>
                    <a:pt x="625" y="540"/>
                    <a:pt x="625" y="540"/>
                    <a:pt x="625" y="540"/>
                  </a:cubicBezTo>
                  <a:cubicBezTo>
                    <a:pt x="632" y="512"/>
                    <a:pt x="638" y="484"/>
                    <a:pt x="643" y="457"/>
                  </a:cubicBezTo>
                  <a:cubicBezTo>
                    <a:pt x="643" y="456"/>
                    <a:pt x="643" y="456"/>
                    <a:pt x="643" y="455"/>
                  </a:cubicBezTo>
                  <a:cubicBezTo>
                    <a:pt x="644" y="449"/>
                    <a:pt x="645" y="442"/>
                    <a:pt x="646" y="435"/>
                  </a:cubicBezTo>
                  <a:cubicBezTo>
                    <a:pt x="657" y="349"/>
                    <a:pt x="650" y="270"/>
                    <a:pt x="621" y="207"/>
                  </a:cubicBezTo>
                  <a:cubicBezTo>
                    <a:pt x="601" y="165"/>
                    <a:pt x="566" y="134"/>
                    <a:pt x="525" y="111"/>
                  </a:cubicBezTo>
                  <a:cubicBezTo>
                    <a:pt x="510" y="92"/>
                    <a:pt x="469" y="55"/>
                    <a:pt x="361" y="32"/>
                  </a:cubicBezTo>
                  <a:cubicBezTo>
                    <a:pt x="209" y="0"/>
                    <a:pt x="58" y="111"/>
                    <a:pt x="0" y="67"/>
                  </a:cubicBezTo>
                  <a:cubicBezTo>
                    <a:pt x="0" y="67"/>
                    <a:pt x="9" y="143"/>
                    <a:pt x="81" y="201"/>
                  </a:cubicBezTo>
                  <a:cubicBezTo>
                    <a:pt x="80" y="203"/>
                    <a:pt x="79" y="205"/>
                    <a:pt x="78" y="207"/>
                  </a:cubicBezTo>
                  <a:cubicBezTo>
                    <a:pt x="48" y="270"/>
                    <a:pt x="42" y="349"/>
                    <a:pt x="53" y="435"/>
                  </a:cubicBezTo>
                  <a:cubicBezTo>
                    <a:pt x="53" y="440"/>
                    <a:pt x="54" y="444"/>
                    <a:pt x="55" y="449"/>
                  </a:cubicBezTo>
                  <a:cubicBezTo>
                    <a:pt x="55" y="450"/>
                    <a:pt x="55" y="452"/>
                    <a:pt x="56" y="454"/>
                  </a:cubicBezTo>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45"/>
            <p:cNvSpPr>
              <a:spLocks/>
            </p:cNvSpPr>
            <p:nvPr userDrawn="1"/>
          </p:nvSpPr>
          <p:spPr bwMode="auto">
            <a:xfrm>
              <a:off x="8321675" y="2704649"/>
              <a:ext cx="349250" cy="161925"/>
            </a:xfrm>
            <a:custGeom>
              <a:avLst/>
              <a:gdLst>
                <a:gd name="T0" fmla="*/ 209 w 220"/>
                <a:gd name="T1" fmla="*/ 0 h 102"/>
                <a:gd name="T2" fmla="*/ 0 w 220"/>
                <a:gd name="T3" fmla="*/ 54 h 102"/>
                <a:gd name="T4" fmla="*/ 15 w 220"/>
                <a:gd name="T5" fmla="*/ 102 h 102"/>
                <a:gd name="T6" fmla="*/ 220 w 220"/>
                <a:gd name="T7" fmla="*/ 46 h 102"/>
                <a:gd name="T8" fmla="*/ 209 w 220"/>
                <a:gd name="T9" fmla="*/ 0 h 102"/>
              </a:gdLst>
              <a:ahLst/>
              <a:cxnLst>
                <a:cxn ang="0">
                  <a:pos x="T0" y="T1"/>
                </a:cxn>
                <a:cxn ang="0">
                  <a:pos x="T2" y="T3"/>
                </a:cxn>
                <a:cxn ang="0">
                  <a:pos x="T4" y="T5"/>
                </a:cxn>
                <a:cxn ang="0">
                  <a:pos x="T6" y="T7"/>
                </a:cxn>
                <a:cxn ang="0">
                  <a:pos x="T8" y="T9"/>
                </a:cxn>
              </a:cxnLst>
              <a:rect l="0" t="0" r="r" b="b"/>
              <a:pathLst>
                <a:path w="220" h="102">
                  <a:moveTo>
                    <a:pt x="209" y="0"/>
                  </a:moveTo>
                  <a:lnTo>
                    <a:pt x="0" y="54"/>
                  </a:lnTo>
                  <a:lnTo>
                    <a:pt x="15" y="102"/>
                  </a:lnTo>
                  <a:lnTo>
                    <a:pt x="220" y="46"/>
                  </a:lnTo>
                  <a:lnTo>
                    <a:pt x="2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46"/>
            <p:cNvSpPr>
              <a:spLocks/>
            </p:cNvSpPr>
            <p:nvPr userDrawn="1"/>
          </p:nvSpPr>
          <p:spPr bwMode="auto">
            <a:xfrm>
              <a:off x="11006138" y="4277862"/>
              <a:ext cx="1163638" cy="2576512"/>
            </a:xfrm>
            <a:custGeom>
              <a:avLst/>
              <a:gdLst>
                <a:gd name="T0" fmla="*/ 347 w 604"/>
                <a:gd name="T1" fmla="*/ 1339 h 1339"/>
                <a:gd name="T2" fmla="*/ 349 w 604"/>
                <a:gd name="T3" fmla="*/ 379 h 1339"/>
                <a:gd name="T4" fmla="*/ 399 w 604"/>
                <a:gd name="T5" fmla="*/ 1339 h 1339"/>
                <a:gd name="T6" fmla="*/ 604 w 604"/>
                <a:gd name="T7" fmla="*/ 1339 h 1339"/>
                <a:gd name="T8" fmla="*/ 586 w 604"/>
                <a:gd name="T9" fmla="*/ 849 h 1339"/>
                <a:gd name="T10" fmla="*/ 492 w 604"/>
                <a:gd name="T11" fmla="*/ 116 h 1339"/>
                <a:gd name="T12" fmla="*/ 207 w 604"/>
                <a:gd name="T13" fmla="*/ 0 h 1339"/>
                <a:gd name="T14" fmla="*/ 217 w 604"/>
                <a:gd name="T15" fmla="*/ 10 h 1339"/>
                <a:gd name="T16" fmla="*/ 271 w 604"/>
                <a:gd name="T17" fmla="*/ 175 h 1339"/>
                <a:gd name="T18" fmla="*/ 212 w 604"/>
                <a:gd name="T19" fmla="*/ 231 h 1339"/>
                <a:gd name="T20" fmla="*/ 258 w 604"/>
                <a:gd name="T21" fmla="*/ 330 h 1339"/>
                <a:gd name="T22" fmla="*/ 0 w 604"/>
                <a:gd name="T23" fmla="*/ 1339 h 1339"/>
                <a:gd name="T24" fmla="*/ 347 w 604"/>
                <a:gd name="T25" fmla="*/ 1339 h 1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4" h="1339">
                  <a:moveTo>
                    <a:pt x="347" y="1339"/>
                  </a:moveTo>
                  <a:cubicBezTo>
                    <a:pt x="349" y="379"/>
                    <a:pt x="349" y="379"/>
                    <a:pt x="349" y="379"/>
                  </a:cubicBezTo>
                  <a:cubicBezTo>
                    <a:pt x="399" y="1339"/>
                    <a:pt x="399" y="1339"/>
                    <a:pt x="399" y="1339"/>
                  </a:cubicBezTo>
                  <a:cubicBezTo>
                    <a:pt x="604" y="1339"/>
                    <a:pt x="604" y="1339"/>
                    <a:pt x="604" y="1339"/>
                  </a:cubicBezTo>
                  <a:cubicBezTo>
                    <a:pt x="586" y="849"/>
                    <a:pt x="586" y="849"/>
                    <a:pt x="586" y="849"/>
                  </a:cubicBezTo>
                  <a:cubicBezTo>
                    <a:pt x="586" y="849"/>
                    <a:pt x="560" y="183"/>
                    <a:pt x="492" y="116"/>
                  </a:cubicBezTo>
                  <a:cubicBezTo>
                    <a:pt x="431" y="54"/>
                    <a:pt x="293" y="18"/>
                    <a:pt x="207" y="0"/>
                  </a:cubicBezTo>
                  <a:cubicBezTo>
                    <a:pt x="213" y="7"/>
                    <a:pt x="217" y="10"/>
                    <a:pt x="217" y="10"/>
                  </a:cubicBezTo>
                  <a:cubicBezTo>
                    <a:pt x="271" y="175"/>
                    <a:pt x="271" y="175"/>
                    <a:pt x="271" y="175"/>
                  </a:cubicBezTo>
                  <a:cubicBezTo>
                    <a:pt x="212" y="231"/>
                    <a:pt x="212" y="231"/>
                    <a:pt x="212" y="231"/>
                  </a:cubicBezTo>
                  <a:cubicBezTo>
                    <a:pt x="258" y="330"/>
                    <a:pt x="258" y="330"/>
                    <a:pt x="258" y="330"/>
                  </a:cubicBezTo>
                  <a:cubicBezTo>
                    <a:pt x="0" y="1339"/>
                    <a:pt x="0" y="1339"/>
                    <a:pt x="0" y="1339"/>
                  </a:cubicBezTo>
                  <a:lnTo>
                    <a:pt x="347" y="1339"/>
                  </a:lnTo>
                  <a:close/>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Freeform 47"/>
            <p:cNvSpPr>
              <a:spLocks noEditPoints="1"/>
            </p:cNvSpPr>
            <p:nvPr userDrawn="1"/>
          </p:nvSpPr>
          <p:spPr bwMode="auto">
            <a:xfrm>
              <a:off x="8321675" y="2771324"/>
              <a:ext cx="2408238" cy="4083050"/>
            </a:xfrm>
            <a:custGeom>
              <a:avLst/>
              <a:gdLst>
                <a:gd name="T0" fmla="*/ 993 w 1251"/>
                <a:gd name="T1" fmla="*/ 1113 h 2122"/>
                <a:gd name="T2" fmla="*/ 993 w 1251"/>
                <a:gd name="T3" fmla="*/ 1113 h 2122"/>
                <a:gd name="T4" fmla="*/ 1038 w 1251"/>
                <a:gd name="T5" fmla="*/ 1014 h 2122"/>
                <a:gd name="T6" fmla="*/ 979 w 1251"/>
                <a:gd name="T7" fmla="*/ 958 h 2122"/>
                <a:gd name="T8" fmla="*/ 979 w 1251"/>
                <a:gd name="T9" fmla="*/ 958 h 2122"/>
                <a:gd name="T10" fmla="*/ 980 w 1251"/>
                <a:gd name="T11" fmla="*/ 958 h 2122"/>
                <a:gd name="T12" fmla="*/ 1034 w 1251"/>
                <a:gd name="T13" fmla="*/ 793 h 2122"/>
                <a:gd name="T14" fmla="*/ 1057 w 1251"/>
                <a:gd name="T15" fmla="*/ 770 h 2122"/>
                <a:gd name="T16" fmla="*/ 712 w 1251"/>
                <a:gd name="T17" fmla="*/ 738 h 2122"/>
                <a:gd name="T18" fmla="*/ 342 w 1251"/>
                <a:gd name="T19" fmla="*/ 608 h 2122"/>
                <a:gd name="T20" fmla="*/ 190 w 1251"/>
                <a:gd name="T21" fmla="*/ 0 h 2122"/>
                <a:gd name="T22" fmla="*/ 181 w 1251"/>
                <a:gd name="T23" fmla="*/ 3 h 2122"/>
                <a:gd name="T24" fmla="*/ 12 w 1251"/>
                <a:gd name="T25" fmla="*/ 49 h 2122"/>
                <a:gd name="T26" fmla="*/ 0 w 1251"/>
                <a:gd name="T27" fmla="*/ 53 h 2122"/>
                <a:gd name="T28" fmla="*/ 130 w 1251"/>
                <a:gd name="T29" fmla="*/ 673 h 2122"/>
                <a:gd name="T30" fmla="*/ 407 w 1251"/>
                <a:gd name="T31" fmla="*/ 910 h 2122"/>
                <a:gd name="T32" fmla="*/ 867 w 1251"/>
                <a:gd name="T33" fmla="*/ 1050 h 2122"/>
                <a:gd name="T34" fmla="*/ 880 w 1251"/>
                <a:gd name="T35" fmla="*/ 2122 h 2122"/>
                <a:gd name="T36" fmla="*/ 1251 w 1251"/>
                <a:gd name="T37" fmla="*/ 2122 h 2122"/>
                <a:gd name="T38" fmla="*/ 993 w 1251"/>
                <a:gd name="T39" fmla="*/ 1113 h 2122"/>
                <a:gd name="T40" fmla="*/ 151 w 1251"/>
                <a:gd name="T41" fmla="*/ 81 h 2122"/>
                <a:gd name="T42" fmla="*/ 165 w 1251"/>
                <a:gd name="T43" fmla="*/ 67 h 2122"/>
                <a:gd name="T44" fmla="*/ 179 w 1251"/>
                <a:gd name="T45" fmla="*/ 81 h 2122"/>
                <a:gd name="T46" fmla="*/ 165 w 1251"/>
                <a:gd name="T47" fmla="*/ 95 h 2122"/>
                <a:gd name="T48" fmla="*/ 151 w 1251"/>
                <a:gd name="T49" fmla="*/ 81 h 2122"/>
                <a:gd name="T50" fmla="*/ 181 w 1251"/>
                <a:gd name="T51" fmla="*/ 148 h 2122"/>
                <a:gd name="T52" fmla="*/ 167 w 1251"/>
                <a:gd name="T53" fmla="*/ 134 h 2122"/>
                <a:gd name="T54" fmla="*/ 181 w 1251"/>
                <a:gd name="T55" fmla="*/ 120 h 2122"/>
                <a:gd name="T56" fmla="*/ 195 w 1251"/>
                <a:gd name="T57" fmla="*/ 134 h 2122"/>
                <a:gd name="T58" fmla="*/ 181 w 1251"/>
                <a:gd name="T59" fmla="*/ 148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51" h="2122">
                  <a:moveTo>
                    <a:pt x="993" y="1113"/>
                  </a:moveTo>
                  <a:cubicBezTo>
                    <a:pt x="993" y="1113"/>
                    <a:pt x="993" y="1113"/>
                    <a:pt x="993" y="1113"/>
                  </a:cubicBezTo>
                  <a:cubicBezTo>
                    <a:pt x="1038" y="1014"/>
                    <a:pt x="1038" y="1014"/>
                    <a:pt x="1038" y="1014"/>
                  </a:cubicBezTo>
                  <a:cubicBezTo>
                    <a:pt x="979" y="958"/>
                    <a:pt x="979" y="958"/>
                    <a:pt x="979" y="958"/>
                  </a:cubicBezTo>
                  <a:cubicBezTo>
                    <a:pt x="979" y="958"/>
                    <a:pt x="979" y="958"/>
                    <a:pt x="979" y="958"/>
                  </a:cubicBezTo>
                  <a:cubicBezTo>
                    <a:pt x="980" y="958"/>
                    <a:pt x="980" y="958"/>
                    <a:pt x="980" y="958"/>
                  </a:cubicBezTo>
                  <a:cubicBezTo>
                    <a:pt x="1034" y="793"/>
                    <a:pt x="1034" y="793"/>
                    <a:pt x="1034" y="793"/>
                  </a:cubicBezTo>
                  <a:cubicBezTo>
                    <a:pt x="1034" y="793"/>
                    <a:pt x="1043" y="784"/>
                    <a:pt x="1057" y="770"/>
                  </a:cubicBezTo>
                  <a:cubicBezTo>
                    <a:pt x="981" y="770"/>
                    <a:pt x="845" y="764"/>
                    <a:pt x="712" y="738"/>
                  </a:cubicBezTo>
                  <a:cubicBezTo>
                    <a:pt x="551" y="706"/>
                    <a:pt x="342" y="608"/>
                    <a:pt x="342" y="608"/>
                  </a:cubicBezTo>
                  <a:cubicBezTo>
                    <a:pt x="190" y="0"/>
                    <a:pt x="190" y="0"/>
                    <a:pt x="190" y="0"/>
                  </a:cubicBezTo>
                  <a:cubicBezTo>
                    <a:pt x="181" y="3"/>
                    <a:pt x="181" y="3"/>
                    <a:pt x="181" y="3"/>
                  </a:cubicBezTo>
                  <a:cubicBezTo>
                    <a:pt x="12" y="49"/>
                    <a:pt x="12" y="49"/>
                    <a:pt x="12" y="49"/>
                  </a:cubicBezTo>
                  <a:cubicBezTo>
                    <a:pt x="0" y="53"/>
                    <a:pt x="0" y="53"/>
                    <a:pt x="0" y="53"/>
                  </a:cubicBezTo>
                  <a:cubicBezTo>
                    <a:pt x="0" y="53"/>
                    <a:pt x="84" y="521"/>
                    <a:pt x="130" y="673"/>
                  </a:cubicBezTo>
                  <a:cubicBezTo>
                    <a:pt x="173" y="817"/>
                    <a:pt x="259" y="843"/>
                    <a:pt x="407" y="910"/>
                  </a:cubicBezTo>
                  <a:cubicBezTo>
                    <a:pt x="590" y="992"/>
                    <a:pt x="755" y="1010"/>
                    <a:pt x="867" y="1050"/>
                  </a:cubicBezTo>
                  <a:cubicBezTo>
                    <a:pt x="880" y="2122"/>
                    <a:pt x="880" y="2122"/>
                    <a:pt x="880" y="2122"/>
                  </a:cubicBezTo>
                  <a:cubicBezTo>
                    <a:pt x="1251" y="2122"/>
                    <a:pt x="1251" y="2122"/>
                    <a:pt x="1251" y="2122"/>
                  </a:cubicBezTo>
                  <a:lnTo>
                    <a:pt x="993" y="1113"/>
                  </a:lnTo>
                  <a:close/>
                  <a:moveTo>
                    <a:pt x="151" y="81"/>
                  </a:moveTo>
                  <a:cubicBezTo>
                    <a:pt x="151" y="73"/>
                    <a:pt x="158" y="67"/>
                    <a:pt x="165" y="67"/>
                  </a:cubicBezTo>
                  <a:cubicBezTo>
                    <a:pt x="173" y="67"/>
                    <a:pt x="179" y="73"/>
                    <a:pt x="179" y="81"/>
                  </a:cubicBezTo>
                  <a:cubicBezTo>
                    <a:pt x="179" y="88"/>
                    <a:pt x="173" y="95"/>
                    <a:pt x="165" y="95"/>
                  </a:cubicBezTo>
                  <a:cubicBezTo>
                    <a:pt x="158" y="95"/>
                    <a:pt x="151" y="88"/>
                    <a:pt x="151" y="81"/>
                  </a:cubicBezTo>
                  <a:moveTo>
                    <a:pt x="181" y="148"/>
                  </a:moveTo>
                  <a:cubicBezTo>
                    <a:pt x="173" y="148"/>
                    <a:pt x="167" y="142"/>
                    <a:pt x="167" y="134"/>
                  </a:cubicBezTo>
                  <a:cubicBezTo>
                    <a:pt x="167" y="126"/>
                    <a:pt x="173" y="120"/>
                    <a:pt x="181" y="120"/>
                  </a:cubicBezTo>
                  <a:cubicBezTo>
                    <a:pt x="188" y="120"/>
                    <a:pt x="195" y="126"/>
                    <a:pt x="195" y="134"/>
                  </a:cubicBezTo>
                  <a:cubicBezTo>
                    <a:pt x="195" y="142"/>
                    <a:pt x="188" y="148"/>
                    <a:pt x="181" y="14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 name="Freeform 49"/>
            <p:cNvSpPr>
              <a:spLocks/>
            </p:cNvSpPr>
            <p:nvPr userDrawn="1"/>
          </p:nvSpPr>
          <p:spPr bwMode="auto">
            <a:xfrm>
              <a:off x="10915650" y="4298499"/>
              <a:ext cx="7938" cy="0"/>
            </a:xfrm>
            <a:custGeom>
              <a:avLst/>
              <a:gdLst>
                <a:gd name="T0" fmla="*/ 3 w 4"/>
                <a:gd name="T1" fmla="*/ 0 w 4"/>
                <a:gd name="T2" fmla="*/ 4 w 4"/>
                <a:gd name="T3" fmla="*/ 3 w 4"/>
              </a:gdLst>
              <a:ahLst/>
              <a:cxnLst>
                <a:cxn ang="0">
                  <a:pos x="T0" y="0"/>
                </a:cxn>
                <a:cxn ang="0">
                  <a:pos x="T1" y="0"/>
                </a:cxn>
                <a:cxn ang="0">
                  <a:pos x="T2" y="0"/>
                </a:cxn>
                <a:cxn ang="0">
                  <a:pos x="T3" y="0"/>
                </a:cxn>
              </a:cxnLst>
              <a:rect l="0" t="0" r="r" b="b"/>
              <a:pathLst>
                <a:path w="4">
                  <a:moveTo>
                    <a:pt x="3" y="0"/>
                  </a:moveTo>
                  <a:cubicBezTo>
                    <a:pt x="0" y="0"/>
                    <a:pt x="0" y="0"/>
                    <a:pt x="0" y="0"/>
                  </a:cubicBezTo>
                  <a:cubicBezTo>
                    <a:pt x="2" y="0"/>
                    <a:pt x="3" y="0"/>
                    <a:pt x="4" y="0"/>
                  </a:cubicBezTo>
                  <a:cubicBezTo>
                    <a:pt x="4"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50"/>
            <p:cNvSpPr>
              <a:spLocks/>
            </p:cNvSpPr>
            <p:nvPr userDrawn="1"/>
          </p:nvSpPr>
          <p:spPr bwMode="auto">
            <a:xfrm>
              <a:off x="10933113" y="4373112"/>
              <a:ext cx="290513" cy="1308100"/>
            </a:xfrm>
            <a:custGeom>
              <a:avLst/>
              <a:gdLst>
                <a:gd name="T0" fmla="*/ 34 w 151"/>
                <a:gd name="T1" fmla="*/ 10 h 680"/>
                <a:gd name="T2" fmla="*/ 0 w 151"/>
                <a:gd name="T3" fmla="*/ 82 h 680"/>
                <a:gd name="T4" fmla="*/ 33 w 151"/>
                <a:gd name="T5" fmla="*/ 680 h 680"/>
                <a:gd name="T6" fmla="*/ 149 w 151"/>
                <a:gd name="T7" fmla="*/ 157 h 680"/>
                <a:gd name="T8" fmla="*/ 147 w 151"/>
                <a:gd name="T9" fmla="*/ 0 h 680"/>
                <a:gd name="T10" fmla="*/ 58 w 151"/>
                <a:gd name="T11" fmla="*/ 116 h 680"/>
                <a:gd name="T12" fmla="*/ 34 w 151"/>
                <a:gd name="T13" fmla="*/ 10 h 680"/>
              </a:gdLst>
              <a:ahLst/>
              <a:cxnLst>
                <a:cxn ang="0">
                  <a:pos x="T0" y="T1"/>
                </a:cxn>
                <a:cxn ang="0">
                  <a:pos x="T2" y="T3"/>
                </a:cxn>
                <a:cxn ang="0">
                  <a:pos x="T4" y="T5"/>
                </a:cxn>
                <a:cxn ang="0">
                  <a:pos x="T6" y="T7"/>
                </a:cxn>
                <a:cxn ang="0">
                  <a:pos x="T8" y="T9"/>
                </a:cxn>
                <a:cxn ang="0">
                  <a:pos x="T10" y="T11"/>
                </a:cxn>
                <a:cxn ang="0">
                  <a:pos x="T12" y="T13"/>
                </a:cxn>
              </a:cxnLst>
              <a:rect l="0" t="0" r="r" b="b"/>
              <a:pathLst>
                <a:path w="151" h="680">
                  <a:moveTo>
                    <a:pt x="34" y="10"/>
                  </a:moveTo>
                  <a:cubicBezTo>
                    <a:pt x="33" y="39"/>
                    <a:pt x="18" y="64"/>
                    <a:pt x="0" y="82"/>
                  </a:cubicBezTo>
                  <a:cubicBezTo>
                    <a:pt x="5" y="127"/>
                    <a:pt x="36" y="459"/>
                    <a:pt x="33" y="680"/>
                  </a:cubicBezTo>
                  <a:cubicBezTo>
                    <a:pt x="85" y="471"/>
                    <a:pt x="147" y="211"/>
                    <a:pt x="149" y="157"/>
                  </a:cubicBezTo>
                  <a:cubicBezTo>
                    <a:pt x="151" y="96"/>
                    <a:pt x="151" y="44"/>
                    <a:pt x="147" y="0"/>
                  </a:cubicBezTo>
                  <a:cubicBezTo>
                    <a:pt x="58" y="116"/>
                    <a:pt x="58" y="116"/>
                    <a:pt x="58" y="116"/>
                  </a:cubicBezTo>
                  <a:cubicBezTo>
                    <a:pt x="58" y="116"/>
                    <a:pt x="53" y="55"/>
                    <a:pt x="34" y="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51"/>
            <p:cNvSpPr>
              <a:spLocks/>
            </p:cNvSpPr>
            <p:nvPr userDrawn="1"/>
          </p:nvSpPr>
          <p:spPr bwMode="auto">
            <a:xfrm>
              <a:off x="10512425" y="4374699"/>
              <a:ext cx="257175" cy="1206500"/>
            </a:xfrm>
            <a:custGeom>
              <a:avLst/>
              <a:gdLst>
                <a:gd name="T0" fmla="*/ 104 w 134"/>
                <a:gd name="T1" fmla="*/ 31 h 627"/>
                <a:gd name="T2" fmla="*/ 89 w 134"/>
                <a:gd name="T3" fmla="*/ 125 h 627"/>
                <a:gd name="T4" fmla="*/ 2 w 134"/>
                <a:gd name="T5" fmla="*/ 0 h 627"/>
                <a:gd name="T6" fmla="*/ 3 w 134"/>
                <a:gd name="T7" fmla="*/ 156 h 627"/>
                <a:gd name="T8" fmla="*/ 101 w 134"/>
                <a:gd name="T9" fmla="*/ 627 h 627"/>
                <a:gd name="T10" fmla="*/ 134 w 134"/>
                <a:gd name="T11" fmla="*/ 81 h 627"/>
                <a:gd name="T12" fmla="*/ 104 w 134"/>
                <a:gd name="T13" fmla="*/ 31 h 627"/>
              </a:gdLst>
              <a:ahLst/>
              <a:cxnLst>
                <a:cxn ang="0">
                  <a:pos x="T0" y="T1"/>
                </a:cxn>
                <a:cxn ang="0">
                  <a:pos x="T2" y="T3"/>
                </a:cxn>
                <a:cxn ang="0">
                  <a:pos x="T4" y="T5"/>
                </a:cxn>
                <a:cxn ang="0">
                  <a:pos x="T6" y="T7"/>
                </a:cxn>
                <a:cxn ang="0">
                  <a:pos x="T8" y="T9"/>
                </a:cxn>
                <a:cxn ang="0">
                  <a:pos x="T10" y="T11"/>
                </a:cxn>
                <a:cxn ang="0">
                  <a:pos x="T12" y="T13"/>
                </a:cxn>
              </a:cxnLst>
              <a:rect l="0" t="0" r="r" b="b"/>
              <a:pathLst>
                <a:path w="134" h="627">
                  <a:moveTo>
                    <a:pt x="104" y="31"/>
                  </a:moveTo>
                  <a:cubicBezTo>
                    <a:pt x="92" y="76"/>
                    <a:pt x="89" y="125"/>
                    <a:pt x="89" y="125"/>
                  </a:cubicBezTo>
                  <a:cubicBezTo>
                    <a:pt x="2" y="0"/>
                    <a:pt x="2" y="0"/>
                    <a:pt x="2" y="0"/>
                  </a:cubicBezTo>
                  <a:cubicBezTo>
                    <a:pt x="0" y="44"/>
                    <a:pt x="0" y="95"/>
                    <a:pt x="3" y="156"/>
                  </a:cubicBezTo>
                  <a:cubicBezTo>
                    <a:pt x="5" y="227"/>
                    <a:pt x="55" y="440"/>
                    <a:pt x="101" y="627"/>
                  </a:cubicBezTo>
                  <a:cubicBezTo>
                    <a:pt x="104" y="409"/>
                    <a:pt x="130" y="122"/>
                    <a:pt x="134" y="81"/>
                  </a:cubicBezTo>
                  <a:cubicBezTo>
                    <a:pt x="122" y="68"/>
                    <a:pt x="110" y="51"/>
                    <a:pt x="104" y="3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52"/>
            <p:cNvSpPr>
              <a:spLocks/>
            </p:cNvSpPr>
            <p:nvPr userDrawn="1"/>
          </p:nvSpPr>
          <p:spPr bwMode="auto">
            <a:xfrm>
              <a:off x="10922000" y="4103237"/>
              <a:ext cx="295275" cy="492125"/>
            </a:xfrm>
            <a:custGeom>
              <a:avLst/>
              <a:gdLst>
                <a:gd name="T0" fmla="*/ 1 w 153"/>
                <a:gd name="T1" fmla="*/ 102 h 256"/>
                <a:gd name="T2" fmla="*/ 40 w 153"/>
                <a:gd name="T3" fmla="*/ 150 h 256"/>
                <a:gd name="T4" fmla="*/ 64 w 153"/>
                <a:gd name="T5" fmla="*/ 256 h 256"/>
                <a:gd name="T6" fmla="*/ 153 w 153"/>
                <a:gd name="T7" fmla="*/ 140 h 256"/>
                <a:gd name="T8" fmla="*/ 134 w 153"/>
                <a:gd name="T9" fmla="*/ 22 h 256"/>
                <a:gd name="T10" fmla="*/ 129 w 153"/>
                <a:gd name="T11" fmla="*/ 5 h 256"/>
                <a:gd name="T12" fmla="*/ 127 w 153"/>
                <a:gd name="T13" fmla="*/ 0 h 256"/>
                <a:gd name="T14" fmla="*/ 127 w 153"/>
                <a:gd name="T15" fmla="*/ 0 h 256"/>
                <a:gd name="T16" fmla="*/ 52 w 153"/>
                <a:gd name="T17" fmla="*/ 78 h 256"/>
                <a:gd name="T18" fmla="*/ 0 w 153"/>
                <a:gd name="T19" fmla="*/ 102 h 256"/>
                <a:gd name="T20" fmla="*/ 1 w 153"/>
                <a:gd name="T21" fmla="*/ 10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3" h="256">
                  <a:moveTo>
                    <a:pt x="1" y="102"/>
                  </a:moveTo>
                  <a:cubicBezTo>
                    <a:pt x="18" y="108"/>
                    <a:pt x="31" y="127"/>
                    <a:pt x="40" y="150"/>
                  </a:cubicBezTo>
                  <a:cubicBezTo>
                    <a:pt x="59" y="195"/>
                    <a:pt x="64" y="256"/>
                    <a:pt x="64" y="256"/>
                  </a:cubicBezTo>
                  <a:cubicBezTo>
                    <a:pt x="153" y="140"/>
                    <a:pt x="153" y="140"/>
                    <a:pt x="153" y="140"/>
                  </a:cubicBezTo>
                  <a:cubicBezTo>
                    <a:pt x="150" y="95"/>
                    <a:pt x="143" y="56"/>
                    <a:pt x="134" y="22"/>
                  </a:cubicBezTo>
                  <a:cubicBezTo>
                    <a:pt x="132" y="15"/>
                    <a:pt x="130" y="8"/>
                    <a:pt x="129" y="5"/>
                  </a:cubicBezTo>
                  <a:cubicBezTo>
                    <a:pt x="128" y="3"/>
                    <a:pt x="128" y="2"/>
                    <a:pt x="127" y="0"/>
                  </a:cubicBezTo>
                  <a:cubicBezTo>
                    <a:pt x="127" y="0"/>
                    <a:pt x="127" y="0"/>
                    <a:pt x="127" y="0"/>
                  </a:cubicBezTo>
                  <a:cubicBezTo>
                    <a:pt x="124" y="32"/>
                    <a:pt x="86" y="60"/>
                    <a:pt x="52" y="78"/>
                  </a:cubicBezTo>
                  <a:cubicBezTo>
                    <a:pt x="25" y="93"/>
                    <a:pt x="0" y="102"/>
                    <a:pt x="0" y="102"/>
                  </a:cubicBezTo>
                  <a:cubicBezTo>
                    <a:pt x="0" y="102"/>
                    <a:pt x="1" y="102"/>
                    <a:pt x="1" y="10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53"/>
            <p:cNvSpPr>
              <a:spLocks/>
            </p:cNvSpPr>
            <p:nvPr userDrawn="1"/>
          </p:nvSpPr>
          <p:spPr bwMode="auto">
            <a:xfrm>
              <a:off x="10515600" y="4111174"/>
              <a:ext cx="287338" cy="503237"/>
            </a:xfrm>
            <a:custGeom>
              <a:avLst/>
              <a:gdLst>
                <a:gd name="T0" fmla="*/ 87 w 149"/>
                <a:gd name="T1" fmla="*/ 262 h 262"/>
                <a:gd name="T2" fmla="*/ 102 w 149"/>
                <a:gd name="T3" fmla="*/ 168 h 262"/>
                <a:gd name="T4" fmla="*/ 145 w 149"/>
                <a:gd name="T5" fmla="*/ 98 h 262"/>
                <a:gd name="T6" fmla="*/ 149 w 149"/>
                <a:gd name="T7" fmla="*/ 96 h 262"/>
                <a:gd name="T8" fmla="*/ 97 w 149"/>
                <a:gd name="T9" fmla="*/ 74 h 262"/>
                <a:gd name="T10" fmla="*/ 23 w 149"/>
                <a:gd name="T11" fmla="*/ 0 h 262"/>
                <a:gd name="T12" fmla="*/ 0 w 149"/>
                <a:gd name="T13" fmla="*/ 137 h 262"/>
                <a:gd name="T14" fmla="*/ 87 w 149"/>
                <a:gd name="T15" fmla="*/ 262 h 2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262">
                  <a:moveTo>
                    <a:pt x="87" y="262"/>
                  </a:moveTo>
                  <a:cubicBezTo>
                    <a:pt x="87" y="262"/>
                    <a:pt x="90" y="213"/>
                    <a:pt x="102" y="168"/>
                  </a:cubicBezTo>
                  <a:cubicBezTo>
                    <a:pt x="111" y="137"/>
                    <a:pt x="125" y="107"/>
                    <a:pt x="145" y="98"/>
                  </a:cubicBezTo>
                  <a:cubicBezTo>
                    <a:pt x="146" y="97"/>
                    <a:pt x="147" y="96"/>
                    <a:pt x="149" y="96"/>
                  </a:cubicBezTo>
                  <a:cubicBezTo>
                    <a:pt x="149" y="96"/>
                    <a:pt x="125" y="88"/>
                    <a:pt x="97" y="74"/>
                  </a:cubicBezTo>
                  <a:cubicBezTo>
                    <a:pt x="64" y="57"/>
                    <a:pt x="27" y="31"/>
                    <a:pt x="23" y="0"/>
                  </a:cubicBezTo>
                  <a:cubicBezTo>
                    <a:pt x="10" y="39"/>
                    <a:pt x="3" y="83"/>
                    <a:pt x="0" y="137"/>
                  </a:cubicBezTo>
                  <a:lnTo>
                    <a:pt x="87" y="2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9" name="Oval 54"/>
            <p:cNvSpPr>
              <a:spLocks noChangeArrowheads="1"/>
            </p:cNvSpPr>
            <p:nvPr userDrawn="1"/>
          </p:nvSpPr>
          <p:spPr bwMode="auto">
            <a:xfrm>
              <a:off x="8612188" y="2899912"/>
              <a:ext cx="53975" cy="53975"/>
            </a:xfrm>
            <a:prstGeom prst="ellipse">
              <a:avLst/>
            </a:pr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0" name="Oval 55"/>
            <p:cNvSpPr>
              <a:spLocks noChangeArrowheads="1"/>
            </p:cNvSpPr>
            <p:nvPr userDrawn="1"/>
          </p:nvSpPr>
          <p:spPr bwMode="auto">
            <a:xfrm>
              <a:off x="8643938" y="3003099"/>
              <a:ext cx="53975" cy="53975"/>
            </a:xfrm>
            <a:prstGeom prst="ellipse">
              <a:avLst/>
            </a:pr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1" name="Freeform 56"/>
            <p:cNvSpPr>
              <a:spLocks/>
            </p:cNvSpPr>
            <p:nvPr userDrawn="1"/>
          </p:nvSpPr>
          <p:spPr bwMode="auto">
            <a:xfrm>
              <a:off x="10706100" y="4295324"/>
              <a:ext cx="296863" cy="1901825"/>
            </a:xfrm>
            <a:custGeom>
              <a:avLst/>
              <a:gdLst>
                <a:gd name="T0" fmla="*/ 118 w 154"/>
                <a:gd name="T1" fmla="*/ 122 h 988"/>
                <a:gd name="T2" fmla="*/ 152 w 154"/>
                <a:gd name="T3" fmla="*/ 50 h 988"/>
                <a:gd name="T4" fmla="*/ 113 w 154"/>
                <a:gd name="T5" fmla="*/ 2 h 988"/>
                <a:gd name="T6" fmla="*/ 109 w 154"/>
                <a:gd name="T7" fmla="*/ 2 h 988"/>
                <a:gd name="T8" fmla="*/ 76 w 154"/>
                <a:gd name="T9" fmla="*/ 0 h 988"/>
                <a:gd name="T10" fmla="*/ 46 w 154"/>
                <a:gd name="T11" fmla="*/ 2 h 988"/>
                <a:gd name="T12" fmla="*/ 3 w 154"/>
                <a:gd name="T13" fmla="*/ 72 h 988"/>
                <a:gd name="T14" fmla="*/ 33 w 154"/>
                <a:gd name="T15" fmla="*/ 122 h 988"/>
                <a:gd name="T16" fmla="*/ 0 w 154"/>
                <a:gd name="T17" fmla="*/ 668 h 988"/>
                <a:gd name="T18" fmla="*/ 84 w 154"/>
                <a:gd name="T19" fmla="*/ 988 h 988"/>
                <a:gd name="T20" fmla="*/ 151 w 154"/>
                <a:gd name="T21" fmla="*/ 720 h 988"/>
                <a:gd name="T22" fmla="*/ 118 w 154"/>
                <a:gd name="T23" fmla="*/ 122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 h="988">
                  <a:moveTo>
                    <a:pt x="118" y="122"/>
                  </a:moveTo>
                  <a:cubicBezTo>
                    <a:pt x="136" y="104"/>
                    <a:pt x="151" y="79"/>
                    <a:pt x="152" y="50"/>
                  </a:cubicBezTo>
                  <a:cubicBezTo>
                    <a:pt x="143" y="27"/>
                    <a:pt x="130" y="8"/>
                    <a:pt x="113" y="2"/>
                  </a:cubicBezTo>
                  <a:cubicBezTo>
                    <a:pt x="112" y="2"/>
                    <a:pt x="111" y="2"/>
                    <a:pt x="109" y="2"/>
                  </a:cubicBezTo>
                  <a:cubicBezTo>
                    <a:pt x="100" y="1"/>
                    <a:pt x="89" y="0"/>
                    <a:pt x="76" y="0"/>
                  </a:cubicBezTo>
                  <a:cubicBezTo>
                    <a:pt x="65" y="0"/>
                    <a:pt x="54" y="1"/>
                    <a:pt x="46" y="2"/>
                  </a:cubicBezTo>
                  <a:cubicBezTo>
                    <a:pt x="26" y="11"/>
                    <a:pt x="12" y="41"/>
                    <a:pt x="3" y="72"/>
                  </a:cubicBezTo>
                  <a:cubicBezTo>
                    <a:pt x="9" y="92"/>
                    <a:pt x="21" y="109"/>
                    <a:pt x="33" y="122"/>
                  </a:cubicBezTo>
                  <a:cubicBezTo>
                    <a:pt x="29" y="163"/>
                    <a:pt x="3" y="450"/>
                    <a:pt x="0" y="668"/>
                  </a:cubicBezTo>
                  <a:cubicBezTo>
                    <a:pt x="41" y="828"/>
                    <a:pt x="79" y="970"/>
                    <a:pt x="84" y="988"/>
                  </a:cubicBezTo>
                  <a:cubicBezTo>
                    <a:pt x="91" y="959"/>
                    <a:pt x="119" y="850"/>
                    <a:pt x="151" y="720"/>
                  </a:cubicBezTo>
                  <a:cubicBezTo>
                    <a:pt x="154" y="499"/>
                    <a:pt x="123" y="167"/>
                    <a:pt x="118" y="122"/>
                  </a:cubicBezTo>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2" name="Freeform 57"/>
            <p:cNvSpPr>
              <a:spLocks/>
            </p:cNvSpPr>
            <p:nvPr userDrawn="1"/>
          </p:nvSpPr>
          <p:spPr bwMode="auto">
            <a:xfrm>
              <a:off x="10210800" y="4103237"/>
              <a:ext cx="1317625" cy="2751137"/>
            </a:xfrm>
            <a:custGeom>
              <a:avLst/>
              <a:gdLst>
                <a:gd name="T0" fmla="*/ 626 w 685"/>
                <a:gd name="T1" fmla="*/ 322 h 1430"/>
                <a:gd name="T2" fmla="*/ 685 w 685"/>
                <a:gd name="T3" fmla="*/ 266 h 1430"/>
                <a:gd name="T4" fmla="*/ 631 w 685"/>
                <a:gd name="T5" fmla="*/ 101 h 1430"/>
                <a:gd name="T6" fmla="*/ 621 w 685"/>
                <a:gd name="T7" fmla="*/ 91 h 1430"/>
                <a:gd name="T8" fmla="*/ 497 w 685"/>
                <a:gd name="T9" fmla="*/ 0 h 1430"/>
                <a:gd name="T10" fmla="*/ 497 w 685"/>
                <a:gd name="T11" fmla="*/ 0 h 1430"/>
                <a:gd name="T12" fmla="*/ 499 w 685"/>
                <a:gd name="T13" fmla="*/ 5 h 1430"/>
                <a:gd name="T14" fmla="*/ 504 w 685"/>
                <a:gd name="T15" fmla="*/ 22 h 1430"/>
                <a:gd name="T16" fmla="*/ 523 w 685"/>
                <a:gd name="T17" fmla="*/ 140 h 1430"/>
                <a:gd name="T18" fmla="*/ 525 w 685"/>
                <a:gd name="T19" fmla="*/ 297 h 1430"/>
                <a:gd name="T20" fmla="*/ 409 w 685"/>
                <a:gd name="T21" fmla="*/ 820 h 1430"/>
                <a:gd name="T22" fmla="*/ 342 w 685"/>
                <a:gd name="T23" fmla="*/ 1088 h 1430"/>
                <a:gd name="T24" fmla="*/ 258 w 685"/>
                <a:gd name="T25" fmla="*/ 768 h 1430"/>
                <a:gd name="T26" fmla="*/ 160 w 685"/>
                <a:gd name="T27" fmla="*/ 297 h 1430"/>
                <a:gd name="T28" fmla="*/ 159 w 685"/>
                <a:gd name="T29" fmla="*/ 141 h 1430"/>
                <a:gd name="T30" fmla="*/ 182 w 685"/>
                <a:gd name="T31" fmla="*/ 4 h 1430"/>
                <a:gd name="T32" fmla="*/ 183 w 685"/>
                <a:gd name="T33" fmla="*/ 2 h 1430"/>
                <a:gd name="T34" fmla="*/ 182 w 685"/>
                <a:gd name="T35" fmla="*/ 2 h 1430"/>
                <a:gd name="T36" fmla="*/ 182 w 685"/>
                <a:gd name="T37" fmla="*/ 2 h 1430"/>
                <a:gd name="T38" fmla="*/ 77 w 685"/>
                <a:gd name="T39" fmla="*/ 78 h 1430"/>
                <a:gd name="T40" fmla="*/ 77 w 685"/>
                <a:gd name="T41" fmla="*/ 79 h 1430"/>
                <a:gd name="T42" fmla="*/ 53 w 685"/>
                <a:gd name="T43" fmla="*/ 101 h 1430"/>
                <a:gd name="T44" fmla="*/ 0 w 685"/>
                <a:gd name="T45" fmla="*/ 266 h 1430"/>
                <a:gd name="T46" fmla="*/ 0 w 685"/>
                <a:gd name="T47" fmla="*/ 266 h 1430"/>
                <a:gd name="T48" fmla="*/ 58 w 685"/>
                <a:gd name="T49" fmla="*/ 322 h 1430"/>
                <a:gd name="T50" fmla="*/ 58 w 685"/>
                <a:gd name="T51" fmla="*/ 322 h 1430"/>
                <a:gd name="T52" fmla="*/ 12 w 685"/>
                <a:gd name="T53" fmla="*/ 421 h 1430"/>
                <a:gd name="T54" fmla="*/ 12 w 685"/>
                <a:gd name="T55" fmla="*/ 421 h 1430"/>
                <a:gd name="T56" fmla="*/ 270 w 685"/>
                <a:gd name="T57" fmla="*/ 1430 h 1430"/>
                <a:gd name="T58" fmla="*/ 289 w 685"/>
                <a:gd name="T59" fmla="*/ 1430 h 1430"/>
                <a:gd name="T60" fmla="*/ 327 w 685"/>
                <a:gd name="T61" fmla="*/ 1430 h 1430"/>
                <a:gd name="T62" fmla="*/ 333 w 685"/>
                <a:gd name="T63" fmla="*/ 1430 h 1430"/>
                <a:gd name="T64" fmla="*/ 335 w 685"/>
                <a:gd name="T65" fmla="*/ 1430 h 1430"/>
                <a:gd name="T66" fmla="*/ 342 w 685"/>
                <a:gd name="T67" fmla="*/ 1430 h 1430"/>
                <a:gd name="T68" fmla="*/ 342 w 685"/>
                <a:gd name="T69" fmla="*/ 1430 h 1430"/>
                <a:gd name="T70" fmla="*/ 397 w 685"/>
                <a:gd name="T71" fmla="*/ 1430 h 1430"/>
                <a:gd name="T72" fmla="*/ 414 w 685"/>
                <a:gd name="T73" fmla="*/ 1430 h 1430"/>
                <a:gd name="T74" fmla="*/ 672 w 685"/>
                <a:gd name="T75" fmla="*/ 421 h 1430"/>
                <a:gd name="T76" fmla="*/ 626 w 685"/>
                <a:gd name="T77" fmla="*/ 322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5" h="1430">
                  <a:moveTo>
                    <a:pt x="626" y="322"/>
                  </a:moveTo>
                  <a:cubicBezTo>
                    <a:pt x="685" y="266"/>
                    <a:pt x="685" y="266"/>
                    <a:pt x="685" y="266"/>
                  </a:cubicBezTo>
                  <a:cubicBezTo>
                    <a:pt x="631" y="101"/>
                    <a:pt x="631" y="101"/>
                    <a:pt x="631" y="101"/>
                  </a:cubicBezTo>
                  <a:cubicBezTo>
                    <a:pt x="631" y="101"/>
                    <a:pt x="627" y="98"/>
                    <a:pt x="621" y="91"/>
                  </a:cubicBezTo>
                  <a:cubicBezTo>
                    <a:pt x="597" y="68"/>
                    <a:pt x="537" y="14"/>
                    <a:pt x="497" y="0"/>
                  </a:cubicBezTo>
                  <a:cubicBezTo>
                    <a:pt x="497" y="0"/>
                    <a:pt x="497" y="0"/>
                    <a:pt x="497" y="0"/>
                  </a:cubicBezTo>
                  <a:cubicBezTo>
                    <a:pt x="498" y="2"/>
                    <a:pt x="498" y="3"/>
                    <a:pt x="499" y="5"/>
                  </a:cubicBezTo>
                  <a:cubicBezTo>
                    <a:pt x="500" y="10"/>
                    <a:pt x="502" y="16"/>
                    <a:pt x="504" y="22"/>
                  </a:cubicBezTo>
                  <a:cubicBezTo>
                    <a:pt x="513" y="56"/>
                    <a:pt x="520" y="95"/>
                    <a:pt x="523" y="140"/>
                  </a:cubicBezTo>
                  <a:cubicBezTo>
                    <a:pt x="527" y="184"/>
                    <a:pt x="527" y="236"/>
                    <a:pt x="525" y="297"/>
                  </a:cubicBezTo>
                  <a:cubicBezTo>
                    <a:pt x="523" y="351"/>
                    <a:pt x="461" y="611"/>
                    <a:pt x="409" y="820"/>
                  </a:cubicBezTo>
                  <a:cubicBezTo>
                    <a:pt x="377" y="950"/>
                    <a:pt x="349" y="1059"/>
                    <a:pt x="342" y="1088"/>
                  </a:cubicBezTo>
                  <a:cubicBezTo>
                    <a:pt x="337" y="1070"/>
                    <a:pt x="299" y="928"/>
                    <a:pt x="258" y="768"/>
                  </a:cubicBezTo>
                  <a:cubicBezTo>
                    <a:pt x="212" y="581"/>
                    <a:pt x="162" y="368"/>
                    <a:pt x="160" y="297"/>
                  </a:cubicBezTo>
                  <a:cubicBezTo>
                    <a:pt x="157" y="236"/>
                    <a:pt x="157" y="185"/>
                    <a:pt x="159" y="141"/>
                  </a:cubicBezTo>
                  <a:cubicBezTo>
                    <a:pt x="162" y="87"/>
                    <a:pt x="169" y="43"/>
                    <a:pt x="182" y="4"/>
                  </a:cubicBezTo>
                  <a:cubicBezTo>
                    <a:pt x="182" y="3"/>
                    <a:pt x="182" y="2"/>
                    <a:pt x="183" y="2"/>
                  </a:cubicBezTo>
                  <a:cubicBezTo>
                    <a:pt x="182" y="2"/>
                    <a:pt x="182" y="2"/>
                    <a:pt x="182" y="2"/>
                  </a:cubicBezTo>
                  <a:cubicBezTo>
                    <a:pt x="182" y="2"/>
                    <a:pt x="182" y="2"/>
                    <a:pt x="182" y="2"/>
                  </a:cubicBezTo>
                  <a:cubicBezTo>
                    <a:pt x="148" y="14"/>
                    <a:pt x="104" y="53"/>
                    <a:pt x="77" y="78"/>
                  </a:cubicBezTo>
                  <a:cubicBezTo>
                    <a:pt x="77" y="79"/>
                    <a:pt x="77" y="79"/>
                    <a:pt x="77" y="79"/>
                  </a:cubicBezTo>
                  <a:cubicBezTo>
                    <a:pt x="62" y="92"/>
                    <a:pt x="53" y="101"/>
                    <a:pt x="53" y="101"/>
                  </a:cubicBezTo>
                  <a:cubicBezTo>
                    <a:pt x="0" y="266"/>
                    <a:pt x="0" y="266"/>
                    <a:pt x="0" y="266"/>
                  </a:cubicBezTo>
                  <a:cubicBezTo>
                    <a:pt x="0" y="266"/>
                    <a:pt x="0" y="266"/>
                    <a:pt x="0" y="266"/>
                  </a:cubicBezTo>
                  <a:cubicBezTo>
                    <a:pt x="58" y="322"/>
                    <a:pt x="58" y="322"/>
                    <a:pt x="58" y="322"/>
                  </a:cubicBezTo>
                  <a:cubicBezTo>
                    <a:pt x="58" y="322"/>
                    <a:pt x="58" y="322"/>
                    <a:pt x="58" y="322"/>
                  </a:cubicBezTo>
                  <a:cubicBezTo>
                    <a:pt x="12" y="421"/>
                    <a:pt x="12" y="421"/>
                    <a:pt x="12" y="421"/>
                  </a:cubicBezTo>
                  <a:cubicBezTo>
                    <a:pt x="12" y="421"/>
                    <a:pt x="12" y="421"/>
                    <a:pt x="12" y="421"/>
                  </a:cubicBezTo>
                  <a:cubicBezTo>
                    <a:pt x="270" y="1430"/>
                    <a:pt x="270" y="1430"/>
                    <a:pt x="270" y="1430"/>
                  </a:cubicBezTo>
                  <a:cubicBezTo>
                    <a:pt x="289" y="1430"/>
                    <a:pt x="289" y="1430"/>
                    <a:pt x="289" y="1430"/>
                  </a:cubicBezTo>
                  <a:cubicBezTo>
                    <a:pt x="327" y="1430"/>
                    <a:pt x="327" y="1430"/>
                    <a:pt x="327" y="1430"/>
                  </a:cubicBezTo>
                  <a:cubicBezTo>
                    <a:pt x="333" y="1430"/>
                    <a:pt x="333" y="1430"/>
                    <a:pt x="333" y="1430"/>
                  </a:cubicBezTo>
                  <a:cubicBezTo>
                    <a:pt x="335" y="1430"/>
                    <a:pt x="335" y="1430"/>
                    <a:pt x="335" y="1430"/>
                  </a:cubicBezTo>
                  <a:cubicBezTo>
                    <a:pt x="342" y="1430"/>
                    <a:pt x="342" y="1430"/>
                    <a:pt x="342" y="1430"/>
                  </a:cubicBezTo>
                  <a:cubicBezTo>
                    <a:pt x="342" y="1430"/>
                    <a:pt x="342" y="1430"/>
                    <a:pt x="342" y="1430"/>
                  </a:cubicBezTo>
                  <a:cubicBezTo>
                    <a:pt x="397" y="1430"/>
                    <a:pt x="397" y="1430"/>
                    <a:pt x="397" y="1430"/>
                  </a:cubicBezTo>
                  <a:cubicBezTo>
                    <a:pt x="414" y="1430"/>
                    <a:pt x="414" y="1430"/>
                    <a:pt x="414" y="1430"/>
                  </a:cubicBezTo>
                  <a:cubicBezTo>
                    <a:pt x="672" y="421"/>
                    <a:pt x="672" y="421"/>
                    <a:pt x="672" y="421"/>
                  </a:cubicBezTo>
                  <a:lnTo>
                    <a:pt x="626" y="322"/>
                  </a:lnTo>
                  <a:close/>
                </a:path>
              </a:pathLst>
            </a:custGeom>
            <a:solidFill>
              <a:srgbClr val="CB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3" name="Freeform 58"/>
            <p:cNvSpPr>
              <a:spLocks/>
            </p:cNvSpPr>
            <p:nvPr userDrawn="1"/>
          </p:nvSpPr>
          <p:spPr bwMode="auto">
            <a:xfrm>
              <a:off x="11258550" y="5222424"/>
              <a:ext cx="307975" cy="287337"/>
            </a:xfrm>
            <a:custGeom>
              <a:avLst/>
              <a:gdLst>
                <a:gd name="T0" fmla="*/ 137 w 160"/>
                <a:gd name="T1" fmla="*/ 2 h 150"/>
                <a:gd name="T2" fmla="*/ 113 w 160"/>
                <a:gd name="T3" fmla="*/ 27 h 150"/>
                <a:gd name="T4" fmla="*/ 80 w 160"/>
                <a:gd name="T5" fmla="*/ 15 h 150"/>
                <a:gd name="T6" fmla="*/ 47 w 160"/>
                <a:gd name="T7" fmla="*/ 27 h 150"/>
                <a:gd name="T8" fmla="*/ 23 w 160"/>
                <a:gd name="T9" fmla="*/ 2 h 150"/>
                <a:gd name="T10" fmla="*/ 9 w 160"/>
                <a:gd name="T11" fmla="*/ 1 h 150"/>
                <a:gd name="T12" fmla="*/ 0 w 160"/>
                <a:gd name="T13" fmla="*/ 150 h 150"/>
                <a:gd name="T14" fmla="*/ 80 w 160"/>
                <a:gd name="T15" fmla="*/ 75 h 150"/>
                <a:gd name="T16" fmla="*/ 160 w 160"/>
                <a:gd name="T17" fmla="*/ 150 h 150"/>
                <a:gd name="T18" fmla="*/ 151 w 160"/>
                <a:gd name="T19" fmla="*/ 1 h 150"/>
                <a:gd name="T20" fmla="*/ 137 w 160"/>
                <a:gd name="T21" fmla="*/ 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150">
                  <a:moveTo>
                    <a:pt x="137" y="2"/>
                  </a:moveTo>
                  <a:cubicBezTo>
                    <a:pt x="127" y="7"/>
                    <a:pt x="123" y="25"/>
                    <a:pt x="113" y="27"/>
                  </a:cubicBezTo>
                  <a:cubicBezTo>
                    <a:pt x="103" y="30"/>
                    <a:pt x="91" y="15"/>
                    <a:pt x="80" y="15"/>
                  </a:cubicBezTo>
                  <a:cubicBezTo>
                    <a:pt x="69" y="15"/>
                    <a:pt x="57" y="30"/>
                    <a:pt x="47" y="27"/>
                  </a:cubicBezTo>
                  <a:cubicBezTo>
                    <a:pt x="37" y="25"/>
                    <a:pt x="33" y="7"/>
                    <a:pt x="23" y="2"/>
                  </a:cubicBezTo>
                  <a:cubicBezTo>
                    <a:pt x="20" y="0"/>
                    <a:pt x="15" y="0"/>
                    <a:pt x="9" y="1"/>
                  </a:cubicBezTo>
                  <a:cubicBezTo>
                    <a:pt x="0" y="150"/>
                    <a:pt x="0" y="150"/>
                    <a:pt x="0" y="150"/>
                  </a:cubicBezTo>
                  <a:cubicBezTo>
                    <a:pt x="80" y="75"/>
                    <a:pt x="80" y="75"/>
                    <a:pt x="80" y="75"/>
                  </a:cubicBezTo>
                  <a:cubicBezTo>
                    <a:pt x="160" y="150"/>
                    <a:pt x="160" y="150"/>
                    <a:pt x="160" y="150"/>
                  </a:cubicBezTo>
                  <a:cubicBezTo>
                    <a:pt x="151" y="1"/>
                    <a:pt x="151" y="1"/>
                    <a:pt x="151" y="1"/>
                  </a:cubicBezTo>
                  <a:cubicBezTo>
                    <a:pt x="145" y="0"/>
                    <a:pt x="140" y="0"/>
                    <a:pt x="137" y="2"/>
                  </a:cubicBezTo>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 name="Freeform 59"/>
            <p:cNvSpPr>
              <a:spLocks noEditPoints="1"/>
            </p:cNvSpPr>
            <p:nvPr userDrawn="1"/>
          </p:nvSpPr>
          <p:spPr bwMode="auto">
            <a:xfrm>
              <a:off x="11131550" y="4717599"/>
              <a:ext cx="561975" cy="557212"/>
            </a:xfrm>
            <a:custGeom>
              <a:avLst/>
              <a:gdLst>
                <a:gd name="T0" fmla="*/ 273 w 292"/>
                <a:gd name="T1" fmla="*/ 174 h 290"/>
                <a:gd name="T2" fmla="*/ 292 w 292"/>
                <a:gd name="T3" fmla="*/ 145 h 290"/>
                <a:gd name="T4" fmla="*/ 273 w 292"/>
                <a:gd name="T5" fmla="*/ 116 h 290"/>
                <a:gd name="T6" fmla="*/ 278 w 292"/>
                <a:gd name="T7" fmla="*/ 81 h 290"/>
                <a:gd name="T8" fmla="*/ 248 w 292"/>
                <a:gd name="T9" fmla="*/ 63 h 290"/>
                <a:gd name="T10" fmla="*/ 237 w 292"/>
                <a:gd name="T11" fmla="*/ 30 h 290"/>
                <a:gd name="T12" fmla="*/ 203 w 292"/>
                <a:gd name="T13" fmla="*/ 27 h 290"/>
                <a:gd name="T14" fmla="*/ 179 w 292"/>
                <a:gd name="T15" fmla="*/ 2 h 290"/>
                <a:gd name="T16" fmla="*/ 146 w 292"/>
                <a:gd name="T17" fmla="*/ 14 h 290"/>
                <a:gd name="T18" fmla="*/ 113 w 292"/>
                <a:gd name="T19" fmla="*/ 2 h 290"/>
                <a:gd name="T20" fmla="*/ 89 w 292"/>
                <a:gd name="T21" fmla="*/ 27 h 290"/>
                <a:gd name="T22" fmla="*/ 55 w 292"/>
                <a:gd name="T23" fmla="*/ 30 h 290"/>
                <a:gd name="T24" fmla="*/ 44 w 292"/>
                <a:gd name="T25" fmla="*/ 63 h 290"/>
                <a:gd name="T26" fmla="*/ 14 w 292"/>
                <a:gd name="T27" fmla="*/ 81 h 290"/>
                <a:gd name="T28" fmla="*/ 19 w 292"/>
                <a:gd name="T29" fmla="*/ 116 h 290"/>
                <a:gd name="T30" fmla="*/ 0 w 292"/>
                <a:gd name="T31" fmla="*/ 145 h 290"/>
                <a:gd name="T32" fmla="*/ 19 w 292"/>
                <a:gd name="T33" fmla="*/ 174 h 290"/>
                <a:gd name="T34" fmla="*/ 14 w 292"/>
                <a:gd name="T35" fmla="*/ 208 h 290"/>
                <a:gd name="T36" fmla="*/ 44 w 292"/>
                <a:gd name="T37" fmla="*/ 226 h 290"/>
                <a:gd name="T38" fmla="*/ 55 w 292"/>
                <a:gd name="T39" fmla="*/ 259 h 290"/>
                <a:gd name="T40" fmla="*/ 75 w 292"/>
                <a:gd name="T41" fmla="*/ 261 h 290"/>
                <a:gd name="T42" fmla="*/ 89 w 292"/>
                <a:gd name="T43" fmla="*/ 262 h 290"/>
                <a:gd name="T44" fmla="*/ 113 w 292"/>
                <a:gd name="T45" fmla="*/ 287 h 290"/>
                <a:gd name="T46" fmla="*/ 146 w 292"/>
                <a:gd name="T47" fmla="*/ 275 h 290"/>
                <a:gd name="T48" fmla="*/ 179 w 292"/>
                <a:gd name="T49" fmla="*/ 287 h 290"/>
                <a:gd name="T50" fmla="*/ 203 w 292"/>
                <a:gd name="T51" fmla="*/ 262 h 290"/>
                <a:gd name="T52" fmla="*/ 217 w 292"/>
                <a:gd name="T53" fmla="*/ 261 h 290"/>
                <a:gd name="T54" fmla="*/ 237 w 292"/>
                <a:gd name="T55" fmla="*/ 259 h 290"/>
                <a:gd name="T56" fmla="*/ 248 w 292"/>
                <a:gd name="T57" fmla="*/ 226 h 290"/>
                <a:gd name="T58" fmla="*/ 278 w 292"/>
                <a:gd name="T59" fmla="*/ 208 h 290"/>
                <a:gd name="T60" fmla="*/ 273 w 292"/>
                <a:gd name="T61" fmla="*/ 174 h 290"/>
                <a:gd name="T62" fmla="*/ 146 w 292"/>
                <a:gd name="T63" fmla="*/ 265 h 290"/>
                <a:gd name="T64" fmla="*/ 26 w 292"/>
                <a:gd name="T65" fmla="*/ 145 h 290"/>
                <a:gd name="T66" fmla="*/ 146 w 292"/>
                <a:gd name="T67" fmla="*/ 25 h 290"/>
                <a:gd name="T68" fmla="*/ 266 w 292"/>
                <a:gd name="T69" fmla="*/ 145 h 290"/>
                <a:gd name="T70" fmla="*/ 146 w 292"/>
                <a:gd name="T71" fmla="*/ 265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290">
                  <a:moveTo>
                    <a:pt x="273" y="174"/>
                  </a:moveTo>
                  <a:cubicBezTo>
                    <a:pt x="275" y="164"/>
                    <a:pt x="292" y="155"/>
                    <a:pt x="292" y="145"/>
                  </a:cubicBezTo>
                  <a:cubicBezTo>
                    <a:pt x="292" y="134"/>
                    <a:pt x="275" y="125"/>
                    <a:pt x="273" y="116"/>
                  </a:cubicBezTo>
                  <a:cubicBezTo>
                    <a:pt x="271" y="105"/>
                    <a:pt x="282" y="90"/>
                    <a:pt x="278" y="81"/>
                  </a:cubicBezTo>
                  <a:cubicBezTo>
                    <a:pt x="273" y="72"/>
                    <a:pt x="254" y="71"/>
                    <a:pt x="248" y="63"/>
                  </a:cubicBezTo>
                  <a:cubicBezTo>
                    <a:pt x="241" y="55"/>
                    <a:pt x="245" y="37"/>
                    <a:pt x="237" y="30"/>
                  </a:cubicBezTo>
                  <a:cubicBezTo>
                    <a:pt x="229" y="24"/>
                    <a:pt x="212" y="32"/>
                    <a:pt x="203" y="27"/>
                  </a:cubicBezTo>
                  <a:cubicBezTo>
                    <a:pt x="193" y="23"/>
                    <a:pt x="189" y="4"/>
                    <a:pt x="179" y="2"/>
                  </a:cubicBezTo>
                  <a:cubicBezTo>
                    <a:pt x="169" y="0"/>
                    <a:pt x="157" y="14"/>
                    <a:pt x="146" y="14"/>
                  </a:cubicBezTo>
                  <a:cubicBezTo>
                    <a:pt x="135" y="14"/>
                    <a:pt x="123" y="0"/>
                    <a:pt x="113" y="2"/>
                  </a:cubicBezTo>
                  <a:cubicBezTo>
                    <a:pt x="103" y="4"/>
                    <a:pt x="99" y="23"/>
                    <a:pt x="89" y="27"/>
                  </a:cubicBezTo>
                  <a:cubicBezTo>
                    <a:pt x="80" y="32"/>
                    <a:pt x="63" y="24"/>
                    <a:pt x="55" y="30"/>
                  </a:cubicBezTo>
                  <a:cubicBezTo>
                    <a:pt x="47" y="37"/>
                    <a:pt x="51" y="55"/>
                    <a:pt x="44" y="63"/>
                  </a:cubicBezTo>
                  <a:cubicBezTo>
                    <a:pt x="38" y="71"/>
                    <a:pt x="19" y="72"/>
                    <a:pt x="14" y="81"/>
                  </a:cubicBezTo>
                  <a:cubicBezTo>
                    <a:pt x="10" y="90"/>
                    <a:pt x="21" y="105"/>
                    <a:pt x="19" y="116"/>
                  </a:cubicBezTo>
                  <a:cubicBezTo>
                    <a:pt x="17" y="125"/>
                    <a:pt x="0" y="134"/>
                    <a:pt x="0" y="145"/>
                  </a:cubicBezTo>
                  <a:cubicBezTo>
                    <a:pt x="0" y="155"/>
                    <a:pt x="17" y="164"/>
                    <a:pt x="19" y="174"/>
                  </a:cubicBezTo>
                  <a:cubicBezTo>
                    <a:pt x="21" y="184"/>
                    <a:pt x="10" y="199"/>
                    <a:pt x="14" y="208"/>
                  </a:cubicBezTo>
                  <a:cubicBezTo>
                    <a:pt x="19" y="218"/>
                    <a:pt x="38" y="218"/>
                    <a:pt x="44" y="226"/>
                  </a:cubicBezTo>
                  <a:cubicBezTo>
                    <a:pt x="51" y="234"/>
                    <a:pt x="47" y="253"/>
                    <a:pt x="55" y="259"/>
                  </a:cubicBezTo>
                  <a:cubicBezTo>
                    <a:pt x="60" y="263"/>
                    <a:pt x="68" y="262"/>
                    <a:pt x="75" y="261"/>
                  </a:cubicBezTo>
                  <a:cubicBezTo>
                    <a:pt x="81" y="260"/>
                    <a:pt x="86" y="260"/>
                    <a:pt x="89" y="262"/>
                  </a:cubicBezTo>
                  <a:cubicBezTo>
                    <a:pt x="99" y="267"/>
                    <a:pt x="103" y="285"/>
                    <a:pt x="113" y="287"/>
                  </a:cubicBezTo>
                  <a:cubicBezTo>
                    <a:pt x="123" y="290"/>
                    <a:pt x="135" y="275"/>
                    <a:pt x="146" y="275"/>
                  </a:cubicBezTo>
                  <a:cubicBezTo>
                    <a:pt x="157" y="275"/>
                    <a:pt x="169" y="290"/>
                    <a:pt x="179" y="287"/>
                  </a:cubicBezTo>
                  <a:cubicBezTo>
                    <a:pt x="189" y="285"/>
                    <a:pt x="193" y="267"/>
                    <a:pt x="203" y="262"/>
                  </a:cubicBezTo>
                  <a:cubicBezTo>
                    <a:pt x="206" y="260"/>
                    <a:pt x="211" y="260"/>
                    <a:pt x="217" y="261"/>
                  </a:cubicBezTo>
                  <a:cubicBezTo>
                    <a:pt x="224" y="262"/>
                    <a:pt x="232" y="263"/>
                    <a:pt x="237" y="259"/>
                  </a:cubicBezTo>
                  <a:cubicBezTo>
                    <a:pt x="245" y="253"/>
                    <a:pt x="241" y="234"/>
                    <a:pt x="248" y="226"/>
                  </a:cubicBezTo>
                  <a:cubicBezTo>
                    <a:pt x="254" y="218"/>
                    <a:pt x="273" y="218"/>
                    <a:pt x="278" y="208"/>
                  </a:cubicBezTo>
                  <a:cubicBezTo>
                    <a:pt x="282" y="199"/>
                    <a:pt x="271" y="184"/>
                    <a:pt x="273" y="174"/>
                  </a:cubicBezTo>
                  <a:moveTo>
                    <a:pt x="146" y="265"/>
                  </a:moveTo>
                  <a:cubicBezTo>
                    <a:pt x="80" y="265"/>
                    <a:pt x="26" y="211"/>
                    <a:pt x="26" y="145"/>
                  </a:cubicBezTo>
                  <a:cubicBezTo>
                    <a:pt x="26" y="78"/>
                    <a:pt x="80" y="25"/>
                    <a:pt x="146" y="25"/>
                  </a:cubicBezTo>
                  <a:cubicBezTo>
                    <a:pt x="212" y="25"/>
                    <a:pt x="266" y="78"/>
                    <a:pt x="266" y="145"/>
                  </a:cubicBezTo>
                  <a:cubicBezTo>
                    <a:pt x="266" y="211"/>
                    <a:pt x="212" y="265"/>
                    <a:pt x="146" y="265"/>
                  </a:cubicBezTo>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5" name="Freeform 60"/>
            <p:cNvSpPr>
              <a:spLocks noEditPoints="1"/>
            </p:cNvSpPr>
            <p:nvPr userDrawn="1"/>
          </p:nvSpPr>
          <p:spPr bwMode="auto">
            <a:xfrm>
              <a:off x="11182350" y="4765224"/>
              <a:ext cx="461963" cy="461962"/>
            </a:xfrm>
            <a:custGeom>
              <a:avLst/>
              <a:gdLst>
                <a:gd name="T0" fmla="*/ 120 w 240"/>
                <a:gd name="T1" fmla="*/ 0 h 240"/>
                <a:gd name="T2" fmla="*/ 0 w 240"/>
                <a:gd name="T3" fmla="*/ 120 h 240"/>
                <a:gd name="T4" fmla="*/ 120 w 240"/>
                <a:gd name="T5" fmla="*/ 240 h 240"/>
                <a:gd name="T6" fmla="*/ 240 w 240"/>
                <a:gd name="T7" fmla="*/ 120 h 240"/>
                <a:gd name="T8" fmla="*/ 120 w 240"/>
                <a:gd name="T9" fmla="*/ 0 h 240"/>
                <a:gd name="T10" fmla="*/ 120 w 240"/>
                <a:gd name="T11" fmla="*/ 224 h 240"/>
                <a:gd name="T12" fmla="*/ 16 w 240"/>
                <a:gd name="T13" fmla="*/ 120 h 240"/>
                <a:gd name="T14" fmla="*/ 120 w 240"/>
                <a:gd name="T15" fmla="*/ 16 h 240"/>
                <a:gd name="T16" fmla="*/ 224 w 240"/>
                <a:gd name="T17" fmla="*/ 120 h 240"/>
                <a:gd name="T18" fmla="*/ 120 w 240"/>
                <a:gd name="T19" fmla="*/ 22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40">
                  <a:moveTo>
                    <a:pt x="120" y="0"/>
                  </a:moveTo>
                  <a:cubicBezTo>
                    <a:pt x="54" y="0"/>
                    <a:pt x="0" y="53"/>
                    <a:pt x="0" y="120"/>
                  </a:cubicBezTo>
                  <a:cubicBezTo>
                    <a:pt x="0" y="186"/>
                    <a:pt x="54" y="240"/>
                    <a:pt x="120" y="240"/>
                  </a:cubicBezTo>
                  <a:cubicBezTo>
                    <a:pt x="186" y="240"/>
                    <a:pt x="240" y="186"/>
                    <a:pt x="240" y="120"/>
                  </a:cubicBezTo>
                  <a:cubicBezTo>
                    <a:pt x="240" y="53"/>
                    <a:pt x="186" y="0"/>
                    <a:pt x="120" y="0"/>
                  </a:cubicBezTo>
                  <a:moveTo>
                    <a:pt x="120" y="224"/>
                  </a:moveTo>
                  <a:cubicBezTo>
                    <a:pt x="63" y="224"/>
                    <a:pt x="16" y="177"/>
                    <a:pt x="16" y="120"/>
                  </a:cubicBezTo>
                  <a:cubicBezTo>
                    <a:pt x="16" y="62"/>
                    <a:pt x="63" y="16"/>
                    <a:pt x="120" y="16"/>
                  </a:cubicBezTo>
                  <a:cubicBezTo>
                    <a:pt x="177" y="16"/>
                    <a:pt x="224" y="62"/>
                    <a:pt x="224" y="120"/>
                  </a:cubicBezTo>
                  <a:cubicBezTo>
                    <a:pt x="224" y="177"/>
                    <a:pt x="177" y="224"/>
                    <a:pt x="120" y="224"/>
                  </a:cubicBezTo>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6" name="Freeform 61"/>
            <p:cNvSpPr>
              <a:spLocks noEditPoints="1"/>
            </p:cNvSpPr>
            <p:nvPr userDrawn="1"/>
          </p:nvSpPr>
          <p:spPr bwMode="auto">
            <a:xfrm>
              <a:off x="11212513" y="4795387"/>
              <a:ext cx="400050" cy="400050"/>
            </a:xfrm>
            <a:custGeom>
              <a:avLst/>
              <a:gdLst>
                <a:gd name="T0" fmla="*/ 104 w 208"/>
                <a:gd name="T1" fmla="*/ 0 h 208"/>
                <a:gd name="T2" fmla="*/ 0 w 208"/>
                <a:gd name="T3" fmla="*/ 104 h 208"/>
                <a:gd name="T4" fmla="*/ 104 w 208"/>
                <a:gd name="T5" fmla="*/ 208 h 208"/>
                <a:gd name="T6" fmla="*/ 208 w 208"/>
                <a:gd name="T7" fmla="*/ 104 h 208"/>
                <a:gd name="T8" fmla="*/ 104 w 208"/>
                <a:gd name="T9" fmla="*/ 0 h 208"/>
                <a:gd name="T10" fmla="*/ 138 w 208"/>
                <a:gd name="T11" fmla="*/ 172 h 208"/>
                <a:gd name="T12" fmla="*/ 64 w 208"/>
                <a:gd name="T13" fmla="*/ 172 h 208"/>
                <a:gd name="T14" fmla="*/ 64 w 208"/>
                <a:gd name="T15" fmla="*/ 168 h 208"/>
                <a:gd name="T16" fmla="*/ 85 w 208"/>
                <a:gd name="T17" fmla="*/ 168 h 208"/>
                <a:gd name="T18" fmla="*/ 85 w 208"/>
                <a:gd name="T19" fmla="*/ 39 h 208"/>
                <a:gd name="T20" fmla="*/ 64 w 208"/>
                <a:gd name="T21" fmla="*/ 42 h 208"/>
                <a:gd name="T22" fmla="*/ 63 w 208"/>
                <a:gd name="T23" fmla="*/ 38 h 208"/>
                <a:gd name="T24" fmla="*/ 108 w 208"/>
                <a:gd name="T25" fmla="*/ 32 h 208"/>
                <a:gd name="T26" fmla="*/ 124 w 208"/>
                <a:gd name="T27" fmla="*/ 32 h 208"/>
                <a:gd name="T28" fmla="*/ 123 w 208"/>
                <a:gd name="T29" fmla="*/ 168 h 208"/>
                <a:gd name="T30" fmla="*/ 138 w 208"/>
                <a:gd name="T31" fmla="*/ 168 h 208"/>
                <a:gd name="T32" fmla="*/ 138 w 208"/>
                <a:gd name="T33" fmla="*/ 17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8" h="208">
                  <a:moveTo>
                    <a:pt x="104" y="0"/>
                  </a:moveTo>
                  <a:cubicBezTo>
                    <a:pt x="47" y="0"/>
                    <a:pt x="0" y="46"/>
                    <a:pt x="0" y="104"/>
                  </a:cubicBezTo>
                  <a:cubicBezTo>
                    <a:pt x="0" y="161"/>
                    <a:pt x="47" y="208"/>
                    <a:pt x="104" y="208"/>
                  </a:cubicBezTo>
                  <a:cubicBezTo>
                    <a:pt x="161" y="208"/>
                    <a:pt x="208" y="161"/>
                    <a:pt x="208" y="104"/>
                  </a:cubicBezTo>
                  <a:cubicBezTo>
                    <a:pt x="208" y="46"/>
                    <a:pt x="161" y="0"/>
                    <a:pt x="104" y="0"/>
                  </a:cubicBezTo>
                  <a:moveTo>
                    <a:pt x="138" y="172"/>
                  </a:moveTo>
                  <a:cubicBezTo>
                    <a:pt x="64" y="172"/>
                    <a:pt x="64" y="172"/>
                    <a:pt x="64" y="172"/>
                  </a:cubicBezTo>
                  <a:cubicBezTo>
                    <a:pt x="64" y="168"/>
                    <a:pt x="64" y="168"/>
                    <a:pt x="64" y="168"/>
                  </a:cubicBezTo>
                  <a:cubicBezTo>
                    <a:pt x="85" y="168"/>
                    <a:pt x="85" y="168"/>
                    <a:pt x="85" y="168"/>
                  </a:cubicBezTo>
                  <a:cubicBezTo>
                    <a:pt x="85" y="39"/>
                    <a:pt x="85" y="39"/>
                    <a:pt x="85" y="39"/>
                  </a:cubicBezTo>
                  <a:cubicBezTo>
                    <a:pt x="64" y="42"/>
                    <a:pt x="64" y="42"/>
                    <a:pt x="64" y="42"/>
                  </a:cubicBezTo>
                  <a:cubicBezTo>
                    <a:pt x="63" y="38"/>
                    <a:pt x="63" y="38"/>
                    <a:pt x="63" y="38"/>
                  </a:cubicBezTo>
                  <a:cubicBezTo>
                    <a:pt x="108" y="32"/>
                    <a:pt x="108" y="32"/>
                    <a:pt x="108" y="32"/>
                  </a:cubicBezTo>
                  <a:cubicBezTo>
                    <a:pt x="124" y="32"/>
                    <a:pt x="124" y="32"/>
                    <a:pt x="124" y="32"/>
                  </a:cubicBezTo>
                  <a:cubicBezTo>
                    <a:pt x="123" y="168"/>
                    <a:pt x="123" y="168"/>
                    <a:pt x="123" y="168"/>
                  </a:cubicBezTo>
                  <a:cubicBezTo>
                    <a:pt x="138" y="168"/>
                    <a:pt x="138" y="168"/>
                    <a:pt x="138" y="168"/>
                  </a:cubicBezTo>
                  <a:lnTo>
                    <a:pt x="138" y="172"/>
                  </a:ln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Freeform 62"/>
            <p:cNvSpPr>
              <a:spLocks/>
            </p:cNvSpPr>
            <p:nvPr userDrawn="1"/>
          </p:nvSpPr>
          <p:spPr bwMode="auto">
            <a:xfrm>
              <a:off x="11334750" y="4857299"/>
              <a:ext cx="144463" cy="269875"/>
            </a:xfrm>
            <a:custGeom>
              <a:avLst/>
              <a:gdLst>
                <a:gd name="T0" fmla="*/ 74 w 91"/>
                <a:gd name="T1" fmla="*/ 0 h 170"/>
                <a:gd name="T2" fmla="*/ 54 w 91"/>
                <a:gd name="T3" fmla="*/ 0 h 170"/>
                <a:gd name="T4" fmla="*/ 0 w 91"/>
                <a:gd name="T5" fmla="*/ 7 h 170"/>
                <a:gd name="T6" fmla="*/ 1 w 91"/>
                <a:gd name="T7" fmla="*/ 12 h 170"/>
                <a:gd name="T8" fmla="*/ 26 w 91"/>
                <a:gd name="T9" fmla="*/ 8 h 170"/>
                <a:gd name="T10" fmla="*/ 26 w 91"/>
                <a:gd name="T11" fmla="*/ 165 h 170"/>
                <a:gd name="T12" fmla="*/ 1 w 91"/>
                <a:gd name="T13" fmla="*/ 165 h 170"/>
                <a:gd name="T14" fmla="*/ 1 w 91"/>
                <a:gd name="T15" fmla="*/ 170 h 170"/>
                <a:gd name="T16" fmla="*/ 91 w 91"/>
                <a:gd name="T17" fmla="*/ 170 h 170"/>
                <a:gd name="T18" fmla="*/ 91 w 91"/>
                <a:gd name="T19" fmla="*/ 165 h 170"/>
                <a:gd name="T20" fmla="*/ 72 w 91"/>
                <a:gd name="T21" fmla="*/ 165 h 170"/>
                <a:gd name="T22" fmla="*/ 74 w 91"/>
                <a:gd name="T2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170">
                  <a:moveTo>
                    <a:pt x="74" y="0"/>
                  </a:moveTo>
                  <a:lnTo>
                    <a:pt x="54" y="0"/>
                  </a:lnTo>
                  <a:lnTo>
                    <a:pt x="0" y="7"/>
                  </a:lnTo>
                  <a:lnTo>
                    <a:pt x="1" y="12"/>
                  </a:lnTo>
                  <a:lnTo>
                    <a:pt x="26" y="8"/>
                  </a:lnTo>
                  <a:lnTo>
                    <a:pt x="26" y="165"/>
                  </a:lnTo>
                  <a:lnTo>
                    <a:pt x="1" y="165"/>
                  </a:lnTo>
                  <a:lnTo>
                    <a:pt x="1" y="170"/>
                  </a:lnTo>
                  <a:lnTo>
                    <a:pt x="91" y="170"/>
                  </a:lnTo>
                  <a:lnTo>
                    <a:pt x="91" y="165"/>
                  </a:lnTo>
                  <a:lnTo>
                    <a:pt x="72" y="165"/>
                  </a:lnTo>
                  <a:lnTo>
                    <a:pt x="74" y="0"/>
                  </a:ln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47"/>
            <p:cNvSpPr>
              <a:spLocks/>
            </p:cNvSpPr>
            <p:nvPr userDrawn="1"/>
          </p:nvSpPr>
          <p:spPr bwMode="auto">
            <a:xfrm flipH="1">
              <a:off x="7715194" y="2603358"/>
              <a:ext cx="3006733" cy="4254642"/>
            </a:xfrm>
            <a:custGeom>
              <a:avLst/>
              <a:gdLst>
                <a:gd name="connsiteX0" fmla="*/ 1761824 w 3006733"/>
                <a:gd name="connsiteY0" fmla="*/ 0 h 4254642"/>
                <a:gd name="connsiteX1" fmla="*/ 1785774 w 3006733"/>
                <a:gd name="connsiteY1" fmla="*/ 1352579 h 4254642"/>
                <a:gd name="connsiteX2" fmla="*/ 13498 w 3006733"/>
                <a:gd name="connsiteY2" fmla="*/ 3734553 h 4254642"/>
                <a:gd name="connsiteX3" fmla="*/ 127259 w 3006733"/>
                <a:gd name="connsiteY3" fmla="*/ 4120577 h 4254642"/>
                <a:gd name="connsiteX4" fmla="*/ 198728 w 3006733"/>
                <a:gd name="connsiteY4" fmla="*/ 4254642 h 4254642"/>
                <a:gd name="connsiteX5" fmla="*/ 942584 w 3006733"/>
                <a:gd name="connsiteY5" fmla="*/ 4254642 h 4254642"/>
                <a:gd name="connsiteX6" fmla="*/ 1035289 w 3006733"/>
                <a:gd name="connsiteY6" fmla="*/ 4224517 h 4254642"/>
                <a:gd name="connsiteX7" fmla="*/ 1917497 w 3006733"/>
                <a:gd name="connsiteY7" fmla="*/ 3662735 h 4254642"/>
                <a:gd name="connsiteX8" fmla="*/ 2971283 w 3006733"/>
                <a:gd name="connsiteY8" fmla="*/ 2429853 h 4254642"/>
                <a:gd name="connsiteX9" fmla="*/ 1761824 w 3006733"/>
                <a:gd name="connsiteY9" fmla="*/ 0 h 425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06733" h="4254642">
                  <a:moveTo>
                    <a:pt x="1761824" y="0"/>
                  </a:moveTo>
                  <a:cubicBezTo>
                    <a:pt x="2025271" y="155607"/>
                    <a:pt x="2612038" y="634395"/>
                    <a:pt x="1785774" y="1352579"/>
                  </a:cubicBezTo>
                  <a:cubicBezTo>
                    <a:pt x="731988" y="2262277"/>
                    <a:pt x="-118225" y="2573490"/>
                    <a:pt x="13498" y="3734553"/>
                  </a:cubicBezTo>
                  <a:cubicBezTo>
                    <a:pt x="37448" y="3878190"/>
                    <a:pt x="76366" y="4006864"/>
                    <a:pt x="127259" y="4120577"/>
                  </a:cubicBezTo>
                  <a:lnTo>
                    <a:pt x="198728" y="4254642"/>
                  </a:lnTo>
                  <a:lnTo>
                    <a:pt x="942584" y="4254642"/>
                  </a:lnTo>
                  <a:lnTo>
                    <a:pt x="1035289" y="4224517"/>
                  </a:lnTo>
                  <a:cubicBezTo>
                    <a:pt x="1405760" y="4091026"/>
                    <a:pt x="1715422" y="3909610"/>
                    <a:pt x="1917497" y="3662735"/>
                  </a:cubicBezTo>
                  <a:cubicBezTo>
                    <a:pt x="2252793" y="3255764"/>
                    <a:pt x="2600063" y="2513642"/>
                    <a:pt x="2971283" y="2429853"/>
                  </a:cubicBezTo>
                  <a:cubicBezTo>
                    <a:pt x="2971283" y="2429853"/>
                    <a:pt x="3330528" y="861820"/>
                    <a:pt x="1761824"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49" name="Group 48"/>
            <p:cNvGrpSpPr/>
            <p:nvPr userDrawn="1"/>
          </p:nvGrpSpPr>
          <p:grpSpPr>
            <a:xfrm>
              <a:off x="8319457" y="2768149"/>
              <a:ext cx="2029968" cy="2143346"/>
              <a:chOff x="4892675" y="2098675"/>
              <a:chExt cx="2409825" cy="2543209"/>
            </a:xfrm>
          </p:grpSpPr>
          <p:sp>
            <p:nvSpPr>
              <p:cNvPr id="51" name="Freeform 70"/>
              <p:cNvSpPr>
                <a:spLocks/>
              </p:cNvSpPr>
              <p:nvPr userDrawn="1"/>
            </p:nvSpPr>
            <p:spPr bwMode="auto">
              <a:xfrm>
                <a:off x="4892675" y="2098675"/>
                <a:ext cx="2409825" cy="2543209"/>
              </a:xfrm>
              <a:custGeom>
                <a:avLst/>
                <a:gdLst>
                  <a:gd name="T0" fmla="*/ 602 w 640"/>
                  <a:gd name="T1" fmla="*/ 675 h 766"/>
                  <a:gd name="T2" fmla="*/ 602 w 640"/>
                  <a:gd name="T3" fmla="*/ 675 h 766"/>
                  <a:gd name="T4" fmla="*/ 629 w 640"/>
                  <a:gd name="T5" fmla="*/ 615 h 766"/>
                  <a:gd name="T6" fmla="*/ 593 w 640"/>
                  <a:gd name="T7" fmla="*/ 581 h 766"/>
                  <a:gd name="T8" fmla="*/ 593 w 640"/>
                  <a:gd name="T9" fmla="*/ 581 h 766"/>
                  <a:gd name="T10" fmla="*/ 594 w 640"/>
                  <a:gd name="T11" fmla="*/ 581 h 766"/>
                  <a:gd name="T12" fmla="*/ 627 w 640"/>
                  <a:gd name="T13" fmla="*/ 481 h 766"/>
                  <a:gd name="T14" fmla="*/ 640 w 640"/>
                  <a:gd name="T15" fmla="*/ 467 h 766"/>
                  <a:gd name="T16" fmla="*/ 431 w 640"/>
                  <a:gd name="T17" fmla="*/ 447 h 766"/>
                  <a:gd name="T18" fmla="*/ 207 w 640"/>
                  <a:gd name="T19" fmla="*/ 368 h 766"/>
                  <a:gd name="T20" fmla="*/ 115 w 640"/>
                  <a:gd name="T21" fmla="*/ 0 h 766"/>
                  <a:gd name="T22" fmla="*/ 109 w 640"/>
                  <a:gd name="T23" fmla="*/ 2 h 766"/>
                  <a:gd name="T24" fmla="*/ 7 w 640"/>
                  <a:gd name="T25" fmla="*/ 30 h 766"/>
                  <a:gd name="T26" fmla="*/ 0 w 640"/>
                  <a:gd name="T27" fmla="*/ 32 h 766"/>
                  <a:gd name="T28" fmla="*/ 78 w 640"/>
                  <a:gd name="T29" fmla="*/ 408 h 766"/>
                  <a:gd name="T30" fmla="*/ 246 w 640"/>
                  <a:gd name="T31" fmla="*/ 551 h 766"/>
                  <a:gd name="T32" fmla="*/ 525 w 640"/>
                  <a:gd name="T33" fmla="*/ 636 h 766"/>
                  <a:gd name="T34" fmla="*/ 602 w 640"/>
                  <a:gd name="T35" fmla="*/ 675 h 766"/>
                  <a:gd name="T36" fmla="*/ 602 w 640"/>
                  <a:gd name="T37" fmla="*/ 675 h 766"/>
                  <a:gd name="connsiteX0" fmla="*/ 9406 w 10000"/>
                  <a:gd name="connsiteY0" fmla="*/ 8812 h 8812"/>
                  <a:gd name="connsiteX1" fmla="*/ 9406 w 10000"/>
                  <a:gd name="connsiteY1" fmla="*/ 8812 h 8812"/>
                  <a:gd name="connsiteX2" fmla="*/ 9828 w 10000"/>
                  <a:gd name="connsiteY2" fmla="*/ 8029 h 8812"/>
                  <a:gd name="connsiteX3" fmla="*/ 9266 w 10000"/>
                  <a:gd name="connsiteY3" fmla="*/ 7585 h 8812"/>
                  <a:gd name="connsiteX4" fmla="*/ 9266 w 10000"/>
                  <a:gd name="connsiteY4" fmla="*/ 7585 h 8812"/>
                  <a:gd name="connsiteX5" fmla="*/ 9281 w 10000"/>
                  <a:gd name="connsiteY5" fmla="*/ 7585 h 8812"/>
                  <a:gd name="connsiteX6" fmla="*/ 9797 w 10000"/>
                  <a:gd name="connsiteY6" fmla="*/ 6279 h 8812"/>
                  <a:gd name="connsiteX7" fmla="*/ 10000 w 10000"/>
                  <a:gd name="connsiteY7" fmla="*/ 6097 h 8812"/>
                  <a:gd name="connsiteX8" fmla="*/ 6734 w 10000"/>
                  <a:gd name="connsiteY8" fmla="*/ 5836 h 8812"/>
                  <a:gd name="connsiteX9" fmla="*/ 3234 w 10000"/>
                  <a:gd name="connsiteY9" fmla="*/ 4804 h 8812"/>
                  <a:gd name="connsiteX10" fmla="*/ 1797 w 10000"/>
                  <a:gd name="connsiteY10" fmla="*/ 0 h 8812"/>
                  <a:gd name="connsiteX11" fmla="*/ 1703 w 10000"/>
                  <a:gd name="connsiteY11" fmla="*/ 26 h 8812"/>
                  <a:gd name="connsiteX12" fmla="*/ 109 w 10000"/>
                  <a:gd name="connsiteY12" fmla="*/ 392 h 8812"/>
                  <a:gd name="connsiteX13" fmla="*/ 0 w 10000"/>
                  <a:gd name="connsiteY13" fmla="*/ 418 h 8812"/>
                  <a:gd name="connsiteX14" fmla="*/ 1219 w 10000"/>
                  <a:gd name="connsiteY14" fmla="*/ 5326 h 8812"/>
                  <a:gd name="connsiteX15" fmla="*/ 3844 w 10000"/>
                  <a:gd name="connsiteY15" fmla="*/ 7193 h 8812"/>
                  <a:gd name="connsiteX16" fmla="*/ 8203 w 10000"/>
                  <a:gd name="connsiteY16" fmla="*/ 8303 h 8812"/>
                  <a:gd name="connsiteX17" fmla="*/ 9406 w 10000"/>
                  <a:gd name="connsiteY17" fmla="*/ 8812 h 8812"/>
                  <a:gd name="connsiteX18" fmla="*/ 9406 w 10000"/>
                  <a:gd name="connsiteY18" fmla="*/ 8812 h 8812"/>
                  <a:gd name="connsiteX0" fmla="*/ 9406 w 10000"/>
                  <a:gd name="connsiteY0" fmla="*/ 10000 h 10000"/>
                  <a:gd name="connsiteX1" fmla="*/ 9406 w 10000"/>
                  <a:gd name="connsiteY1" fmla="*/ 10000 h 10000"/>
                  <a:gd name="connsiteX2" fmla="*/ 9828 w 10000"/>
                  <a:gd name="connsiteY2" fmla="*/ 9111 h 10000"/>
                  <a:gd name="connsiteX3" fmla="*/ 9266 w 10000"/>
                  <a:gd name="connsiteY3" fmla="*/ 8608 h 10000"/>
                  <a:gd name="connsiteX4" fmla="*/ 9266 w 10000"/>
                  <a:gd name="connsiteY4" fmla="*/ 8608 h 10000"/>
                  <a:gd name="connsiteX5" fmla="*/ 9281 w 10000"/>
                  <a:gd name="connsiteY5" fmla="*/ 8608 h 10000"/>
                  <a:gd name="connsiteX6" fmla="*/ 9797 w 10000"/>
                  <a:gd name="connsiteY6" fmla="*/ 7126 h 10000"/>
                  <a:gd name="connsiteX7" fmla="*/ 10000 w 10000"/>
                  <a:gd name="connsiteY7" fmla="*/ 6919 h 10000"/>
                  <a:gd name="connsiteX8" fmla="*/ 6734 w 10000"/>
                  <a:gd name="connsiteY8" fmla="*/ 6623 h 10000"/>
                  <a:gd name="connsiteX9" fmla="*/ 3234 w 10000"/>
                  <a:gd name="connsiteY9" fmla="*/ 5452 h 10000"/>
                  <a:gd name="connsiteX10" fmla="*/ 1797 w 10000"/>
                  <a:gd name="connsiteY10" fmla="*/ 0 h 10000"/>
                  <a:gd name="connsiteX11" fmla="*/ 1703 w 10000"/>
                  <a:gd name="connsiteY11" fmla="*/ 30 h 10000"/>
                  <a:gd name="connsiteX12" fmla="*/ 109 w 10000"/>
                  <a:gd name="connsiteY12" fmla="*/ 445 h 10000"/>
                  <a:gd name="connsiteX13" fmla="*/ 0 w 10000"/>
                  <a:gd name="connsiteY13" fmla="*/ 474 h 10000"/>
                  <a:gd name="connsiteX14" fmla="*/ 1219 w 10000"/>
                  <a:gd name="connsiteY14" fmla="*/ 6044 h 10000"/>
                  <a:gd name="connsiteX15" fmla="*/ 3844 w 10000"/>
                  <a:gd name="connsiteY15" fmla="*/ 8163 h 10000"/>
                  <a:gd name="connsiteX16" fmla="*/ 8203 w 10000"/>
                  <a:gd name="connsiteY16" fmla="*/ 9422 h 10000"/>
                  <a:gd name="connsiteX17" fmla="*/ 9406 w 10000"/>
                  <a:gd name="connsiteY17" fmla="*/ 10000 h 10000"/>
                  <a:gd name="connsiteX18" fmla="*/ 9406 w 10000"/>
                  <a:gd name="connsiteY18"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000" h="10000">
                    <a:moveTo>
                      <a:pt x="9406" y="10000"/>
                    </a:moveTo>
                    <a:lnTo>
                      <a:pt x="9406" y="10000"/>
                    </a:lnTo>
                    <a:lnTo>
                      <a:pt x="9828" y="9111"/>
                    </a:lnTo>
                    <a:lnTo>
                      <a:pt x="9266" y="8608"/>
                    </a:lnTo>
                    <a:lnTo>
                      <a:pt x="9266" y="8608"/>
                    </a:lnTo>
                    <a:lnTo>
                      <a:pt x="9281" y="8608"/>
                    </a:lnTo>
                    <a:lnTo>
                      <a:pt x="9797" y="7126"/>
                    </a:lnTo>
                    <a:cubicBezTo>
                      <a:pt x="9797" y="7126"/>
                      <a:pt x="9875" y="7037"/>
                      <a:pt x="10000" y="6919"/>
                    </a:cubicBezTo>
                    <a:cubicBezTo>
                      <a:pt x="9281" y="6919"/>
                      <a:pt x="8000" y="6859"/>
                      <a:pt x="6734" y="6623"/>
                    </a:cubicBezTo>
                    <a:cubicBezTo>
                      <a:pt x="5219" y="6340"/>
                      <a:pt x="3234" y="5452"/>
                      <a:pt x="3234" y="5452"/>
                    </a:cubicBezTo>
                    <a:lnTo>
                      <a:pt x="1797" y="0"/>
                    </a:lnTo>
                    <a:lnTo>
                      <a:pt x="1703" y="30"/>
                    </a:lnTo>
                    <a:lnTo>
                      <a:pt x="109" y="445"/>
                    </a:lnTo>
                    <a:cubicBezTo>
                      <a:pt x="73" y="455"/>
                      <a:pt x="36" y="464"/>
                      <a:pt x="0" y="474"/>
                    </a:cubicBezTo>
                    <a:cubicBezTo>
                      <a:pt x="0" y="474"/>
                      <a:pt x="797" y="4681"/>
                      <a:pt x="1219" y="6044"/>
                    </a:cubicBezTo>
                    <a:cubicBezTo>
                      <a:pt x="1641" y="7333"/>
                      <a:pt x="2453" y="7570"/>
                      <a:pt x="3844" y="8163"/>
                    </a:cubicBezTo>
                    <a:cubicBezTo>
                      <a:pt x="5578" y="8904"/>
                      <a:pt x="7141" y="9067"/>
                      <a:pt x="8203" y="9422"/>
                    </a:cubicBezTo>
                    <a:cubicBezTo>
                      <a:pt x="9032" y="9237"/>
                      <a:pt x="9406" y="10000"/>
                      <a:pt x="9406" y="10000"/>
                    </a:cubicBezTo>
                    <a:lnTo>
                      <a:pt x="9406" y="10000"/>
                    </a:lnTo>
                    <a:close/>
                  </a:path>
                </a:pathLst>
              </a:custGeom>
              <a:solidFill>
                <a:srgbClr val="8608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Oval 71"/>
              <p:cNvSpPr>
                <a:spLocks noChangeArrowheads="1"/>
              </p:cNvSpPr>
              <p:nvPr userDrawn="1"/>
            </p:nvSpPr>
            <p:spPr bwMode="auto">
              <a:xfrm>
                <a:off x="5235575" y="2254250"/>
                <a:ext cx="63500" cy="63500"/>
              </a:xfrm>
              <a:prstGeom prst="ellipse">
                <a:avLst/>
              </a:prstGeom>
              <a:solidFill>
                <a:srgbClr val="88D5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Oval 72"/>
              <p:cNvSpPr>
                <a:spLocks noChangeArrowheads="1"/>
              </p:cNvSpPr>
              <p:nvPr userDrawn="1"/>
            </p:nvSpPr>
            <p:spPr bwMode="auto">
              <a:xfrm>
                <a:off x="5273675" y="2374900"/>
                <a:ext cx="63500" cy="63500"/>
              </a:xfrm>
              <a:prstGeom prst="ellipse">
                <a:avLst/>
              </a:prstGeom>
              <a:solidFill>
                <a:srgbClr val="88D5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0" name="Freeform 35"/>
            <p:cNvSpPr>
              <a:spLocks/>
            </p:cNvSpPr>
            <p:nvPr userDrawn="1"/>
          </p:nvSpPr>
          <p:spPr bwMode="auto">
            <a:xfrm>
              <a:off x="8885238" y="2145849"/>
              <a:ext cx="76200" cy="76200"/>
            </a:xfrm>
            <a:custGeom>
              <a:avLst/>
              <a:gdLst>
                <a:gd name="T0" fmla="*/ 0 w 48"/>
                <a:gd name="T1" fmla="*/ 3 h 48"/>
                <a:gd name="T2" fmla="*/ 25 w 48"/>
                <a:gd name="T3" fmla="*/ 21 h 48"/>
                <a:gd name="T4" fmla="*/ 46 w 48"/>
                <a:gd name="T5" fmla="*/ 0 h 48"/>
                <a:gd name="T6" fmla="*/ 27 w 48"/>
                <a:gd name="T7" fmla="*/ 24 h 48"/>
                <a:gd name="T8" fmla="*/ 48 w 48"/>
                <a:gd name="T9" fmla="*/ 46 h 48"/>
                <a:gd name="T10" fmla="*/ 25 w 48"/>
                <a:gd name="T11" fmla="*/ 27 h 48"/>
                <a:gd name="T12" fmla="*/ 3 w 48"/>
                <a:gd name="T13" fmla="*/ 48 h 48"/>
                <a:gd name="T14" fmla="*/ 21 w 48"/>
                <a:gd name="T15" fmla="*/ 24 h 48"/>
                <a:gd name="T16" fmla="*/ 0 w 48"/>
                <a:gd name="T17" fmla="*/ 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8">
                  <a:moveTo>
                    <a:pt x="0" y="3"/>
                  </a:moveTo>
                  <a:lnTo>
                    <a:pt x="25" y="21"/>
                  </a:lnTo>
                  <a:lnTo>
                    <a:pt x="46" y="0"/>
                  </a:lnTo>
                  <a:lnTo>
                    <a:pt x="27" y="24"/>
                  </a:lnTo>
                  <a:lnTo>
                    <a:pt x="48" y="46"/>
                  </a:lnTo>
                  <a:lnTo>
                    <a:pt x="25" y="27"/>
                  </a:lnTo>
                  <a:lnTo>
                    <a:pt x="3" y="48"/>
                  </a:lnTo>
                  <a:lnTo>
                    <a:pt x="21" y="24"/>
                  </a:lnTo>
                  <a:lnTo>
                    <a:pt x="0" y="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80" name="Group 79">
            <a:extLst>
              <a:ext uri="{FF2B5EF4-FFF2-40B4-BE49-F238E27FC236}">
                <a16:creationId xmlns:a16="http://schemas.microsoft.com/office/drawing/2014/main" id="{0674C411-2F66-431F-9BF4-232719D4041B}"/>
              </a:ext>
            </a:extLst>
          </p:cNvPr>
          <p:cNvGrpSpPr/>
          <p:nvPr userDrawn="1"/>
        </p:nvGrpSpPr>
        <p:grpSpPr>
          <a:xfrm>
            <a:off x="412749" y="6585692"/>
            <a:ext cx="4192376" cy="155576"/>
            <a:chOff x="412749" y="6585692"/>
            <a:chExt cx="4192376" cy="155576"/>
          </a:xfrm>
        </p:grpSpPr>
        <p:cxnSp>
          <p:nvCxnSpPr>
            <p:cNvPr id="81" name="Conector reto 49">
              <a:extLst>
                <a:ext uri="{FF2B5EF4-FFF2-40B4-BE49-F238E27FC236}">
                  <a16:creationId xmlns:a16="http://schemas.microsoft.com/office/drawing/2014/main" id="{9372936B-AE09-4566-A6AA-38D57EE428F1}"/>
                </a:ext>
              </a:extLst>
            </p:cNvPr>
            <p:cNvCxnSpPr>
              <a:cxnSpLocks/>
            </p:cNvCxnSpPr>
            <p:nvPr userDrawn="1"/>
          </p:nvCxnSpPr>
          <p:spPr>
            <a:xfrm flipV="1">
              <a:off x="2438400" y="6585692"/>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2" name="Rectangle 27">
              <a:extLst>
                <a:ext uri="{FF2B5EF4-FFF2-40B4-BE49-F238E27FC236}">
                  <a16:creationId xmlns:a16="http://schemas.microsoft.com/office/drawing/2014/main" id="{B0BB6F6E-3F7A-4FB4-A8D8-CE7E9D2DB618}"/>
                </a:ext>
              </a:extLst>
            </p:cNvPr>
            <p:cNvSpPr/>
            <p:nvPr userDrawn="1"/>
          </p:nvSpPr>
          <p:spPr>
            <a:xfrm>
              <a:off x="412749" y="6611158"/>
              <a:ext cx="1930401" cy="104644"/>
            </a:xfrm>
            <a:prstGeom prst="rect">
              <a:avLst/>
            </a:prstGeom>
          </p:spPr>
          <p:txBody>
            <a:bodyPr wrap="squar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Forrester Oracle Wave | August 2019</a:t>
              </a:r>
            </a:p>
          </p:txBody>
        </p:sp>
        <p:sp>
          <p:nvSpPr>
            <p:cNvPr id="83" name="Retângulo 43">
              <a:extLst>
                <a:ext uri="{FF2B5EF4-FFF2-40B4-BE49-F238E27FC236}">
                  <a16:creationId xmlns:a16="http://schemas.microsoft.com/office/drawing/2014/main" id="{E04F9234-5F8F-4190-A80D-599C456BE9EA}"/>
                </a:ext>
              </a:extLst>
            </p:cNvPr>
            <p:cNvSpPr/>
            <p:nvPr userDrawn="1"/>
          </p:nvSpPr>
          <p:spPr>
            <a:xfrm>
              <a:off x="2566105" y="6589225"/>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9 Capgemini. All rights reserved.</a:t>
              </a:r>
            </a:p>
          </p:txBody>
        </p:sp>
      </p:grpSp>
    </p:spTree>
    <p:extLst>
      <p:ext uri="{BB962C8B-B14F-4D97-AF65-F5344CB8AC3E}">
        <p14:creationId xmlns:p14="http://schemas.microsoft.com/office/powerpoint/2010/main" val="2194258952"/>
      </p:ext>
    </p:extLst>
  </p:cSld>
  <p:clrMapOvr>
    <a:masterClrMapping/>
  </p:clrMapOvr>
  <p:extLst>
    <p:ext uri="{DCECCB84-F9BA-43D5-87BE-67443E8EF086}">
      <p15:sldGuideLst xmlns:p15="http://schemas.microsoft.com/office/powerpoint/2012/main">
        <p15:guide id="1" orient="horz" pos="421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7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kumimoji="0" lang="pt-PT" sz="2400" b="0" i="0" u="none" strike="noStrike" kern="1200" cap="none" spc="0" normalizeH="0" baseline="0" noProof="0" dirty="0">
                <a:ln>
                  <a:noFill/>
                </a:ln>
                <a:solidFill>
                  <a:schemeClr val="tx2"/>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sp>
        <p:nvSpPr>
          <p:cNvPr id="20" name="Retângulo 43">
            <a:extLst>
              <a:ext uri="{FF2B5EF4-FFF2-40B4-BE49-F238E27FC236}">
                <a16:creationId xmlns:a16="http://schemas.microsoft.com/office/drawing/2014/main" id="{D9EA41A1-15F5-4A15-9F8C-72AF7C3479D1}"/>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grpSp>
        <p:nvGrpSpPr>
          <p:cNvPr id="9" name="Group 8">
            <a:extLst>
              <a:ext uri="{FF2B5EF4-FFF2-40B4-BE49-F238E27FC236}">
                <a16:creationId xmlns:a16="http://schemas.microsoft.com/office/drawing/2014/main" id="{1C326C9C-C5D0-4463-80A6-25793FECA759}"/>
              </a:ext>
            </a:extLst>
          </p:cNvPr>
          <p:cNvGrpSpPr/>
          <p:nvPr userDrawn="1"/>
        </p:nvGrpSpPr>
        <p:grpSpPr>
          <a:xfrm>
            <a:off x="412749" y="6585692"/>
            <a:ext cx="4192376" cy="155576"/>
            <a:chOff x="412749" y="6585692"/>
            <a:chExt cx="4192376" cy="155576"/>
          </a:xfrm>
        </p:grpSpPr>
        <p:cxnSp>
          <p:nvCxnSpPr>
            <p:cNvPr id="10" name="Conector reto 49">
              <a:extLst>
                <a:ext uri="{FF2B5EF4-FFF2-40B4-BE49-F238E27FC236}">
                  <a16:creationId xmlns:a16="http://schemas.microsoft.com/office/drawing/2014/main" id="{E708D402-63E8-4AF8-88F4-DD24F93C5D76}"/>
                </a:ext>
              </a:extLst>
            </p:cNvPr>
            <p:cNvCxnSpPr>
              <a:cxnSpLocks/>
            </p:cNvCxnSpPr>
            <p:nvPr userDrawn="1"/>
          </p:nvCxnSpPr>
          <p:spPr>
            <a:xfrm flipV="1">
              <a:off x="2438400" y="6585692"/>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extLst>
                <a:ext uri="{FF2B5EF4-FFF2-40B4-BE49-F238E27FC236}">
                  <a16:creationId xmlns:a16="http://schemas.microsoft.com/office/drawing/2014/main" id="{6CF24940-06A9-458C-B542-30E9A27E9C72}"/>
                </a:ext>
              </a:extLst>
            </p:cNvPr>
            <p:cNvSpPr/>
            <p:nvPr userDrawn="1"/>
          </p:nvSpPr>
          <p:spPr>
            <a:xfrm>
              <a:off x="412749" y="6611158"/>
              <a:ext cx="1930401" cy="104644"/>
            </a:xfrm>
            <a:prstGeom prst="rect">
              <a:avLst/>
            </a:prstGeom>
          </p:spPr>
          <p:txBody>
            <a:bodyPr wrap="squar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Forrester Oracle Wave | August 2019</a:t>
              </a:r>
            </a:p>
          </p:txBody>
        </p:sp>
        <p:sp>
          <p:nvSpPr>
            <p:cNvPr id="13" name="Retângulo 43">
              <a:extLst>
                <a:ext uri="{FF2B5EF4-FFF2-40B4-BE49-F238E27FC236}">
                  <a16:creationId xmlns:a16="http://schemas.microsoft.com/office/drawing/2014/main" id="{88A682A4-68F5-47E9-BDEA-2767E217A316}"/>
                </a:ext>
              </a:extLst>
            </p:cNvPr>
            <p:cNvSpPr/>
            <p:nvPr userDrawn="1"/>
          </p:nvSpPr>
          <p:spPr>
            <a:xfrm>
              <a:off x="2566105" y="6589225"/>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9 Capgemini. All rights reserved.</a:t>
              </a:r>
            </a:p>
          </p:txBody>
        </p:sp>
      </p:grpSp>
    </p:spTree>
    <p:extLst>
      <p:ext uri="{BB962C8B-B14F-4D97-AF65-F5344CB8AC3E}">
        <p14:creationId xmlns:p14="http://schemas.microsoft.com/office/powerpoint/2010/main" val="3889946698"/>
      </p:ext>
    </p:extLst>
  </p:cSld>
  <p:clrMapOvr>
    <a:masterClrMapping/>
  </p:clrMapOvr>
  <p:extLst>
    <p:ext uri="{DCECCB84-F9BA-43D5-87BE-67443E8EF086}">
      <p15:sldGuideLst xmlns:p15="http://schemas.microsoft.com/office/powerpoint/2012/main">
        <p15:guide id="1" orient="horz" pos="421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tângulo 43">
            <a:extLst>
              <a:ext uri="{FF2B5EF4-FFF2-40B4-BE49-F238E27FC236}">
                <a16:creationId xmlns:a16="http://schemas.microsoft.com/office/drawing/2014/main" id="{D9EA41A1-15F5-4A15-9F8C-72AF7C3479D1}"/>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5" name="Freeform: Shape 14">
            <a:extLst>
              <a:ext uri="{FF2B5EF4-FFF2-40B4-BE49-F238E27FC236}">
                <a16:creationId xmlns:a16="http://schemas.microsoft.com/office/drawing/2014/main" id="{1EE72E40-8677-4C38-AAC8-6C053DFA01DB}"/>
              </a:ext>
            </a:extLst>
          </p:cNvPr>
          <p:cNvSpPr>
            <a:spLocks/>
          </p:cNvSpPr>
          <p:nvPr userDrawn="1"/>
        </p:nvSpPr>
        <p:spPr bwMode="auto">
          <a:xfrm rot="13653833">
            <a:off x="-1865237" y="371114"/>
            <a:ext cx="6964989" cy="6652534"/>
          </a:xfrm>
          <a:custGeom>
            <a:avLst/>
            <a:gdLst>
              <a:gd name="connsiteX0" fmla="*/ 6462071 w 6964989"/>
              <a:gd name="connsiteY0" fmla="*/ 5546829 h 6652534"/>
              <a:gd name="connsiteX1" fmla="*/ 5451145 w 6964989"/>
              <a:gd name="connsiteY1" fmla="*/ 6652534 h 6652534"/>
              <a:gd name="connsiteX2" fmla="*/ 5389000 w 6964989"/>
              <a:gd name="connsiteY2" fmla="*/ 6652534 h 6652534"/>
              <a:gd name="connsiteX3" fmla="*/ 5106989 w 6964989"/>
              <a:gd name="connsiteY3" fmla="*/ 6652534 h 6652534"/>
              <a:gd name="connsiteX4" fmla="*/ 5071726 w 6964989"/>
              <a:gd name="connsiteY4" fmla="*/ 5711272 h 6652534"/>
              <a:gd name="connsiteX5" fmla="*/ 70277 w 6964989"/>
              <a:gd name="connsiteY5" fmla="*/ 2669820 h 6652534"/>
              <a:gd name="connsiteX6" fmla="*/ 2585 w 6964989"/>
              <a:gd name="connsiteY6" fmla="*/ 2463620 h 6652534"/>
              <a:gd name="connsiteX7" fmla="*/ 0 w 6964989"/>
              <a:gd name="connsiteY7" fmla="*/ 2451253 h 6652534"/>
              <a:gd name="connsiteX8" fmla="*/ 2241136 w 6964989"/>
              <a:gd name="connsiteY8" fmla="*/ 0 h 6652534"/>
              <a:gd name="connsiteX9" fmla="*/ 6964989 w 6964989"/>
              <a:gd name="connsiteY9" fmla="*/ 4318934 h 6652534"/>
              <a:gd name="connsiteX10" fmla="*/ 6918724 w 6964989"/>
              <a:gd name="connsiteY10" fmla="*/ 4476578 h 6652534"/>
              <a:gd name="connsiteX11" fmla="*/ 6591311 w 6964989"/>
              <a:gd name="connsiteY11" fmla="*/ 5299930 h 665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64989" h="6652534">
                <a:moveTo>
                  <a:pt x="6462071" y="5546829"/>
                </a:moveTo>
                <a:lnTo>
                  <a:pt x="5451145" y="6652534"/>
                </a:lnTo>
                <a:lnTo>
                  <a:pt x="5389000" y="6652534"/>
                </a:lnTo>
                <a:cubicBezTo>
                  <a:pt x="5320403" y="6652534"/>
                  <a:pt x="5228940" y="6652534"/>
                  <a:pt x="5106989" y="6652534"/>
                </a:cubicBezTo>
                <a:cubicBezTo>
                  <a:pt x="5195146" y="6417218"/>
                  <a:pt x="5212777" y="6111308"/>
                  <a:pt x="5071726" y="5711272"/>
                </a:cubicBezTo>
                <a:cubicBezTo>
                  <a:pt x="4489889" y="4017001"/>
                  <a:pt x="1040006" y="5158281"/>
                  <a:pt x="70277" y="2669820"/>
                </a:cubicBezTo>
                <a:cubicBezTo>
                  <a:pt x="43830" y="2602534"/>
                  <a:pt x="21285" y="2533686"/>
                  <a:pt x="2585" y="2463620"/>
                </a:cubicBezTo>
                <a:lnTo>
                  <a:pt x="0" y="2451253"/>
                </a:lnTo>
                <a:lnTo>
                  <a:pt x="2241136" y="0"/>
                </a:lnTo>
                <a:lnTo>
                  <a:pt x="6964989" y="4318934"/>
                </a:lnTo>
                <a:lnTo>
                  <a:pt x="6918724" y="4476578"/>
                </a:lnTo>
                <a:cubicBezTo>
                  <a:pt x="6827562" y="4763645"/>
                  <a:pt x="6718760" y="5039336"/>
                  <a:pt x="6591311" y="529993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kumimoji="0" lang="pt-PT" sz="2400" b="0" i="0" u="none" strike="noStrike" kern="1200" cap="none" spc="0" normalizeH="0" baseline="0" noProof="0" dirty="0">
                <a:ln>
                  <a:noFill/>
                </a:ln>
                <a:solidFill>
                  <a:schemeClr val="tx2"/>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grpSp>
        <p:nvGrpSpPr>
          <p:cNvPr id="10" name="Group 9">
            <a:extLst>
              <a:ext uri="{FF2B5EF4-FFF2-40B4-BE49-F238E27FC236}">
                <a16:creationId xmlns:a16="http://schemas.microsoft.com/office/drawing/2014/main" id="{C86A54F4-0258-4C32-B475-D130DCBD35F9}"/>
              </a:ext>
            </a:extLst>
          </p:cNvPr>
          <p:cNvGrpSpPr/>
          <p:nvPr userDrawn="1"/>
        </p:nvGrpSpPr>
        <p:grpSpPr>
          <a:xfrm>
            <a:off x="7428124" y="6585692"/>
            <a:ext cx="4192376" cy="155576"/>
            <a:chOff x="412749" y="6585692"/>
            <a:chExt cx="4192376" cy="155576"/>
          </a:xfrm>
        </p:grpSpPr>
        <p:cxnSp>
          <p:nvCxnSpPr>
            <p:cNvPr id="12" name="Conector reto 49">
              <a:extLst>
                <a:ext uri="{FF2B5EF4-FFF2-40B4-BE49-F238E27FC236}">
                  <a16:creationId xmlns:a16="http://schemas.microsoft.com/office/drawing/2014/main" id="{AB142F73-B2B8-4D86-AF2F-B8481B30E9BC}"/>
                </a:ext>
              </a:extLst>
            </p:cNvPr>
            <p:cNvCxnSpPr>
              <a:cxnSpLocks/>
            </p:cNvCxnSpPr>
            <p:nvPr userDrawn="1"/>
          </p:nvCxnSpPr>
          <p:spPr>
            <a:xfrm flipV="1">
              <a:off x="2438400" y="6585692"/>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id="{597A3E39-0BE0-4A73-94A6-E49F0A51B43C}"/>
                </a:ext>
              </a:extLst>
            </p:cNvPr>
            <p:cNvSpPr/>
            <p:nvPr userDrawn="1"/>
          </p:nvSpPr>
          <p:spPr>
            <a:xfrm>
              <a:off x="412749" y="6611158"/>
              <a:ext cx="1930401" cy="104644"/>
            </a:xfrm>
            <a:prstGeom prst="rect">
              <a:avLst/>
            </a:prstGeom>
          </p:spPr>
          <p:txBody>
            <a:bodyPr wrap="squar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Forrester Oracle Wave | August 2019</a:t>
              </a:r>
            </a:p>
          </p:txBody>
        </p:sp>
        <p:sp>
          <p:nvSpPr>
            <p:cNvPr id="14" name="Retângulo 43">
              <a:extLst>
                <a:ext uri="{FF2B5EF4-FFF2-40B4-BE49-F238E27FC236}">
                  <a16:creationId xmlns:a16="http://schemas.microsoft.com/office/drawing/2014/main" id="{9920F778-0FB4-4234-9373-2CD170075A0B}"/>
                </a:ext>
              </a:extLst>
            </p:cNvPr>
            <p:cNvSpPr/>
            <p:nvPr userDrawn="1"/>
          </p:nvSpPr>
          <p:spPr>
            <a:xfrm>
              <a:off x="2566105" y="6589225"/>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9 Capgemini. All rights reserved.</a:t>
              </a:r>
            </a:p>
          </p:txBody>
        </p:sp>
      </p:grpSp>
    </p:spTree>
    <p:extLst>
      <p:ext uri="{BB962C8B-B14F-4D97-AF65-F5344CB8AC3E}">
        <p14:creationId xmlns:p14="http://schemas.microsoft.com/office/powerpoint/2010/main" val="757114317"/>
      </p:ext>
    </p:extLst>
  </p:cSld>
  <p:clrMapOvr>
    <a:masterClrMapping/>
  </p:clrMapOvr>
  <p:extLst>
    <p:ext uri="{DCECCB84-F9BA-43D5-87BE-67443E8EF086}">
      <p15:sldGuideLst xmlns:p15="http://schemas.microsoft.com/office/powerpoint/2012/main">
        <p15:guide id="1" orient="horz" pos="421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3_Blank-Gre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E6848BB-BDF9-4643-989D-9D1B33D91AC1}"/>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2523D07D-EBE0-44F1-9F26-3679EC25E96B}"/>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1440" b="54235"/>
          <a:stretch/>
        </p:blipFill>
        <p:spPr bwMode="auto">
          <a:xfrm rot="21320827">
            <a:off x="161408" y="2855417"/>
            <a:ext cx="12232314" cy="4476542"/>
          </a:xfrm>
          <a:custGeom>
            <a:avLst/>
            <a:gdLst>
              <a:gd name="connsiteX0" fmla="*/ 12232314 w 12232314"/>
              <a:gd name="connsiteY0" fmla="*/ 0 h 4476542"/>
              <a:gd name="connsiteX1" fmla="*/ 11867981 w 12232314"/>
              <a:gd name="connsiteY1" fmla="*/ 4476542 h 4476542"/>
              <a:gd name="connsiteX2" fmla="*/ 0 w 12232314"/>
              <a:gd name="connsiteY2" fmla="*/ 3510642 h 4476542"/>
              <a:gd name="connsiteX3" fmla="*/ 0 w 12232314"/>
              <a:gd name="connsiteY3" fmla="*/ 0 h 4476542"/>
            </a:gdLst>
            <a:ahLst/>
            <a:cxnLst>
              <a:cxn ang="0">
                <a:pos x="connsiteX0" y="connsiteY0"/>
              </a:cxn>
              <a:cxn ang="0">
                <a:pos x="connsiteX1" y="connsiteY1"/>
              </a:cxn>
              <a:cxn ang="0">
                <a:pos x="connsiteX2" y="connsiteY2"/>
              </a:cxn>
              <a:cxn ang="0">
                <a:pos x="connsiteX3" y="connsiteY3"/>
              </a:cxn>
            </a:cxnLst>
            <a:rect l="l" t="t" r="r" b="b"/>
            <a:pathLst>
              <a:path w="12232314" h="4476542">
                <a:moveTo>
                  <a:pt x="12232314" y="0"/>
                </a:moveTo>
                <a:lnTo>
                  <a:pt x="11867981" y="4476542"/>
                </a:lnTo>
                <a:lnTo>
                  <a:pt x="0" y="3510642"/>
                </a:lnTo>
                <a:lnTo>
                  <a:pt x="0" y="0"/>
                </a:lnTo>
                <a:close/>
              </a:path>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6" name="Picture 4"/>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1295401" y="1447800"/>
            <a:ext cx="10041001" cy="46908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6027905"/>
      </p:ext>
    </p:extLst>
  </p:cSld>
  <p:clrMapOvr>
    <a:masterClrMapping/>
  </p:clrMapOvr>
  <p:extLst>
    <p:ext uri="{DCECCB84-F9BA-43D5-87BE-67443E8EF086}">
      <p15:sldGuideLst xmlns:p15="http://schemas.microsoft.com/office/powerpoint/2012/main">
        <p15:guide id="1" orient="horz" pos="421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6_Blank-Gre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E6848BB-BDF9-4643-989D-9D1B33D91AC1}"/>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Freeform: Shape 12">
            <a:extLst>
              <a:ext uri="{FF2B5EF4-FFF2-40B4-BE49-F238E27FC236}">
                <a16:creationId xmlns:a16="http://schemas.microsoft.com/office/drawing/2014/main" id="{72E991DD-CB10-46DA-862F-E2DAAB3BDCC9}"/>
              </a:ext>
            </a:extLst>
          </p:cNvPr>
          <p:cNvSpPr>
            <a:spLocks/>
          </p:cNvSpPr>
          <p:nvPr userDrawn="1"/>
        </p:nvSpPr>
        <p:spPr bwMode="auto">
          <a:xfrm rot="15444360">
            <a:off x="3598739" y="-983384"/>
            <a:ext cx="5342424" cy="12854800"/>
          </a:xfrm>
          <a:custGeom>
            <a:avLst/>
            <a:gdLst>
              <a:gd name="connsiteX0" fmla="*/ 4279646 w 5342424"/>
              <a:gd name="connsiteY0" fmla="*/ 12854800 h 12854800"/>
              <a:gd name="connsiteX1" fmla="*/ 0 w 5342424"/>
              <a:gd name="connsiteY1" fmla="*/ 11898656 h 12854800"/>
              <a:gd name="connsiteX2" fmla="*/ 2658357 w 5342424"/>
              <a:gd name="connsiteY2" fmla="*/ 0 h 12854800"/>
              <a:gd name="connsiteX3" fmla="*/ 5043231 w 5342424"/>
              <a:gd name="connsiteY3" fmla="*/ 532820 h 12854800"/>
              <a:gd name="connsiteX4" fmla="*/ 5101493 w 5342424"/>
              <a:gd name="connsiteY4" fmla="*/ 759756 h 12854800"/>
              <a:gd name="connsiteX5" fmla="*/ 5083039 w 5342424"/>
              <a:gd name="connsiteY5" fmla="*/ 4954187 h 12854800"/>
              <a:gd name="connsiteX6" fmla="*/ 2760359 w 5342424"/>
              <a:gd name="connsiteY6" fmla="*/ 11461798 h 12854800"/>
              <a:gd name="connsiteX7" fmla="*/ 4261092 w 5342424"/>
              <a:gd name="connsiteY7" fmla="*/ 12753480 h 1285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42424" h="12854800">
                <a:moveTo>
                  <a:pt x="4279646" y="12854800"/>
                </a:moveTo>
                <a:lnTo>
                  <a:pt x="0" y="11898656"/>
                </a:lnTo>
                <a:lnTo>
                  <a:pt x="2658357" y="0"/>
                </a:lnTo>
                <a:lnTo>
                  <a:pt x="5043231" y="532820"/>
                </a:lnTo>
                <a:lnTo>
                  <a:pt x="5101493" y="759756"/>
                </a:lnTo>
                <a:cubicBezTo>
                  <a:pt x="5369972" y="1875064"/>
                  <a:pt x="5478621" y="3304131"/>
                  <a:pt x="5083039" y="4954187"/>
                </a:cubicBezTo>
                <a:cubicBezTo>
                  <a:pt x="1241684" y="7016271"/>
                  <a:pt x="-687927" y="10122784"/>
                  <a:pt x="2760359" y="11461798"/>
                </a:cubicBezTo>
                <a:cubicBezTo>
                  <a:pt x="3723455" y="11835781"/>
                  <a:pt x="4148571" y="12291236"/>
                  <a:pt x="4261092" y="12753480"/>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dirty="0"/>
          </a:p>
        </p:txBody>
      </p:sp>
      <p:pic>
        <p:nvPicPr>
          <p:cNvPr id="206" name="Picture 205">
            <a:extLst>
              <a:ext uri="{FF2B5EF4-FFF2-40B4-BE49-F238E27FC236}">
                <a16:creationId xmlns:a16="http://schemas.microsoft.com/office/drawing/2014/main" id="{2C718FD2-A553-4735-B647-3248EBDCBF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59513" y="444291"/>
            <a:ext cx="4812101" cy="6220945"/>
          </a:xfrm>
          <a:prstGeom prst="rect">
            <a:avLst/>
          </a:prstGeom>
        </p:spPr>
      </p:pic>
    </p:spTree>
    <p:extLst>
      <p:ext uri="{BB962C8B-B14F-4D97-AF65-F5344CB8AC3E}">
        <p14:creationId xmlns:p14="http://schemas.microsoft.com/office/powerpoint/2010/main" val="1562685176"/>
      </p:ext>
    </p:extLst>
  </p:cSld>
  <p:clrMapOvr>
    <a:masterClrMapping/>
  </p:clrMapOvr>
  <p:extLst>
    <p:ext uri="{DCECCB84-F9BA-43D5-87BE-67443E8EF086}">
      <p15:sldGuideLst xmlns:p15="http://schemas.microsoft.com/office/powerpoint/2012/main">
        <p15:guide id="1" orient="horz" pos="421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0_Blank-Grey">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kumimoji="0" lang="pt-PT" sz="2400" b="0" i="0" u="none" strike="noStrike" kern="1200" cap="none" spc="0" normalizeH="0" baseline="0" noProof="0" dirty="0">
                <a:ln>
                  <a:noFill/>
                </a:ln>
                <a:solidFill>
                  <a:schemeClr val="tx2"/>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sp>
        <p:nvSpPr>
          <p:cNvPr id="20" name="Retângulo 43">
            <a:extLst>
              <a:ext uri="{FF2B5EF4-FFF2-40B4-BE49-F238E27FC236}">
                <a16:creationId xmlns:a16="http://schemas.microsoft.com/office/drawing/2014/main" id="{D9EA41A1-15F5-4A15-9F8C-72AF7C3479D1}"/>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grpSp>
        <p:nvGrpSpPr>
          <p:cNvPr id="13" name="Group 12">
            <a:extLst>
              <a:ext uri="{FF2B5EF4-FFF2-40B4-BE49-F238E27FC236}">
                <a16:creationId xmlns:a16="http://schemas.microsoft.com/office/drawing/2014/main" id="{C87B7894-FE9E-45E9-A976-6BA0B11DD03C}"/>
              </a:ext>
            </a:extLst>
          </p:cNvPr>
          <p:cNvGrpSpPr/>
          <p:nvPr userDrawn="1"/>
        </p:nvGrpSpPr>
        <p:grpSpPr>
          <a:xfrm>
            <a:off x="412749" y="6585692"/>
            <a:ext cx="4192376" cy="155576"/>
            <a:chOff x="412749" y="6585692"/>
            <a:chExt cx="4192376" cy="155576"/>
          </a:xfrm>
        </p:grpSpPr>
        <p:cxnSp>
          <p:nvCxnSpPr>
            <p:cNvPr id="14" name="Conector reto 49">
              <a:extLst>
                <a:ext uri="{FF2B5EF4-FFF2-40B4-BE49-F238E27FC236}">
                  <a16:creationId xmlns:a16="http://schemas.microsoft.com/office/drawing/2014/main" id="{38C048BE-F181-4BB2-8FC4-10748CB039A2}"/>
                </a:ext>
              </a:extLst>
            </p:cNvPr>
            <p:cNvCxnSpPr>
              <a:cxnSpLocks/>
            </p:cNvCxnSpPr>
            <p:nvPr userDrawn="1"/>
          </p:nvCxnSpPr>
          <p:spPr>
            <a:xfrm flipV="1">
              <a:off x="2438400" y="6585692"/>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a16="http://schemas.microsoft.com/office/drawing/2014/main" id="{D4E528E9-E43E-475E-AEE3-1B1163E12C2E}"/>
                </a:ext>
              </a:extLst>
            </p:cNvPr>
            <p:cNvSpPr/>
            <p:nvPr userDrawn="1"/>
          </p:nvSpPr>
          <p:spPr>
            <a:xfrm>
              <a:off x="412749" y="6611158"/>
              <a:ext cx="1930401" cy="104644"/>
            </a:xfrm>
            <a:prstGeom prst="rect">
              <a:avLst/>
            </a:prstGeom>
          </p:spPr>
          <p:txBody>
            <a:bodyPr wrap="squar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Forrester Oracle Wave | August 2019</a:t>
              </a:r>
            </a:p>
          </p:txBody>
        </p:sp>
        <p:sp>
          <p:nvSpPr>
            <p:cNvPr id="16" name="Retângulo 43">
              <a:extLst>
                <a:ext uri="{FF2B5EF4-FFF2-40B4-BE49-F238E27FC236}">
                  <a16:creationId xmlns:a16="http://schemas.microsoft.com/office/drawing/2014/main" id="{762FB4B3-3E27-444C-A574-4F3BBF49D9C0}"/>
                </a:ext>
              </a:extLst>
            </p:cNvPr>
            <p:cNvSpPr/>
            <p:nvPr userDrawn="1"/>
          </p:nvSpPr>
          <p:spPr>
            <a:xfrm>
              <a:off x="2566105" y="6589225"/>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9 Capgemini. All rights reserved.</a:t>
              </a:r>
            </a:p>
          </p:txBody>
        </p:sp>
      </p:grpSp>
    </p:spTree>
    <p:extLst>
      <p:ext uri="{BB962C8B-B14F-4D97-AF65-F5344CB8AC3E}">
        <p14:creationId xmlns:p14="http://schemas.microsoft.com/office/powerpoint/2010/main" val="1219172818"/>
      </p:ext>
    </p:extLst>
  </p:cSld>
  <p:clrMapOvr>
    <a:masterClrMapping/>
  </p:clrMapOvr>
  <p:extLst>
    <p:ext uri="{DCECCB84-F9BA-43D5-87BE-67443E8EF086}">
      <p15:sldGuideLst xmlns:p15="http://schemas.microsoft.com/office/powerpoint/2012/main">
        <p15:guide id="1" orient="horz" pos="421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8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tângulo 43">
            <a:extLst>
              <a:ext uri="{FF2B5EF4-FFF2-40B4-BE49-F238E27FC236}">
                <a16:creationId xmlns:a16="http://schemas.microsoft.com/office/drawing/2014/main" id="{D9EA41A1-15F5-4A15-9F8C-72AF7C3479D1}"/>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Freeform: Shape 13">
            <a:extLst>
              <a:ext uri="{FF2B5EF4-FFF2-40B4-BE49-F238E27FC236}">
                <a16:creationId xmlns:a16="http://schemas.microsoft.com/office/drawing/2014/main" id="{A7FE0401-274E-4F68-9D2D-117CC866EE36}"/>
              </a:ext>
            </a:extLst>
          </p:cNvPr>
          <p:cNvSpPr>
            <a:spLocks noChangeAspect="1"/>
          </p:cNvSpPr>
          <p:nvPr userDrawn="1"/>
        </p:nvSpPr>
        <p:spPr bwMode="auto">
          <a:xfrm rot="16200000">
            <a:off x="534636" y="-261810"/>
            <a:ext cx="6585177" cy="7654443"/>
          </a:xfrm>
          <a:custGeom>
            <a:avLst/>
            <a:gdLst>
              <a:gd name="connsiteX0" fmla="*/ 6585177 w 6585177"/>
              <a:gd name="connsiteY0" fmla="*/ 158838 h 7654443"/>
              <a:gd name="connsiteX1" fmla="*/ 4555581 w 6585177"/>
              <a:gd name="connsiteY1" fmla="*/ 2614471 h 7654443"/>
              <a:gd name="connsiteX2" fmla="*/ 806207 w 6585177"/>
              <a:gd name="connsiteY2" fmla="*/ 6974774 h 7654443"/>
              <a:gd name="connsiteX3" fmla="*/ 45245 w 6585177"/>
              <a:gd name="connsiteY3" fmla="*/ 7618344 h 7654443"/>
              <a:gd name="connsiteX4" fmla="*/ 0 w 6585177"/>
              <a:gd name="connsiteY4" fmla="*/ 7654443 h 7654443"/>
              <a:gd name="connsiteX5" fmla="*/ 1 w 6585177"/>
              <a:gd name="connsiteY5" fmla="*/ 0 h 7654443"/>
              <a:gd name="connsiteX6" fmla="*/ 6582214 w 6585177"/>
              <a:gd name="connsiteY6" fmla="*/ 0 h 765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85177" h="7654443">
                <a:moveTo>
                  <a:pt x="6585177" y="158838"/>
                </a:moveTo>
                <a:cubicBezTo>
                  <a:pt x="6554589" y="969484"/>
                  <a:pt x="6130317" y="1946996"/>
                  <a:pt x="4555581" y="2614471"/>
                </a:cubicBezTo>
                <a:cubicBezTo>
                  <a:pt x="1414000" y="3941520"/>
                  <a:pt x="-527781" y="4668236"/>
                  <a:pt x="806207" y="6974774"/>
                </a:cubicBezTo>
                <a:cubicBezTo>
                  <a:pt x="543257" y="7205329"/>
                  <a:pt x="289650" y="7419469"/>
                  <a:pt x="45245" y="7618344"/>
                </a:cubicBezTo>
                <a:lnTo>
                  <a:pt x="0" y="7654443"/>
                </a:lnTo>
                <a:lnTo>
                  <a:pt x="1" y="0"/>
                </a:lnTo>
                <a:lnTo>
                  <a:pt x="6582214"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8" name="Group 7">
            <a:extLst>
              <a:ext uri="{FF2B5EF4-FFF2-40B4-BE49-F238E27FC236}">
                <a16:creationId xmlns:a16="http://schemas.microsoft.com/office/drawing/2014/main" id="{4529782D-2976-44F5-B2BD-1AD764CCCE5E}"/>
              </a:ext>
            </a:extLst>
          </p:cNvPr>
          <p:cNvGrpSpPr/>
          <p:nvPr userDrawn="1"/>
        </p:nvGrpSpPr>
        <p:grpSpPr>
          <a:xfrm>
            <a:off x="412749" y="6589225"/>
            <a:ext cx="4409863" cy="126577"/>
            <a:chOff x="412749" y="6589225"/>
            <a:chExt cx="4409863" cy="126577"/>
          </a:xfrm>
        </p:grpSpPr>
        <p:sp>
          <p:nvSpPr>
            <p:cNvPr id="10" name="Rectangle 27">
              <a:extLst>
                <a:ext uri="{FF2B5EF4-FFF2-40B4-BE49-F238E27FC236}">
                  <a16:creationId xmlns:a16="http://schemas.microsoft.com/office/drawing/2014/main" id="{F19D57F3-E68C-4F83-9BB7-103FCE8BAD55}"/>
                </a:ext>
              </a:extLst>
            </p:cNvPr>
            <p:cNvSpPr/>
            <p:nvPr userDrawn="1"/>
          </p:nvSpPr>
          <p:spPr>
            <a:xfrm>
              <a:off x="412749" y="6611158"/>
              <a:ext cx="1930401" cy="104644"/>
            </a:xfrm>
            <a:prstGeom prst="rect">
              <a:avLst/>
            </a:prstGeom>
          </p:spPr>
          <p:txBody>
            <a:bodyPr wrap="square" lIns="0" tIns="0" rIns="0" bIns="0" anchor="ctr" anchorCtr="0">
              <a:spAutoFit/>
            </a:bodyPr>
            <a:lstStyle/>
            <a:p>
              <a:pPr lvl="0" algn="l" defTabSz="914400">
                <a:lnSpc>
                  <a:spcPct val="85000"/>
                </a:lnSpc>
                <a:defRPr/>
              </a:pPr>
              <a:r>
                <a:rPr lang="en-US" sz="800" kern="0" dirty="0">
                  <a:solidFill>
                    <a:schemeClr val="bg1"/>
                  </a:solidFill>
                  <a:latin typeface="+mj-lt"/>
                  <a:cs typeface="Arial" panose="020B0604020202020204" pitchFamily="34" charset="0"/>
                </a:rPr>
                <a:t>Forrester Oracle Wave | August 2019</a:t>
              </a:r>
            </a:p>
          </p:txBody>
        </p:sp>
        <p:sp>
          <p:nvSpPr>
            <p:cNvPr id="11" name="Retângulo 43">
              <a:extLst>
                <a:ext uri="{FF2B5EF4-FFF2-40B4-BE49-F238E27FC236}">
                  <a16:creationId xmlns:a16="http://schemas.microsoft.com/office/drawing/2014/main" id="{503DC807-58F0-482C-9B53-C7BCBBA64B20}"/>
                </a:ext>
              </a:extLst>
            </p:cNvPr>
            <p:cNvSpPr/>
            <p:nvPr userDrawn="1"/>
          </p:nvSpPr>
          <p:spPr>
            <a:xfrm>
              <a:off x="2783592" y="6589225"/>
              <a:ext cx="2039020" cy="123111"/>
            </a:xfrm>
            <a:prstGeom prst="rect">
              <a:avLst/>
            </a:prstGeom>
          </p:spPr>
          <p:txBody>
            <a:bodyPr wrap="none" lIns="0" tIns="0" rIns="0" bIns="0" anchor="ctr" anchorCtr="0">
              <a:spAutoFit/>
            </a:bodyPr>
            <a:lstStyle/>
            <a:p>
              <a:pPr algn="l"/>
              <a:r>
                <a:rPr lang="en-US" sz="800" dirty="0">
                  <a:solidFill>
                    <a:schemeClr val="bg1"/>
                  </a:solidFill>
                  <a:cs typeface="Arial" panose="020B0604020202020204" pitchFamily="34" charset="0"/>
                </a:rPr>
                <a:t>© 2019 Capgemini. All rights reserved.</a:t>
              </a:r>
            </a:p>
          </p:txBody>
        </p:sp>
      </p:grpSp>
    </p:spTree>
    <p:extLst>
      <p:ext uri="{BB962C8B-B14F-4D97-AF65-F5344CB8AC3E}">
        <p14:creationId xmlns:p14="http://schemas.microsoft.com/office/powerpoint/2010/main" val="4045819507"/>
      </p:ext>
    </p:extLst>
  </p:cSld>
  <p:clrMapOvr>
    <a:masterClrMapping/>
  </p:clrMapOvr>
  <p:extLst>
    <p:ext uri="{DCECCB84-F9BA-43D5-87BE-67443E8EF086}">
      <p15:sldGuideLst xmlns:p15="http://schemas.microsoft.com/office/powerpoint/2012/main">
        <p15:guide id="1" orient="horz" pos="421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kumimoji="0" lang="pt-PT" sz="2400" b="0" i="0" u="none" strike="noStrike" kern="1200" cap="none" spc="0" normalizeH="0" baseline="0" noProof="0" dirty="0">
                <a:ln>
                  <a:noFill/>
                </a:ln>
                <a:solidFill>
                  <a:schemeClr val="tx2"/>
                </a:solidFill>
                <a:effectLst/>
                <a:uLnTx/>
                <a:uFillTx/>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pPr>
            <a:r>
              <a:rPr lang="en-US" dirty="0"/>
              <a:t>Click to add title</a:t>
            </a:r>
            <a:endParaRPr lang="pt-PT" dirty="0"/>
          </a:p>
        </p:txBody>
      </p:sp>
      <p:sp>
        <p:nvSpPr>
          <p:cNvPr id="9" name="Retângulo 43">
            <a:extLst>
              <a:ext uri="{FF2B5EF4-FFF2-40B4-BE49-F238E27FC236}">
                <a16:creationId xmlns:a16="http://schemas.microsoft.com/office/drawing/2014/main" id="{5D4666FD-7C08-4297-BFA4-DFDE6D943A46}"/>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grpSp>
        <p:nvGrpSpPr>
          <p:cNvPr id="12" name="Group 11">
            <a:extLst>
              <a:ext uri="{FF2B5EF4-FFF2-40B4-BE49-F238E27FC236}">
                <a16:creationId xmlns:a16="http://schemas.microsoft.com/office/drawing/2014/main" id="{9F8CD9D3-77AB-4FF3-8EA4-CE5483B145CD}"/>
              </a:ext>
            </a:extLst>
          </p:cNvPr>
          <p:cNvGrpSpPr/>
          <p:nvPr userDrawn="1"/>
        </p:nvGrpSpPr>
        <p:grpSpPr>
          <a:xfrm>
            <a:off x="412749" y="6585692"/>
            <a:ext cx="4192376" cy="155576"/>
            <a:chOff x="412749" y="6585692"/>
            <a:chExt cx="4192376" cy="155576"/>
          </a:xfrm>
        </p:grpSpPr>
        <p:cxnSp>
          <p:nvCxnSpPr>
            <p:cNvPr id="13" name="Conector reto 49">
              <a:extLst>
                <a:ext uri="{FF2B5EF4-FFF2-40B4-BE49-F238E27FC236}">
                  <a16:creationId xmlns:a16="http://schemas.microsoft.com/office/drawing/2014/main" id="{0F2F9299-93C6-47C1-A724-3DDC3E4DC6F4}"/>
                </a:ext>
              </a:extLst>
            </p:cNvPr>
            <p:cNvCxnSpPr>
              <a:cxnSpLocks/>
            </p:cNvCxnSpPr>
            <p:nvPr userDrawn="1"/>
          </p:nvCxnSpPr>
          <p:spPr>
            <a:xfrm flipV="1">
              <a:off x="2438400" y="6585692"/>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extLst>
                <a:ext uri="{FF2B5EF4-FFF2-40B4-BE49-F238E27FC236}">
                  <a16:creationId xmlns:a16="http://schemas.microsoft.com/office/drawing/2014/main" id="{2867D839-D9C4-4467-B46C-B8037A19638F}"/>
                </a:ext>
              </a:extLst>
            </p:cNvPr>
            <p:cNvSpPr/>
            <p:nvPr userDrawn="1"/>
          </p:nvSpPr>
          <p:spPr>
            <a:xfrm>
              <a:off x="412749" y="6611158"/>
              <a:ext cx="1930401" cy="104644"/>
            </a:xfrm>
            <a:prstGeom prst="rect">
              <a:avLst/>
            </a:prstGeom>
          </p:spPr>
          <p:txBody>
            <a:bodyPr wrap="squar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Forrester Oracle Wave | August 2019</a:t>
              </a:r>
            </a:p>
          </p:txBody>
        </p:sp>
        <p:sp>
          <p:nvSpPr>
            <p:cNvPr id="15" name="Retângulo 43">
              <a:extLst>
                <a:ext uri="{FF2B5EF4-FFF2-40B4-BE49-F238E27FC236}">
                  <a16:creationId xmlns:a16="http://schemas.microsoft.com/office/drawing/2014/main" id="{4144573D-44F5-4AB8-8DE0-F7607E906639}"/>
                </a:ext>
              </a:extLst>
            </p:cNvPr>
            <p:cNvSpPr/>
            <p:nvPr userDrawn="1"/>
          </p:nvSpPr>
          <p:spPr>
            <a:xfrm>
              <a:off x="2566105" y="6589225"/>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9 Capgemini. All rights reserved.</a:t>
              </a:r>
            </a:p>
          </p:txBody>
        </p:sp>
      </p:grpSp>
    </p:spTree>
    <p:extLst>
      <p:ext uri="{BB962C8B-B14F-4D97-AF65-F5344CB8AC3E}">
        <p14:creationId xmlns:p14="http://schemas.microsoft.com/office/powerpoint/2010/main" val="1402943537"/>
      </p:ext>
    </p:extLst>
  </p:cSld>
  <p:clrMapOvr>
    <a:masterClrMapping/>
  </p:clrMapOvr>
  <p:extLst>
    <p:ext uri="{DCECCB84-F9BA-43D5-87BE-67443E8EF086}">
      <p15:sldGuideLst xmlns:p15="http://schemas.microsoft.com/office/powerpoint/2012/main">
        <p15:guide id="1" orient="horz" pos="421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Shape 30">
            <a:extLst>
              <a:ext uri="{FF2B5EF4-FFF2-40B4-BE49-F238E27FC236}">
                <a16:creationId xmlns:a16="http://schemas.microsoft.com/office/drawing/2014/main" id="{845954EA-52BA-4993-88EC-DF18979BB835}"/>
              </a:ext>
            </a:extLst>
          </p:cNvPr>
          <p:cNvSpPr>
            <a:spLocks/>
          </p:cNvSpPr>
          <p:nvPr userDrawn="1"/>
        </p:nvSpPr>
        <p:spPr bwMode="auto">
          <a:xfrm>
            <a:off x="0" y="0"/>
            <a:ext cx="5942704" cy="6858000"/>
          </a:xfrm>
          <a:custGeom>
            <a:avLst/>
            <a:gdLst>
              <a:gd name="connsiteX0" fmla="*/ 0 w 5942704"/>
              <a:gd name="connsiteY0" fmla="*/ 0 h 6858000"/>
              <a:gd name="connsiteX1" fmla="*/ 1934853 w 5942704"/>
              <a:gd name="connsiteY1" fmla="*/ 0 h 6858000"/>
              <a:gd name="connsiteX2" fmla="*/ 2016936 w 5942704"/>
              <a:gd name="connsiteY2" fmla="*/ 210681 h 6858000"/>
              <a:gd name="connsiteX3" fmla="*/ 5381512 w 5942704"/>
              <a:gd name="connsiteY3" fmla="*/ 2418544 h 6858000"/>
              <a:gd name="connsiteX4" fmla="*/ 3847814 w 5942704"/>
              <a:gd name="connsiteY4" fmla="*/ 6821749 h 6858000"/>
              <a:gd name="connsiteX5" fmla="*/ 3794266 w 5942704"/>
              <a:gd name="connsiteY5" fmla="*/ 6858000 h 6858000"/>
              <a:gd name="connsiteX6" fmla="*/ 0 w 5942704"/>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4" h="6858000">
                <a:moveTo>
                  <a:pt x="0" y="0"/>
                </a:moveTo>
                <a:lnTo>
                  <a:pt x="1934853" y="0"/>
                </a:lnTo>
                <a:lnTo>
                  <a:pt x="2016936" y="210681"/>
                </a:lnTo>
                <a:cubicBezTo>
                  <a:pt x="3206701" y="3025068"/>
                  <a:pt x="5838311" y="3712297"/>
                  <a:pt x="5381512" y="2418544"/>
                </a:cubicBezTo>
                <a:cubicBezTo>
                  <a:pt x="6127824" y="2700973"/>
                  <a:pt x="6548790" y="4891946"/>
                  <a:pt x="3847814" y="6821749"/>
                </a:cubicBezTo>
                <a:lnTo>
                  <a:pt x="3794266" y="6858000"/>
                </a:lnTo>
                <a:lnTo>
                  <a:pt x="0" y="685800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4391205"/>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4391205"/>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4391205"/>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4391205"/>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4391205"/>
            <a:ext cx="333195" cy="333195"/>
          </a:xfrm>
          <a:prstGeom prst="rect">
            <a:avLst/>
          </a:prstGeom>
          <a:noFill/>
        </p:spPr>
      </p:pic>
      <p:sp>
        <p:nvSpPr>
          <p:cNvPr id="23" name="Rectangle 22"/>
          <p:cNvSpPr/>
          <p:nvPr userDrawn="1"/>
        </p:nvSpPr>
        <p:spPr>
          <a:xfrm>
            <a:off x="415038" y="5638800"/>
            <a:ext cx="4198620" cy="369332"/>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p:txBody>
      </p:sp>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2"/>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35797058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101"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atin typeface="Arial" pitchFamily="34" charset="0"/>
              </a:defRPr>
            </a:lvl1pPr>
          </a:lstStyle>
          <a:p>
            <a:pPr lvl="0"/>
            <a:r>
              <a:rPr lang="en-US" noProof="0" dirty="0"/>
              <a:t>Click to edit Master title style</a:t>
            </a:r>
          </a:p>
        </p:txBody>
      </p:sp>
    </p:spTree>
    <p:extLst>
      <p:ext uri="{BB962C8B-B14F-4D97-AF65-F5344CB8AC3E}">
        <p14:creationId xmlns:p14="http://schemas.microsoft.com/office/powerpoint/2010/main" val="15660230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343097"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43097"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1467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1467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3" name="Retângulo 43">
            <a:extLst>
              <a:ext uri="{FF2B5EF4-FFF2-40B4-BE49-F238E27FC236}">
                <a16:creationId xmlns:a16="http://schemas.microsoft.com/office/drawing/2014/main" id="{55EF36AC-DABE-46F9-B297-329B19F3B482}"/>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3125"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a:xfrm>
            <a:off x="2370794" y="413387"/>
            <a:ext cx="9413218" cy="855026"/>
          </a:xfrm>
        </p:spPr>
        <p:txBody>
          <a:bodyPr/>
          <a:lstStyle>
            <a:lvl1pPr>
              <a:defRPr>
                <a:latin typeface="Arial" pitchFamily="34" charset="0"/>
              </a:defRPr>
            </a:lvl1pPr>
          </a:lstStyle>
          <a:p>
            <a:pPr lvl="0"/>
            <a:r>
              <a:rPr lang="en-US" noProof="0" dirty="0"/>
              <a:t>Click to edit Master title style</a:t>
            </a:r>
          </a:p>
        </p:txBody>
      </p:sp>
      <p:pic>
        <p:nvPicPr>
          <p:cNvPr id="4" name="Graphic 41">
            <a:extLst>
              <a:ext uri="{FF2B5EF4-FFF2-40B4-BE49-F238E27FC236}">
                <a16:creationId xmlns:a16="http://schemas.microsoft.com/office/drawing/2014/main" id="{056CED3E-FFDB-0A4C-9C79-96710827AED8}"/>
              </a:ext>
            </a:extLst>
          </p:cNvPr>
          <p:cNvPicPr>
            <a:picLocks noChangeAspect="1"/>
          </p:cNvPicPr>
          <p:nvPr userDrawn="1"/>
        </p:nvPicPr>
        <p:blipFill>
          <a:blip r:embed="rId6" cstate="print">
            <a:extLst>
              <a:ext uri="{96DAC541-7B7A-43D3-8B79-37D633B846F1}">
                <asvg:svgBlip xmlns:asvg="http://schemas.microsoft.com/office/drawing/2016/SVG/main" r:embed="rId7"/>
              </a:ext>
            </a:extLst>
          </a:blip>
          <a:srcRect t="7669"/>
          <a:stretch>
            <a:fillRect/>
          </a:stretch>
        </p:blipFill>
        <p:spPr>
          <a:xfrm rot="7221508" flipH="1" flipV="1">
            <a:off x="-220690" y="-449581"/>
            <a:ext cx="2236456" cy="2104796"/>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Tree>
    <p:extLst>
      <p:ext uri="{BB962C8B-B14F-4D97-AF65-F5344CB8AC3E}">
        <p14:creationId xmlns:p14="http://schemas.microsoft.com/office/powerpoint/2010/main" val="18777968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olo el títul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414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s-ES"/>
              <a:t>Haga clic para modificar el estilo de título del patrón</a:t>
            </a:r>
            <a:endParaRPr lang="en-GB" dirty="0"/>
          </a:p>
        </p:txBody>
      </p:sp>
      <p:pic>
        <p:nvPicPr>
          <p:cNvPr id="4" name="11 Imagen">
            <a:extLst>
              <a:ext uri="{FF2B5EF4-FFF2-40B4-BE49-F238E27FC236}">
                <a16:creationId xmlns:a16="http://schemas.microsoft.com/office/drawing/2014/main" id="{55DA5D90-1730-4DB8-BBEC-F639F7718B3B}"/>
              </a:ext>
            </a:extLst>
          </p:cNvPr>
          <p:cNvPicPr/>
          <p:nvPr userDrawn="1"/>
        </p:nvPicPr>
        <p:blipFill>
          <a:blip r:embed="rId6" cstate="print"/>
          <a:srcRect/>
          <a:stretch>
            <a:fillRect/>
          </a:stretch>
        </p:blipFill>
        <p:spPr bwMode="auto">
          <a:xfrm>
            <a:off x="227348" y="6453336"/>
            <a:ext cx="527253" cy="241515"/>
          </a:xfrm>
          <a:prstGeom prst="rect">
            <a:avLst/>
          </a:prstGeom>
          <a:noFill/>
          <a:ln w="9525">
            <a:noFill/>
            <a:miter lim="800000"/>
            <a:headEnd/>
            <a:tailEnd/>
          </a:ln>
        </p:spPr>
      </p:pic>
    </p:spTree>
    <p:extLst>
      <p:ext uri="{BB962C8B-B14F-4D97-AF65-F5344CB8AC3E}">
        <p14:creationId xmlns:p14="http://schemas.microsoft.com/office/powerpoint/2010/main" val="11468055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391102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8714" y="137283"/>
            <a:ext cx="11557001" cy="843379"/>
          </a:xfrm>
        </p:spPr>
        <p:txBody>
          <a:bodyPr/>
          <a:lstStyle/>
          <a:p>
            <a:r>
              <a:rPr lang="en-US" dirty="0"/>
              <a:t>Click to edit Master title style</a:t>
            </a:r>
            <a:endParaRPr lang="pt-PT" dirty="0"/>
          </a:p>
        </p:txBody>
      </p:sp>
      <p:pic>
        <p:nvPicPr>
          <p:cNvPr id="3" name="11 Imagen">
            <a:extLst>
              <a:ext uri="{FF2B5EF4-FFF2-40B4-BE49-F238E27FC236}">
                <a16:creationId xmlns:a16="http://schemas.microsoft.com/office/drawing/2014/main" id="{55DA5D90-1730-4DB8-BBEC-F639F7718B3B}"/>
              </a:ext>
            </a:extLst>
          </p:cNvPr>
          <p:cNvPicPr/>
          <p:nvPr userDrawn="1"/>
        </p:nvPicPr>
        <p:blipFill>
          <a:blip r:embed="rId2" cstate="print"/>
          <a:srcRect/>
          <a:stretch>
            <a:fillRect/>
          </a:stretch>
        </p:blipFill>
        <p:spPr bwMode="auto">
          <a:xfrm>
            <a:off x="227348" y="6453336"/>
            <a:ext cx="527253" cy="241515"/>
          </a:xfrm>
          <a:prstGeom prst="rect">
            <a:avLst/>
          </a:prstGeom>
          <a:noFill/>
          <a:ln w="9525">
            <a:noFill/>
            <a:miter lim="800000"/>
            <a:headEnd/>
            <a:tailEnd/>
          </a:ln>
        </p:spPr>
      </p:pic>
    </p:spTree>
    <p:extLst>
      <p:ext uri="{BB962C8B-B14F-4D97-AF65-F5344CB8AC3E}">
        <p14:creationId xmlns:p14="http://schemas.microsoft.com/office/powerpoint/2010/main" val="21985976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780"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336549" y="1815351"/>
            <a:ext cx="11518901"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
        <p:nvSpPr>
          <p:cNvPr id="9" name="Retângulo 43">
            <a:extLst>
              <a:ext uri="{FF2B5EF4-FFF2-40B4-BE49-F238E27FC236}">
                <a16:creationId xmlns:a16="http://schemas.microsoft.com/office/drawing/2014/main" id="{8E9F47ED-03C8-4EA5-9AD5-3470B6B5B1D4}"/>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86"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
        <p:nvSpPr>
          <p:cNvPr id="4" name="Retângulo 43">
            <a:extLst>
              <a:ext uri="{FF2B5EF4-FFF2-40B4-BE49-F238E27FC236}">
                <a16:creationId xmlns:a16="http://schemas.microsoft.com/office/drawing/2014/main" id="{EF802971-324E-4FDA-B7EE-19B49811222B}"/>
              </a:ext>
            </a:extLst>
          </p:cNvPr>
          <p:cNvSpPr/>
          <p:nvPr userDrawn="1"/>
        </p:nvSpPr>
        <p:spPr>
          <a:xfrm>
            <a:off x="125064" y="6582841"/>
            <a:ext cx="2223686" cy="219456"/>
          </a:xfrm>
          <a:prstGeom prst="rect">
            <a:avLst/>
          </a:prstGeom>
        </p:spPr>
        <p:txBody>
          <a:bodyPr wrap="none" lIns="0" tIns="0" rIns="0" bIns="0" anchor="ctr">
            <a:noAutofit/>
          </a:bodyPr>
          <a:lstStyle/>
          <a:p>
            <a:pPr algn="l"/>
            <a:r>
              <a:rPr lang="en-US" sz="800" dirty="0">
                <a:solidFill>
                  <a:schemeClr val="tx2"/>
                </a:solidFill>
              </a:rPr>
              <a:t>Capgemini API Strategy</a:t>
            </a:r>
            <a:endParaRPr lang="en-US" sz="800" dirty="0">
              <a:solidFill>
                <a:schemeClr val="bg1">
                  <a:lumMod val="65000"/>
                </a:schemeClr>
              </a:solidFill>
            </a:endParaRPr>
          </a:p>
        </p:txBody>
      </p:sp>
      <p:sp>
        <p:nvSpPr>
          <p:cNvPr id="6" name="Retângulo 43">
            <a:extLst>
              <a:ext uri="{FF2B5EF4-FFF2-40B4-BE49-F238E27FC236}">
                <a16:creationId xmlns:a16="http://schemas.microsoft.com/office/drawing/2014/main" id="{A7C5AE42-3A06-4938-907B-55FF61F91655}"/>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chemeClr val="bg2"/>
        </a:solidFill>
        <a:effectLst/>
      </p:bgPr>
    </p:bg>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a:t>Modifiez le style du titre</a:t>
            </a:r>
            <a:endParaRPr lang="en-US"/>
          </a:p>
        </p:txBody>
      </p:sp>
      <p:sp>
        <p:nvSpPr>
          <p:cNvPr id="4" name="Retângulo 43">
            <a:extLst>
              <a:ext uri="{FF2B5EF4-FFF2-40B4-BE49-F238E27FC236}">
                <a16:creationId xmlns:a16="http://schemas.microsoft.com/office/drawing/2014/main" id="{0D6A0D50-7000-405F-83AD-4F361075F5E3}"/>
              </a:ext>
            </a:extLst>
          </p:cNvPr>
          <p:cNvSpPr/>
          <p:nvPr userDrawn="1"/>
        </p:nvSpPr>
        <p:spPr>
          <a:xfrm>
            <a:off x="125064" y="6582841"/>
            <a:ext cx="2223686" cy="219456"/>
          </a:xfrm>
          <a:prstGeom prst="rect">
            <a:avLst/>
          </a:prstGeom>
        </p:spPr>
        <p:txBody>
          <a:bodyPr wrap="none" lIns="0" tIns="0" rIns="0" bIns="0" anchor="ctr">
            <a:noAutofit/>
          </a:bodyPr>
          <a:lstStyle/>
          <a:p>
            <a:pPr algn="l"/>
            <a:r>
              <a:rPr lang="en-US" sz="800" dirty="0">
                <a:solidFill>
                  <a:schemeClr val="tx2"/>
                </a:solidFill>
              </a:rPr>
              <a:t>Capgemini API Strategy</a:t>
            </a:r>
            <a:endParaRPr lang="en-US" sz="800" dirty="0">
              <a:solidFill>
                <a:schemeClr val="bg1">
                  <a:lumMod val="65000"/>
                </a:schemeClr>
              </a:solidFill>
            </a:endParaRPr>
          </a:p>
        </p:txBody>
      </p:sp>
      <p:sp>
        <p:nvSpPr>
          <p:cNvPr id="5" name="Retângulo 43">
            <a:extLst>
              <a:ext uri="{FF2B5EF4-FFF2-40B4-BE49-F238E27FC236}">
                <a16:creationId xmlns:a16="http://schemas.microsoft.com/office/drawing/2014/main" id="{C3E12154-D6CB-4431-8C28-4DABEAC5F037}"/>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Tree>
    <p:extLst>
      <p:ext uri="{BB962C8B-B14F-4D97-AF65-F5344CB8AC3E}">
        <p14:creationId xmlns:p14="http://schemas.microsoft.com/office/powerpoint/2010/main" val="31052297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0068"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a:xfrm>
            <a:off x="2370794" y="413387"/>
            <a:ext cx="9413218" cy="855026"/>
          </a:xfrm>
        </p:spPr>
        <p:txBody>
          <a:bodyPr/>
          <a:lstStyle>
            <a:lvl1pPr>
              <a:defRPr>
                <a:latin typeface="Arial" pitchFamily="34" charset="0"/>
              </a:defRPr>
            </a:lvl1pPr>
          </a:lstStyle>
          <a:p>
            <a:pPr lvl="0"/>
            <a:r>
              <a:rPr lang="en-US" noProof="0" dirty="0"/>
              <a:t>Click to edit Master title style</a:t>
            </a:r>
          </a:p>
        </p:txBody>
      </p:sp>
      <p:pic>
        <p:nvPicPr>
          <p:cNvPr id="4" name="Graphic 41">
            <a:extLst>
              <a:ext uri="{FF2B5EF4-FFF2-40B4-BE49-F238E27FC236}">
                <a16:creationId xmlns:a16="http://schemas.microsoft.com/office/drawing/2014/main" id="{056CED3E-FFDB-0A4C-9C79-96710827AED8}"/>
              </a:ext>
            </a:extLst>
          </p:cNvPr>
          <p:cNvPicPr>
            <a:picLocks noChangeAspect="1"/>
          </p:cNvPicPr>
          <p:nvPr userDrawn="1"/>
        </p:nvPicPr>
        <p:blipFill>
          <a:blip r:embed="rId6" cstate="print">
            <a:extLst>
              <a:ext uri="{96DAC541-7B7A-43D3-8B79-37D633B846F1}">
                <asvg:svgBlip xmlns:asvg="http://schemas.microsoft.com/office/drawing/2016/SVG/main" r:embed="rId7"/>
              </a:ext>
            </a:extLst>
          </a:blip>
          <a:srcRect t="7669"/>
          <a:stretch>
            <a:fillRect/>
          </a:stretch>
        </p:blipFill>
        <p:spPr>
          <a:xfrm rot="7221508" flipH="1" flipV="1">
            <a:off x="-220690" y="-449581"/>
            <a:ext cx="2236456" cy="2104796"/>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Tree>
    <p:extLst>
      <p:ext uri="{BB962C8B-B14F-4D97-AF65-F5344CB8AC3E}">
        <p14:creationId xmlns:p14="http://schemas.microsoft.com/office/powerpoint/2010/main" val="31777322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ags" Target="../tags/tag9.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vmlDrawing" Target="../drawings/vmlDrawing8.v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heme" Target="../theme/theme2.xml"/><Relationship Id="rId5" Type="http://schemas.openxmlformats.org/officeDocument/2006/relationships/slideLayout" Target="../slideLayouts/slideLayout19.xml"/><Relationship Id="rId15" Type="http://schemas.openxmlformats.org/officeDocument/2006/relationships/image" Target="../media/image1.emf"/><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oleObject" Target="../embeddings/oleObject7.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theme" Target="../theme/theme3.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83" name="think-cell Slide" r:id="rId18" imgW="270" imgH="270" progId="TCLayout.ActiveDocument.1">
                  <p:embed/>
                </p:oleObj>
              </mc:Choice>
              <mc:Fallback>
                <p:oleObj name="think-cell Slide" r:id="rId18" imgW="270" imgH="270" progId="TCLayout.ActiveDocument.1">
                  <p:embed/>
                  <p:pic>
                    <p:nvPicPr>
                      <p:cNvPr id="0" name="Picture 8"/>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4" name="Espace réservé du texte 3"/>
          <p:cNvSpPr>
            <a:spLocks noGrp="1"/>
          </p:cNvSpPr>
          <p:nvPr userDrawn="1">
            <p:ph type="body" idx="1"/>
          </p:nvPr>
        </p:nvSpPr>
        <p:spPr>
          <a:xfrm>
            <a:off x="336549" y="1815352"/>
            <a:ext cx="11518902"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336549" y="0"/>
            <a:ext cx="11016035"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883" r:id="rId8"/>
    <p:sldLayoutId id="2147483886" r:id="rId9"/>
    <p:sldLayoutId id="2147483887" r:id="rId10"/>
    <p:sldLayoutId id="2147483943" r:id="rId11"/>
    <p:sldLayoutId id="2147483944" r:id="rId12"/>
    <p:sldLayoutId id="2147483947" r:id="rId13"/>
    <p:sldLayoutId id="2147483955" r:id="rId14"/>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400" b="0" i="0" u="none" strike="noStrike" kern="1200" cap="none" spc="0" normalizeH="0" baseline="0" noProof="0" dirty="0">
          <a:ln>
            <a:noFill/>
          </a:ln>
          <a:solidFill>
            <a:schemeClr val="tx2"/>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68" userDrawn="1">
          <p15:clr>
            <a:srgbClr val="F26B43"/>
          </p15:clr>
        </p15:guide>
        <p15:guide id="3" orient="horz" pos="4088">
          <p15:clr>
            <a:srgbClr val="F26B43"/>
          </p15:clr>
        </p15:guide>
        <p15:guide id="4" pos="212" userDrawn="1">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864" name="think-cell Slide" r:id="rId14" imgW="270" imgH="270" progId="TCLayout.ActiveDocument.1">
                  <p:embed/>
                </p:oleObj>
              </mc:Choice>
              <mc:Fallback>
                <p:oleObj name="think-cell Slide" r:id="rId14" imgW="270" imgH="270" progId="TCLayout.ActiveDocument.1">
                  <p:embed/>
                  <p:pic>
                    <p:nvPicPr>
                      <p:cNvPr id="0" name="Picture 7"/>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911" r:id="rId5"/>
    <p:sldLayoutId id="2147483945" r:id="rId6"/>
    <p:sldLayoutId id="2147483946" r:id="rId7"/>
    <p:sldLayoutId id="2147483950" r:id="rId8"/>
    <p:sldLayoutId id="2147483953" r:id="rId9"/>
    <p:sldLayoutId id="2147483954" r:id="rId10"/>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en-US"/>
              <a:t>Click to edit Master title styl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694444492"/>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 id="2147483900" r:id="rId12"/>
    <p:sldLayoutId id="2147483901" r:id="rId13"/>
    <p:sldLayoutId id="2147483902" r:id="rId14"/>
    <p:sldLayoutId id="2147483903" r:id="rId15"/>
    <p:sldLayoutId id="2147483904" r:id="rId16"/>
    <p:sldLayoutId id="2147483905" r:id="rId17"/>
    <p:sldLayoutId id="2147483907" r:id="rId18"/>
    <p:sldLayoutId id="2147483908" r:id="rId19"/>
  </p:sldLayoutIdLst>
  <p:hf sldNum="0" hdr="0" ft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guide id="10" pos="32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9.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0.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9.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hyperlink" Target="https://xyz.com/orders/3" TargetMode="Externa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1.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10.xml"/><Relationship Id="rId7" Type="http://schemas.openxmlformats.org/officeDocument/2006/relationships/image" Target="../media/image31.PNG"/><Relationship Id="rId2" Type="http://schemas.openxmlformats.org/officeDocument/2006/relationships/diagramData" Target="../diagrams/data10.xml"/><Relationship Id="rId1" Type="http://schemas.openxmlformats.org/officeDocument/2006/relationships/slideLayout" Target="../slideLayouts/slideLayout11.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12.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12.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12.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9.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12.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12.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18" Type="http://schemas.openxmlformats.org/officeDocument/2006/relationships/diagramLayout" Target="../diagrams/layout5.xml"/><Relationship Id="rId3" Type="http://schemas.openxmlformats.org/officeDocument/2006/relationships/diagramLayout" Target="../diagrams/layout2.xml"/><Relationship Id="rId21" Type="http://schemas.microsoft.com/office/2007/relationships/diagramDrawing" Target="../diagrams/drawing5.xml"/><Relationship Id="rId7" Type="http://schemas.openxmlformats.org/officeDocument/2006/relationships/diagramData" Target="../diagrams/data3.xml"/><Relationship Id="rId12" Type="http://schemas.openxmlformats.org/officeDocument/2006/relationships/diagramData" Target="../diagrams/data4.xml"/><Relationship Id="rId17" Type="http://schemas.openxmlformats.org/officeDocument/2006/relationships/diagramData" Target="../diagrams/data5.xml"/><Relationship Id="rId2" Type="http://schemas.openxmlformats.org/officeDocument/2006/relationships/diagramData" Target="../diagrams/data2.xml"/><Relationship Id="rId16" Type="http://schemas.microsoft.com/office/2007/relationships/diagramDrawing" Target="../diagrams/drawing4.xml"/><Relationship Id="rId20" Type="http://schemas.openxmlformats.org/officeDocument/2006/relationships/diagramColors" Target="../diagrams/colors5.xml"/><Relationship Id="rId1" Type="http://schemas.openxmlformats.org/officeDocument/2006/relationships/slideLayout" Target="../slideLayouts/slideLayout21.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5" Type="http://schemas.openxmlformats.org/officeDocument/2006/relationships/diagramColors" Target="../diagrams/colors4.xml"/><Relationship Id="rId10" Type="http://schemas.openxmlformats.org/officeDocument/2006/relationships/diagramColors" Target="../diagrams/colors3.xml"/><Relationship Id="rId19" Type="http://schemas.openxmlformats.org/officeDocument/2006/relationships/diagramQuickStyle" Target="../diagrams/quickStyle5.xml"/><Relationship Id="rId4" Type="http://schemas.openxmlformats.org/officeDocument/2006/relationships/diagramQuickStyle" Target="../diagrams/quickStyle2.xml"/><Relationship Id="rId9" Type="http://schemas.openxmlformats.org/officeDocument/2006/relationships/diagramQuickStyle" Target="../diagrams/quickStyle3.xml"/><Relationship Id="rId14" Type="http://schemas.openxmlformats.org/officeDocument/2006/relationships/diagramQuickStyle" Target="../diagrams/quickStyle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9.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C6769C-BA83-4BB9-A832-AB06960D0069}"/>
              </a:ext>
            </a:extLst>
          </p:cNvPr>
          <p:cNvSpPr>
            <a:spLocks noGrp="1"/>
          </p:cNvSpPr>
          <p:nvPr>
            <p:ph type="ctrTitle"/>
          </p:nvPr>
        </p:nvSpPr>
        <p:spPr/>
        <p:txBody>
          <a:bodyPr/>
          <a:lstStyle/>
          <a:p>
            <a:r>
              <a:rPr lang="en-US" b="1" dirty="0"/>
              <a:t>Unlocking Digital </a:t>
            </a:r>
            <a:br>
              <a:rPr lang="en-US" b="1" dirty="0"/>
            </a:br>
            <a:r>
              <a:rPr lang="en-US" b="1" dirty="0"/>
              <a:t>Transformation With APIGEE</a:t>
            </a:r>
            <a:endParaRPr lang="nl-NL" dirty="0"/>
          </a:p>
        </p:txBody>
      </p:sp>
      <p:sp>
        <p:nvSpPr>
          <p:cNvPr id="3" name="Subtitle 2">
            <a:extLst>
              <a:ext uri="{FF2B5EF4-FFF2-40B4-BE49-F238E27FC236}">
                <a16:creationId xmlns:a16="http://schemas.microsoft.com/office/drawing/2014/main" id="{0BC9040A-CFDB-4D53-9C90-CED895777C40}"/>
              </a:ext>
            </a:extLst>
          </p:cNvPr>
          <p:cNvSpPr>
            <a:spLocks noGrp="1"/>
          </p:cNvSpPr>
          <p:nvPr>
            <p:ph type="subTitle" idx="1"/>
          </p:nvPr>
        </p:nvSpPr>
        <p:spPr/>
        <p:txBody>
          <a:bodyPr/>
          <a:lstStyle/>
          <a:p>
            <a:r>
              <a:rPr lang="en-US" b="1" dirty="0"/>
              <a:t>Nov 10, 2020, </a:t>
            </a:r>
            <a:r>
              <a:rPr lang="nl-NL" b="1" dirty="0"/>
              <a:t>Utrecht, </a:t>
            </a:r>
            <a:r>
              <a:rPr lang="en-US" b="1" dirty="0"/>
              <a:t>Kapil Dwivedi</a:t>
            </a:r>
          </a:p>
          <a:p>
            <a:endParaRPr lang="nl-NL" dirty="0"/>
          </a:p>
        </p:txBody>
      </p:sp>
    </p:spTree>
    <p:extLst>
      <p:ext uri="{BB962C8B-B14F-4D97-AF65-F5344CB8AC3E}">
        <p14:creationId xmlns:p14="http://schemas.microsoft.com/office/powerpoint/2010/main" val="8557711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ED32B-4145-4D65-AA46-C7B3DD89B529}"/>
              </a:ext>
            </a:extLst>
          </p:cNvPr>
          <p:cNvSpPr>
            <a:spLocks noGrp="1"/>
          </p:cNvSpPr>
          <p:nvPr>
            <p:ph type="title"/>
          </p:nvPr>
        </p:nvSpPr>
        <p:spPr/>
        <p:txBody>
          <a:bodyPr/>
          <a:lstStyle/>
          <a:p>
            <a:r>
              <a:rPr lang="nl-NL" b="1" dirty="0"/>
              <a:t>APIGEE Products</a:t>
            </a:r>
          </a:p>
        </p:txBody>
      </p:sp>
      <p:graphicFrame>
        <p:nvGraphicFramePr>
          <p:cNvPr id="5" name="Diagram 4">
            <a:extLst>
              <a:ext uri="{FF2B5EF4-FFF2-40B4-BE49-F238E27FC236}">
                <a16:creationId xmlns:a16="http://schemas.microsoft.com/office/drawing/2014/main" id="{B8DEE530-3E30-4CE2-AE87-7CDB4518B015}"/>
              </a:ext>
            </a:extLst>
          </p:cNvPr>
          <p:cNvGraphicFramePr/>
          <p:nvPr>
            <p:extLst>
              <p:ext uri="{D42A27DB-BD31-4B8C-83A1-F6EECF244321}">
                <p14:modId xmlns:p14="http://schemas.microsoft.com/office/powerpoint/2010/main" val="781761907"/>
              </p:ext>
            </p:extLst>
          </p:nvPr>
        </p:nvGraphicFramePr>
        <p:xfrm>
          <a:off x="2827027" y="2219218"/>
          <a:ext cx="6871778" cy="25671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30420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8D80A-6AD3-4800-A2C7-00CACB568182}"/>
              </a:ext>
            </a:extLst>
          </p:cNvPr>
          <p:cNvSpPr>
            <a:spLocks noGrp="1"/>
          </p:cNvSpPr>
          <p:nvPr>
            <p:ph type="title"/>
          </p:nvPr>
        </p:nvSpPr>
        <p:spPr/>
        <p:txBody>
          <a:bodyPr/>
          <a:lstStyle/>
          <a:p>
            <a:r>
              <a:rPr lang="nl-NL" b="1" dirty="0"/>
              <a:t>Agenda</a:t>
            </a:r>
            <a:endParaRPr lang="nl-NL" dirty="0"/>
          </a:p>
        </p:txBody>
      </p:sp>
      <p:sp>
        <p:nvSpPr>
          <p:cNvPr id="3" name="Rectangle 2">
            <a:extLst>
              <a:ext uri="{FF2B5EF4-FFF2-40B4-BE49-F238E27FC236}">
                <a16:creationId xmlns:a16="http://schemas.microsoft.com/office/drawing/2014/main" id="{41C846D7-1C76-4657-AF3A-EAEE565432A9}"/>
              </a:ext>
            </a:extLst>
          </p:cNvPr>
          <p:cNvSpPr/>
          <p:nvPr/>
        </p:nvSpPr>
        <p:spPr>
          <a:xfrm>
            <a:off x="3297873" y="1862574"/>
            <a:ext cx="5971507" cy="369332"/>
          </a:xfrm>
          <a:prstGeom prst="rect">
            <a:avLst/>
          </a:prstGeom>
        </p:spPr>
        <p:txBody>
          <a:bodyPr wrap="none">
            <a:spAutoFit/>
          </a:bodyPr>
          <a:lstStyle/>
          <a:p>
            <a:pPr marL="285750" indent="-285750">
              <a:buFont typeface="Arial" panose="020B0604020202020204" pitchFamily="34" charset="0"/>
              <a:buChar char="•"/>
            </a:pPr>
            <a:r>
              <a:rPr lang="en-US" b="1" dirty="0">
                <a:solidFill>
                  <a:schemeClr val="tx2">
                    <a:lumMod val="50000"/>
                  </a:schemeClr>
                </a:solidFill>
              </a:rPr>
              <a:t>Digital Transformation and Power of API’s</a:t>
            </a:r>
            <a:endParaRPr lang="nl-NL" b="1" dirty="0">
              <a:solidFill>
                <a:schemeClr val="tx2">
                  <a:lumMod val="50000"/>
                </a:schemeClr>
              </a:solidFill>
            </a:endParaRPr>
          </a:p>
        </p:txBody>
      </p:sp>
      <p:sp>
        <p:nvSpPr>
          <p:cNvPr id="4" name="Rectangle 3">
            <a:extLst>
              <a:ext uri="{FF2B5EF4-FFF2-40B4-BE49-F238E27FC236}">
                <a16:creationId xmlns:a16="http://schemas.microsoft.com/office/drawing/2014/main" id="{DEE5B597-6618-4996-BE03-61500D0AE34B}"/>
              </a:ext>
            </a:extLst>
          </p:cNvPr>
          <p:cNvSpPr/>
          <p:nvPr/>
        </p:nvSpPr>
        <p:spPr>
          <a:xfrm>
            <a:off x="3297873" y="2461260"/>
            <a:ext cx="5150769"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en-US" b="1" dirty="0">
                <a:solidFill>
                  <a:schemeClr val="tx2">
                    <a:lumMod val="50000"/>
                  </a:schemeClr>
                </a:solidFill>
              </a:rPr>
              <a:t>API Management Platform - </a:t>
            </a:r>
            <a:r>
              <a:rPr lang="en-GB" b="1" dirty="0">
                <a:solidFill>
                  <a:schemeClr val="tx2">
                    <a:lumMod val="50000"/>
                  </a:schemeClr>
                </a:solidFill>
              </a:rPr>
              <a:t>APIGEE</a:t>
            </a:r>
            <a:endParaRPr lang="en-US" b="1" dirty="0">
              <a:solidFill>
                <a:schemeClr val="accent2"/>
              </a:solidFill>
            </a:endParaRPr>
          </a:p>
        </p:txBody>
      </p:sp>
      <p:sp>
        <p:nvSpPr>
          <p:cNvPr id="5" name="Rectangle 4">
            <a:extLst>
              <a:ext uri="{FF2B5EF4-FFF2-40B4-BE49-F238E27FC236}">
                <a16:creationId xmlns:a16="http://schemas.microsoft.com/office/drawing/2014/main" id="{06A55B2D-7129-413F-AF4B-0A14DC8932E2}"/>
              </a:ext>
            </a:extLst>
          </p:cNvPr>
          <p:cNvSpPr/>
          <p:nvPr/>
        </p:nvSpPr>
        <p:spPr>
          <a:xfrm>
            <a:off x="3320315" y="3208678"/>
            <a:ext cx="4461478"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en-US" b="1" dirty="0">
                <a:solidFill>
                  <a:schemeClr val="tx2">
                    <a:lumMod val="50000"/>
                  </a:schemeClr>
                </a:solidFill>
              </a:rPr>
              <a:t>APIGEE Product and Offerings </a:t>
            </a:r>
            <a:endParaRPr lang="en-US" b="1" dirty="0">
              <a:solidFill>
                <a:schemeClr val="accent2"/>
              </a:solidFill>
            </a:endParaRPr>
          </a:p>
        </p:txBody>
      </p:sp>
      <p:sp>
        <p:nvSpPr>
          <p:cNvPr id="7" name="Rectangle 6">
            <a:extLst>
              <a:ext uri="{FF2B5EF4-FFF2-40B4-BE49-F238E27FC236}">
                <a16:creationId xmlns:a16="http://schemas.microsoft.com/office/drawing/2014/main" id="{5D9D6645-0143-46AB-AA6E-68E7B8903DD3}"/>
              </a:ext>
            </a:extLst>
          </p:cNvPr>
          <p:cNvSpPr/>
          <p:nvPr/>
        </p:nvSpPr>
        <p:spPr>
          <a:xfrm>
            <a:off x="3328929" y="3956096"/>
            <a:ext cx="5832046" cy="369332"/>
          </a:xfrm>
          <a:prstGeom prst="rect">
            <a:avLst/>
          </a:prstGeom>
        </p:spPr>
        <p:txBody>
          <a:bodyPr wrap="none">
            <a:spAutoFit/>
          </a:bodyPr>
          <a:lstStyle/>
          <a:p>
            <a:pPr marL="285750" indent="-285750">
              <a:buFont typeface="Arial" panose="020B0604020202020204" pitchFamily="34" charset="0"/>
              <a:buChar char="•"/>
            </a:pPr>
            <a:r>
              <a:rPr lang="en-US" b="1" dirty="0">
                <a:solidFill>
                  <a:schemeClr val="tx2">
                    <a:lumMod val="50000"/>
                  </a:schemeClr>
                </a:solidFill>
              </a:rPr>
              <a:t>API Components and Deployment Models</a:t>
            </a:r>
            <a:endParaRPr lang="nl-NL" b="1" dirty="0">
              <a:solidFill>
                <a:schemeClr val="tx2">
                  <a:lumMod val="50000"/>
                </a:schemeClr>
              </a:solidFill>
            </a:endParaRPr>
          </a:p>
        </p:txBody>
      </p:sp>
      <p:sp>
        <p:nvSpPr>
          <p:cNvPr id="9" name="Rectangle 8">
            <a:extLst>
              <a:ext uri="{FF2B5EF4-FFF2-40B4-BE49-F238E27FC236}">
                <a16:creationId xmlns:a16="http://schemas.microsoft.com/office/drawing/2014/main" id="{54BD8A21-92E5-494E-8BD9-504385C99B4F}"/>
              </a:ext>
            </a:extLst>
          </p:cNvPr>
          <p:cNvSpPr/>
          <p:nvPr/>
        </p:nvSpPr>
        <p:spPr>
          <a:xfrm>
            <a:off x="3328929" y="4652613"/>
            <a:ext cx="2170787" cy="369332"/>
          </a:xfrm>
          <a:prstGeom prst="rect">
            <a:avLst/>
          </a:prstGeom>
        </p:spPr>
        <p:txBody>
          <a:bodyPr wrap="none">
            <a:spAutoFit/>
          </a:bodyPr>
          <a:lstStyle/>
          <a:p>
            <a:pPr marL="285750" indent="-285750">
              <a:buFont typeface="Arial" panose="020B0604020202020204" pitchFamily="34" charset="0"/>
              <a:buChar char="•"/>
            </a:pPr>
            <a:r>
              <a:rPr lang="en-US" b="1" dirty="0">
                <a:solidFill>
                  <a:schemeClr val="tx2">
                    <a:lumMod val="50000"/>
                  </a:schemeClr>
                </a:solidFill>
              </a:rPr>
              <a:t>API lifecycle </a:t>
            </a:r>
            <a:endParaRPr lang="nl-NL" b="1" dirty="0">
              <a:solidFill>
                <a:schemeClr val="tx2">
                  <a:lumMod val="50000"/>
                </a:schemeClr>
              </a:solidFill>
            </a:endParaRPr>
          </a:p>
        </p:txBody>
      </p:sp>
      <p:sp>
        <p:nvSpPr>
          <p:cNvPr id="10" name="Rectangle 9">
            <a:extLst>
              <a:ext uri="{FF2B5EF4-FFF2-40B4-BE49-F238E27FC236}">
                <a16:creationId xmlns:a16="http://schemas.microsoft.com/office/drawing/2014/main" id="{63009F01-D6E9-4774-8487-27B56211FA84}"/>
              </a:ext>
            </a:extLst>
          </p:cNvPr>
          <p:cNvSpPr/>
          <p:nvPr/>
        </p:nvSpPr>
        <p:spPr>
          <a:xfrm>
            <a:off x="3297873" y="5199992"/>
            <a:ext cx="4044697" cy="369332"/>
          </a:xfrm>
          <a:prstGeom prst="rect">
            <a:avLst/>
          </a:prstGeom>
        </p:spPr>
        <p:txBody>
          <a:bodyPr wrap="none">
            <a:spAutoFit/>
          </a:bodyPr>
          <a:lstStyle/>
          <a:p>
            <a:pPr marL="285750" indent="-285750">
              <a:buFont typeface="Arial" panose="020B0604020202020204" pitchFamily="34" charset="0"/>
              <a:buChar char="•"/>
            </a:pPr>
            <a:r>
              <a:rPr lang="en-US" b="1" dirty="0">
                <a:solidFill>
                  <a:schemeClr val="tx2">
                    <a:lumMod val="50000"/>
                  </a:schemeClr>
                </a:solidFill>
              </a:rPr>
              <a:t>Demo : </a:t>
            </a:r>
            <a:r>
              <a:rPr lang="nl-NL" b="1" dirty="0">
                <a:solidFill>
                  <a:schemeClr val="tx2">
                    <a:lumMod val="50000"/>
                  </a:schemeClr>
                </a:solidFill>
              </a:rPr>
              <a:t>Real Time Use case </a:t>
            </a:r>
          </a:p>
        </p:txBody>
      </p:sp>
      <p:sp>
        <p:nvSpPr>
          <p:cNvPr id="11" name="Rounded Rectangle 7">
            <a:extLst>
              <a:ext uri="{FF2B5EF4-FFF2-40B4-BE49-F238E27FC236}">
                <a16:creationId xmlns:a16="http://schemas.microsoft.com/office/drawing/2014/main" id="{E008399B-3AAE-41BB-AFD1-E210BCFC9887}"/>
              </a:ext>
            </a:extLst>
          </p:cNvPr>
          <p:cNvSpPr/>
          <p:nvPr/>
        </p:nvSpPr>
        <p:spPr bwMode="auto">
          <a:xfrm>
            <a:off x="2482836" y="3208678"/>
            <a:ext cx="7823200" cy="550155"/>
          </a:xfrm>
          <a:prstGeom prst="roundRect">
            <a:avLst>
              <a:gd name="adj" fmla="val 50000"/>
            </a:avLst>
          </a:prstGeom>
          <a:noFill/>
          <a:ln w="28575" cap="flat" cmpd="sng" algn="ctr">
            <a:solidFill>
              <a:schemeClr val="accent2"/>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algn="ctr" defTabSz="685800" eaLnBrk="0" fontAlgn="base" hangingPunct="0">
              <a:spcBef>
                <a:spcPct val="0"/>
              </a:spcBef>
              <a:spcAft>
                <a:spcPct val="0"/>
              </a:spcAft>
            </a:pPr>
            <a:endParaRPr lang="en-US" sz="1400" b="1" dirty="0">
              <a:cs typeface="Arial" charset="0"/>
            </a:endParaRPr>
          </a:p>
        </p:txBody>
      </p:sp>
    </p:spTree>
    <p:extLst>
      <p:ext uri="{BB962C8B-B14F-4D97-AF65-F5344CB8AC3E}">
        <p14:creationId xmlns:p14="http://schemas.microsoft.com/office/powerpoint/2010/main" val="42003034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18">
            <a:extLst>
              <a:ext uri="{FF2B5EF4-FFF2-40B4-BE49-F238E27FC236}">
                <a16:creationId xmlns:a16="http://schemas.microsoft.com/office/drawing/2014/main" id="{56953C94-89C5-4E90-BB4F-70B33728744E}"/>
              </a:ext>
            </a:extLst>
          </p:cNvPr>
          <p:cNvSpPr>
            <a:spLocks noGrp="1"/>
          </p:cNvSpPr>
          <p:nvPr>
            <p:ph type="title"/>
          </p:nvPr>
        </p:nvSpPr>
        <p:spPr>
          <a:xfrm>
            <a:off x="442913" y="25400"/>
            <a:ext cx="8577797" cy="822325"/>
          </a:xfrm>
          <a:prstGeom prst="rect">
            <a:avLst/>
          </a:prstGeom>
          <a:gradFill flip="none" rotWithShape="1">
            <a:gsLst>
              <a:gs pos="0">
                <a:schemeClr val="bg1">
                  <a:alpha val="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noAutofit/>
          </a:bodyPr>
          <a:lstStyle/>
          <a:p>
            <a:pPr lvl="0"/>
            <a:r>
              <a:rPr lang="en-US" sz="2000" b="1" dirty="0"/>
              <a:t>APIGEE Edge offerings </a:t>
            </a:r>
            <a:endParaRPr lang="nl-NL" sz="2000" b="1" dirty="0">
              <a:solidFill>
                <a:schemeClr val="bg1"/>
              </a:solidFill>
            </a:endParaRPr>
          </a:p>
        </p:txBody>
      </p:sp>
      <p:sp>
        <p:nvSpPr>
          <p:cNvPr id="6" name="Rectangle 5">
            <a:extLst>
              <a:ext uri="{FF2B5EF4-FFF2-40B4-BE49-F238E27FC236}">
                <a16:creationId xmlns:a16="http://schemas.microsoft.com/office/drawing/2014/main" id="{EF824ED5-B69B-4862-B5DF-2E14879F99CD}"/>
              </a:ext>
            </a:extLst>
          </p:cNvPr>
          <p:cNvSpPr>
            <a:spLocks/>
          </p:cNvSpPr>
          <p:nvPr/>
        </p:nvSpPr>
        <p:spPr>
          <a:xfrm>
            <a:off x="5731516" y="3338482"/>
            <a:ext cx="4878557" cy="984885"/>
          </a:xfrm>
          <a:prstGeom prst="rect">
            <a:avLst/>
          </a:prstGeom>
          <a:gradFill flip="none" rotWithShape="1">
            <a:gsLst>
              <a:gs pos="0">
                <a:schemeClr val="bg1">
                  <a:alpha val="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noAutofit/>
          </a:bodyPr>
          <a:lstStyle/>
          <a:p>
            <a:pPr>
              <a:spcBef>
                <a:spcPts val="300"/>
              </a:spcBef>
              <a:spcAft>
                <a:spcPts val="300"/>
              </a:spcAft>
            </a:pPr>
            <a:r>
              <a:rPr lang="en-US" sz="2000" b="1" dirty="0">
                <a:solidFill>
                  <a:schemeClr val="accent1"/>
                </a:solidFill>
              </a:rPr>
              <a:t>API Gateway Services </a:t>
            </a:r>
          </a:p>
        </p:txBody>
      </p:sp>
      <p:sp>
        <p:nvSpPr>
          <p:cNvPr id="7" name="Rectangle 6">
            <a:extLst>
              <a:ext uri="{FF2B5EF4-FFF2-40B4-BE49-F238E27FC236}">
                <a16:creationId xmlns:a16="http://schemas.microsoft.com/office/drawing/2014/main" id="{7C4625ED-7046-4E6A-BEEA-DF680FEB41BA}"/>
              </a:ext>
            </a:extLst>
          </p:cNvPr>
          <p:cNvSpPr>
            <a:spLocks/>
          </p:cNvSpPr>
          <p:nvPr/>
        </p:nvSpPr>
        <p:spPr>
          <a:xfrm>
            <a:off x="5731516" y="5135521"/>
            <a:ext cx="4878557" cy="984885"/>
          </a:xfrm>
          <a:prstGeom prst="rect">
            <a:avLst/>
          </a:prstGeom>
          <a:gradFill flip="none" rotWithShape="1">
            <a:gsLst>
              <a:gs pos="0">
                <a:schemeClr val="bg1">
                  <a:alpha val="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noAutofit/>
          </a:bodyPr>
          <a:lstStyle/>
          <a:p>
            <a:pPr>
              <a:spcBef>
                <a:spcPts val="300"/>
              </a:spcBef>
              <a:spcAft>
                <a:spcPts val="300"/>
              </a:spcAft>
            </a:pPr>
            <a:r>
              <a:rPr lang="en-US" sz="2000" b="1" dirty="0">
                <a:solidFill>
                  <a:schemeClr val="bg1">
                    <a:lumMod val="50000"/>
                  </a:schemeClr>
                </a:solidFill>
              </a:rPr>
              <a:t>Analytics services </a:t>
            </a:r>
          </a:p>
        </p:txBody>
      </p:sp>
      <p:sp>
        <p:nvSpPr>
          <p:cNvPr id="8" name="Rectangle 7">
            <a:extLst>
              <a:ext uri="{FF2B5EF4-FFF2-40B4-BE49-F238E27FC236}">
                <a16:creationId xmlns:a16="http://schemas.microsoft.com/office/drawing/2014/main" id="{235B1C01-408D-48DD-9D11-BED6213DD63A}"/>
              </a:ext>
            </a:extLst>
          </p:cNvPr>
          <p:cNvSpPr>
            <a:spLocks/>
          </p:cNvSpPr>
          <p:nvPr/>
        </p:nvSpPr>
        <p:spPr>
          <a:xfrm>
            <a:off x="5731516" y="1541444"/>
            <a:ext cx="4878557" cy="984885"/>
          </a:xfrm>
          <a:prstGeom prst="rect">
            <a:avLst/>
          </a:prstGeom>
          <a:gradFill flip="none" rotWithShape="1">
            <a:gsLst>
              <a:gs pos="0">
                <a:schemeClr val="bg1">
                  <a:alpha val="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noAutofit/>
          </a:bodyPr>
          <a:lstStyle/>
          <a:p>
            <a:pPr lvl="0"/>
            <a:r>
              <a:rPr lang="en-US" sz="2000" b="1" dirty="0">
                <a:solidFill>
                  <a:schemeClr val="accent2"/>
                </a:solidFill>
              </a:rPr>
              <a:t>APP </a:t>
            </a:r>
            <a:r>
              <a:rPr lang="nl-NL" sz="2000" b="1" dirty="0">
                <a:solidFill>
                  <a:schemeClr val="accent2"/>
                </a:solidFill>
              </a:rPr>
              <a:t>Developer Services</a:t>
            </a:r>
          </a:p>
        </p:txBody>
      </p:sp>
      <p:sp>
        <p:nvSpPr>
          <p:cNvPr id="9" name="Freeform 26">
            <a:extLst>
              <a:ext uri="{FF2B5EF4-FFF2-40B4-BE49-F238E27FC236}">
                <a16:creationId xmlns:a16="http://schemas.microsoft.com/office/drawing/2014/main" id="{23050342-D9CD-4AAB-98AB-FBAF4A944986}"/>
              </a:ext>
            </a:extLst>
          </p:cNvPr>
          <p:cNvSpPr>
            <a:spLocks/>
          </p:cNvSpPr>
          <p:nvPr/>
        </p:nvSpPr>
        <p:spPr bwMode="auto">
          <a:xfrm>
            <a:off x="4451569" y="5070018"/>
            <a:ext cx="1190496" cy="1115893"/>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chemeClr val="bg1">
              <a:lumMod val="50000"/>
            </a:schemeClr>
          </a:solidFill>
          <a:ln>
            <a:noFill/>
          </a:ln>
        </p:spPr>
        <p:txBody>
          <a:bodyPr vert="horz" wrap="square" lIns="91440" tIns="45720" rIns="91440" bIns="45720" numCol="1" anchor="ctr" anchorCtr="0" compatLnSpc="1">
            <a:prstTxWarp prst="textNoShape">
              <a:avLst/>
            </a:prstTxWarp>
          </a:bodyPr>
          <a:lstStyle/>
          <a:p>
            <a:pPr algn="ctr"/>
            <a:r>
              <a:rPr lang="pt-PT" sz="3600" b="1" dirty="0">
                <a:solidFill>
                  <a:schemeClr val="bg1"/>
                </a:solidFill>
              </a:rPr>
              <a:t>3</a:t>
            </a:r>
          </a:p>
        </p:txBody>
      </p:sp>
      <p:sp>
        <p:nvSpPr>
          <p:cNvPr id="10" name="Freeform 31">
            <a:extLst>
              <a:ext uri="{FF2B5EF4-FFF2-40B4-BE49-F238E27FC236}">
                <a16:creationId xmlns:a16="http://schemas.microsoft.com/office/drawing/2014/main" id="{348D00C2-1825-48FC-8AA4-87447694B69F}"/>
              </a:ext>
            </a:extLst>
          </p:cNvPr>
          <p:cNvSpPr>
            <a:spLocks/>
          </p:cNvSpPr>
          <p:nvPr/>
        </p:nvSpPr>
        <p:spPr bwMode="auto">
          <a:xfrm>
            <a:off x="4438498" y="3261560"/>
            <a:ext cx="1216639" cy="1137362"/>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pt-PT" sz="3600" b="1" dirty="0">
                <a:solidFill>
                  <a:schemeClr val="bg1"/>
                </a:solidFill>
              </a:rPr>
              <a:t>2</a:t>
            </a:r>
          </a:p>
        </p:txBody>
      </p:sp>
      <p:sp>
        <p:nvSpPr>
          <p:cNvPr id="11" name="Freeform 20">
            <a:extLst>
              <a:ext uri="{FF2B5EF4-FFF2-40B4-BE49-F238E27FC236}">
                <a16:creationId xmlns:a16="http://schemas.microsoft.com/office/drawing/2014/main" id="{36831C1F-4A2E-4DC2-A32C-479F60CC6E57}"/>
              </a:ext>
            </a:extLst>
          </p:cNvPr>
          <p:cNvSpPr>
            <a:spLocks/>
          </p:cNvSpPr>
          <p:nvPr/>
        </p:nvSpPr>
        <p:spPr bwMode="auto">
          <a:xfrm>
            <a:off x="4451569" y="1477309"/>
            <a:ext cx="1190496" cy="11131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r>
              <a:rPr lang="pt-PT" sz="3600" b="1" dirty="0">
                <a:solidFill>
                  <a:schemeClr val="bg1"/>
                </a:solidFill>
              </a:rPr>
              <a:t>1</a:t>
            </a:r>
          </a:p>
        </p:txBody>
      </p:sp>
    </p:spTree>
    <p:extLst>
      <p:ext uri="{BB962C8B-B14F-4D97-AF65-F5344CB8AC3E}">
        <p14:creationId xmlns:p14="http://schemas.microsoft.com/office/powerpoint/2010/main" val="599345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18">
            <a:extLst>
              <a:ext uri="{FF2B5EF4-FFF2-40B4-BE49-F238E27FC236}">
                <a16:creationId xmlns:a16="http://schemas.microsoft.com/office/drawing/2014/main" id="{56953C94-89C5-4E90-BB4F-70B33728744E}"/>
              </a:ext>
            </a:extLst>
          </p:cNvPr>
          <p:cNvSpPr>
            <a:spLocks noGrp="1"/>
          </p:cNvSpPr>
          <p:nvPr>
            <p:ph type="title"/>
          </p:nvPr>
        </p:nvSpPr>
        <p:spPr>
          <a:xfrm>
            <a:off x="442913" y="25400"/>
            <a:ext cx="8577797" cy="822325"/>
          </a:xfrm>
          <a:prstGeom prst="rect">
            <a:avLst/>
          </a:prstGeom>
          <a:gradFill flip="none" rotWithShape="1">
            <a:gsLst>
              <a:gs pos="0">
                <a:schemeClr val="bg1">
                  <a:alpha val="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noAutofit/>
          </a:bodyPr>
          <a:lstStyle/>
          <a:p>
            <a:pPr lvl="0"/>
            <a:r>
              <a:rPr lang="en-US" sz="2000" b="1" dirty="0">
                <a:solidFill>
                  <a:schemeClr val="bg1"/>
                </a:solidFill>
              </a:rPr>
              <a:t>APP </a:t>
            </a:r>
            <a:r>
              <a:rPr lang="nl-NL" sz="2000" b="1" dirty="0">
                <a:solidFill>
                  <a:schemeClr val="bg1"/>
                </a:solidFill>
              </a:rPr>
              <a:t>Developer Services</a:t>
            </a:r>
          </a:p>
        </p:txBody>
      </p:sp>
      <p:sp>
        <p:nvSpPr>
          <p:cNvPr id="3" name="Rounded Rectangle 11">
            <a:extLst>
              <a:ext uri="{FF2B5EF4-FFF2-40B4-BE49-F238E27FC236}">
                <a16:creationId xmlns:a16="http://schemas.microsoft.com/office/drawing/2014/main" id="{F42D918F-DB96-4A65-B2F0-BB35C59FFC4D}"/>
              </a:ext>
            </a:extLst>
          </p:cNvPr>
          <p:cNvSpPr/>
          <p:nvPr/>
        </p:nvSpPr>
        <p:spPr>
          <a:xfrm>
            <a:off x="3887565" y="1230870"/>
            <a:ext cx="7187041" cy="779023"/>
          </a:xfrm>
          <a:prstGeom prst="round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r>
              <a:rPr lang="en-IN" sz="1600" dirty="0">
                <a:solidFill>
                  <a:schemeClr val="tx1"/>
                </a:solidFill>
              </a:rPr>
              <a:t>Developer Portal &amp; Documentation </a:t>
            </a:r>
          </a:p>
        </p:txBody>
      </p:sp>
      <p:sp>
        <p:nvSpPr>
          <p:cNvPr id="5" name="Freeform 20">
            <a:extLst>
              <a:ext uri="{FF2B5EF4-FFF2-40B4-BE49-F238E27FC236}">
                <a16:creationId xmlns:a16="http://schemas.microsoft.com/office/drawing/2014/main" id="{EE9C17CC-26C7-4022-9AA7-FB83D571E5B0}"/>
              </a:ext>
            </a:extLst>
          </p:cNvPr>
          <p:cNvSpPr>
            <a:spLocks noEditPoints="1"/>
          </p:cNvSpPr>
          <p:nvPr/>
        </p:nvSpPr>
        <p:spPr bwMode="auto">
          <a:xfrm rot="19589649">
            <a:off x="3281991" y="1314176"/>
            <a:ext cx="805083" cy="836109"/>
          </a:xfrm>
          <a:custGeom>
            <a:avLst/>
            <a:gdLst>
              <a:gd name="T0" fmla="*/ 158 w 361"/>
              <a:gd name="T1" fmla="*/ 13 h 361"/>
              <a:gd name="T2" fmla="*/ 12 w 361"/>
              <a:gd name="T3" fmla="*/ 203 h 361"/>
              <a:gd name="T4" fmla="*/ 203 w 361"/>
              <a:gd name="T5" fmla="*/ 349 h 361"/>
              <a:gd name="T6" fmla="*/ 348 w 361"/>
              <a:gd name="T7" fmla="*/ 158 h 361"/>
              <a:gd name="T8" fmla="*/ 158 w 361"/>
              <a:gd name="T9" fmla="*/ 13 h 361"/>
              <a:gd name="T10" fmla="*/ 199 w 361"/>
              <a:gd name="T11" fmla="*/ 317 h 361"/>
              <a:gd name="T12" fmla="*/ 44 w 361"/>
              <a:gd name="T13" fmla="*/ 199 h 361"/>
              <a:gd name="T14" fmla="*/ 162 w 361"/>
              <a:gd name="T15" fmla="*/ 45 h 361"/>
              <a:gd name="T16" fmla="*/ 316 w 361"/>
              <a:gd name="T17" fmla="*/ 162 h 361"/>
              <a:gd name="T18" fmla="*/ 199 w 361"/>
              <a:gd name="T19" fmla="*/ 317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361">
                <a:moveTo>
                  <a:pt x="158" y="13"/>
                </a:moveTo>
                <a:cubicBezTo>
                  <a:pt x="65" y="25"/>
                  <a:pt x="0" y="111"/>
                  <a:pt x="12" y="203"/>
                </a:cubicBezTo>
                <a:cubicBezTo>
                  <a:pt x="25" y="296"/>
                  <a:pt x="110" y="361"/>
                  <a:pt x="203" y="349"/>
                </a:cubicBezTo>
                <a:cubicBezTo>
                  <a:pt x="296" y="336"/>
                  <a:pt x="361" y="251"/>
                  <a:pt x="348" y="158"/>
                </a:cubicBezTo>
                <a:cubicBezTo>
                  <a:pt x="336" y="65"/>
                  <a:pt x="250" y="0"/>
                  <a:pt x="158" y="13"/>
                </a:cubicBezTo>
                <a:close/>
                <a:moveTo>
                  <a:pt x="199" y="317"/>
                </a:moveTo>
                <a:cubicBezTo>
                  <a:pt x="123" y="327"/>
                  <a:pt x="54" y="274"/>
                  <a:pt x="44" y="199"/>
                </a:cubicBezTo>
                <a:cubicBezTo>
                  <a:pt x="34" y="124"/>
                  <a:pt x="87" y="55"/>
                  <a:pt x="162" y="45"/>
                </a:cubicBezTo>
                <a:cubicBezTo>
                  <a:pt x="237" y="35"/>
                  <a:pt x="306" y="87"/>
                  <a:pt x="316" y="162"/>
                </a:cubicBezTo>
                <a:cubicBezTo>
                  <a:pt x="326" y="237"/>
                  <a:pt x="274" y="307"/>
                  <a:pt x="199" y="317"/>
                </a:cubicBezTo>
                <a:close/>
              </a:path>
            </a:pathLst>
          </a:custGeom>
          <a:solidFill>
            <a:srgbClr val="998C85">
              <a:lumMod val="20000"/>
              <a:lumOff val="80000"/>
            </a:srgbClr>
          </a:solidFill>
          <a:ln w="6350">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6" name="Freeform 21">
            <a:extLst>
              <a:ext uri="{FF2B5EF4-FFF2-40B4-BE49-F238E27FC236}">
                <a16:creationId xmlns:a16="http://schemas.microsoft.com/office/drawing/2014/main" id="{706D44DA-CC2C-4E00-9A20-CC2FC0626A9E}"/>
              </a:ext>
            </a:extLst>
          </p:cNvPr>
          <p:cNvSpPr>
            <a:spLocks/>
          </p:cNvSpPr>
          <p:nvPr/>
        </p:nvSpPr>
        <p:spPr bwMode="auto">
          <a:xfrm rot="19589649">
            <a:off x="3359036" y="1364482"/>
            <a:ext cx="650458" cy="677463"/>
          </a:xfrm>
          <a:custGeom>
            <a:avLst/>
            <a:gdLst>
              <a:gd name="T0" fmla="*/ 10 w 292"/>
              <a:gd name="T1" fmla="*/ 164 h 292"/>
              <a:gd name="T2" fmla="*/ 128 w 292"/>
              <a:gd name="T3" fmla="*/ 10 h 292"/>
              <a:gd name="T4" fmla="*/ 282 w 292"/>
              <a:gd name="T5" fmla="*/ 127 h 292"/>
              <a:gd name="T6" fmla="*/ 165 w 292"/>
              <a:gd name="T7" fmla="*/ 282 h 292"/>
              <a:gd name="T8" fmla="*/ 10 w 292"/>
              <a:gd name="T9" fmla="*/ 164 h 292"/>
            </a:gdLst>
            <a:ahLst/>
            <a:cxnLst>
              <a:cxn ang="0">
                <a:pos x="T0" y="T1"/>
              </a:cxn>
              <a:cxn ang="0">
                <a:pos x="T2" y="T3"/>
              </a:cxn>
              <a:cxn ang="0">
                <a:pos x="T4" y="T5"/>
              </a:cxn>
              <a:cxn ang="0">
                <a:pos x="T6" y="T7"/>
              </a:cxn>
              <a:cxn ang="0">
                <a:pos x="T8" y="T9"/>
              </a:cxn>
            </a:cxnLst>
            <a:rect l="0" t="0" r="r" b="b"/>
            <a:pathLst>
              <a:path w="292" h="292">
                <a:moveTo>
                  <a:pt x="10" y="164"/>
                </a:moveTo>
                <a:cubicBezTo>
                  <a:pt x="0" y="89"/>
                  <a:pt x="53" y="20"/>
                  <a:pt x="128" y="10"/>
                </a:cubicBezTo>
                <a:cubicBezTo>
                  <a:pt x="203" y="0"/>
                  <a:pt x="272" y="52"/>
                  <a:pt x="282" y="127"/>
                </a:cubicBezTo>
                <a:cubicBezTo>
                  <a:pt x="292" y="202"/>
                  <a:pt x="240" y="272"/>
                  <a:pt x="165" y="282"/>
                </a:cubicBezTo>
                <a:cubicBezTo>
                  <a:pt x="89" y="292"/>
                  <a:pt x="20" y="239"/>
                  <a:pt x="10" y="16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957756"/>
            <a:endParaRPr lang="fr-FR" sz="1400" kern="0" dirty="0">
              <a:solidFill>
                <a:srgbClr val="263147"/>
              </a:solidFill>
              <a:latin typeface="Verdana"/>
            </a:endParaRPr>
          </a:p>
        </p:txBody>
      </p:sp>
      <p:sp>
        <p:nvSpPr>
          <p:cNvPr id="7" name="Freeform 22">
            <a:extLst>
              <a:ext uri="{FF2B5EF4-FFF2-40B4-BE49-F238E27FC236}">
                <a16:creationId xmlns:a16="http://schemas.microsoft.com/office/drawing/2014/main" id="{0141C309-A789-456C-A4AA-C82CE4EC7415}"/>
              </a:ext>
            </a:extLst>
          </p:cNvPr>
          <p:cNvSpPr>
            <a:spLocks/>
          </p:cNvSpPr>
          <p:nvPr/>
        </p:nvSpPr>
        <p:spPr bwMode="auto">
          <a:xfrm rot="19589649">
            <a:off x="3352317" y="1411837"/>
            <a:ext cx="531911" cy="598141"/>
          </a:xfrm>
          <a:custGeom>
            <a:avLst/>
            <a:gdLst>
              <a:gd name="T0" fmla="*/ 30 w 239"/>
              <a:gd name="T1" fmla="*/ 175 h 258"/>
              <a:gd name="T2" fmla="*/ 148 w 239"/>
              <a:gd name="T3" fmla="*/ 21 h 258"/>
              <a:gd name="T4" fmla="*/ 239 w 239"/>
              <a:gd name="T5" fmla="*/ 41 h 258"/>
              <a:gd name="T6" fmla="*/ 128 w 239"/>
              <a:gd name="T7" fmla="*/ 6 h 258"/>
              <a:gd name="T8" fmla="*/ 10 w 239"/>
              <a:gd name="T9" fmla="*/ 160 h 258"/>
              <a:gd name="T10" fmla="*/ 73 w 239"/>
              <a:gd name="T11" fmla="*/ 258 h 258"/>
              <a:gd name="T12" fmla="*/ 30 w 239"/>
              <a:gd name="T13" fmla="*/ 175 h 258"/>
            </a:gdLst>
            <a:ahLst/>
            <a:cxnLst>
              <a:cxn ang="0">
                <a:pos x="T0" y="T1"/>
              </a:cxn>
              <a:cxn ang="0">
                <a:pos x="T2" y="T3"/>
              </a:cxn>
              <a:cxn ang="0">
                <a:pos x="T4" y="T5"/>
              </a:cxn>
              <a:cxn ang="0">
                <a:pos x="T6" y="T7"/>
              </a:cxn>
              <a:cxn ang="0">
                <a:pos x="T8" y="T9"/>
              </a:cxn>
              <a:cxn ang="0">
                <a:pos x="T10" y="T11"/>
              </a:cxn>
              <a:cxn ang="0">
                <a:pos x="T12" y="T13"/>
              </a:cxn>
            </a:cxnLst>
            <a:rect l="0" t="0" r="r" b="b"/>
            <a:pathLst>
              <a:path w="239" h="258">
                <a:moveTo>
                  <a:pt x="30" y="175"/>
                </a:moveTo>
                <a:cubicBezTo>
                  <a:pt x="20" y="100"/>
                  <a:pt x="72" y="31"/>
                  <a:pt x="148" y="21"/>
                </a:cubicBezTo>
                <a:cubicBezTo>
                  <a:pt x="181" y="16"/>
                  <a:pt x="213" y="24"/>
                  <a:pt x="239" y="41"/>
                </a:cubicBezTo>
                <a:cubicBezTo>
                  <a:pt x="210" y="14"/>
                  <a:pt x="170" y="0"/>
                  <a:pt x="128" y="6"/>
                </a:cubicBezTo>
                <a:cubicBezTo>
                  <a:pt x="53" y="16"/>
                  <a:pt x="0" y="85"/>
                  <a:pt x="10" y="160"/>
                </a:cubicBezTo>
                <a:cubicBezTo>
                  <a:pt x="16" y="202"/>
                  <a:pt x="40" y="237"/>
                  <a:pt x="73" y="258"/>
                </a:cubicBezTo>
                <a:cubicBezTo>
                  <a:pt x="50" y="237"/>
                  <a:pt x="34" y="208"/>
                  <a:pt x="30" y="175"/>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957756"/>
            <a:endParaRPr lang="fr-FR" sz="1400" kern="0" dirty="0">
              <a:solidFill>
                <a:srgbClr val="263147"/>
              </a:solidFill>
              <a:latin typeface="Verdana"/>
            </a:endParaRPr>
          </a:p>
        </p:txBody>
      </p:sp>
      <p:sp>
        <p:nvSpPr>
          <p:cNvPr id="8" name="Freeform 24">
            <a:extLst>
              <a:ext uri="{FF2B5EF4-FFF2-40B4-BE49-F238E27FC236}">
                <a16:creationId xmlns:a16="http://schemas.microsoft.com/office/drawing/2014/main" id="{2F7E9149-EB1A-4227-AD55-0F4882091F9C}"/>
              </a:ext>
            </a:extLst>
          </p:cNvPr>
          <p:cNvSpPr>
            <a:spLocks/>
          </p:cNvSpPr>
          <p:nvPr/>
        </p:nvSpPr>
        <p:spPr bwMode="auto">
          <a:xfrm rot="19589649">
            <a:off x="3425928" y="1254472"/>
            <a:ext cx="789619" cy="867196"/>
          </a:xfrm>
          <a:custGeom>
            <a:avLst/>
            <a:gdLst>
              <a:gd name="T0" fmla="*/ 318 w 354"/>
              <a:gd name="T1" fmla="*/ 113 h 374"/>
              <a:gd name="T2" fmla="*/ 318 w 354"/>
              <a:gd name="T3" fmla="*/ 114 h 374"/>
              <a:gd name="T4" fmla="*/ 318 w 354"/>
              <a:gd name="T5" fmla="*/ 114 h 374"/>
              <a:gd name="T6" fmla="*/ 319 w 354"/>
              <a:gd name="T7" fmla="*/ 116 h 374"/>
              <a:gd name="T8" fmla="*/ 319 w 354"/>
              <a:gd name="T9" fmla="*/ 117 h 374"/>
              <a:gd name="T10" fmla="*/ 319 w 354"/>
              <a:gd name="T11" fmla="*/ 117 h 374"/>
              <a:gd name="T12" fmla="*/ 319 w 354"/>
              <a:gd name="T13" fmla="*/ 118 h 374"/>
              <a:gd name="T14" fmla="*/ 319 w 354"/>
              <a:gd name="T15" fmla="*/ 118 h 374"/>
              <a:gd name="T16" fmla="*/ 319 w 354"/>
              <a:gd name="T17" fmla="*/ 119 h 374"/>
              <a:gd name="T18" fmla="*/ 319 w 354"/>
              <a:gd name="T19" fmla="*/ 120 h 374"/>
              <a:gd name="T20" fmla="*/ 319 w 354"/>
              <a:gd name="T21" fmla="*/ 120 h 374"/>
              <a:gd name="T22" fmla="*/ 320 w 354"/>
              <a:gd name="T23" fmla="*/ 121 h 374"/>
              <a:gd name="T24" fmla="*/ 320 w 354"/>
              <a:gd name="T25" fmla="*/ 121 h 374"/>
              <a:gd name="T26" fmla="*/ 320 w 354"/>
              <a:gd name="T27" fmla="*/ 122 h 374"/>
              <a:gd name="T28" fmla="*/ 320 w 354"/>
              <a:gd name="T29" fmla="*/ 122 h 374"/>
              <a:gd name="T30" fmla="*/ 320 w 354"/>
              <a:gd name="T31" fmla="*/ 123 h 374"/>
              <a:gd name="T32" fmla="*/ 320 w 354"/>
              <a:gd name="T33" fmla="*/ 123 h 374"/>
              <a:gd name="T34" fmla="*/ 320 w 354"/>
              <a:gd name="T35" fmla="*/ 124 h 374"/>
              <a:gd name="T36" fmla="*/ 320 w 354"/>
              <a:gd name="T37" fmla="*/ 124 h 374"/>
              <a:gd name="T38" fmla="*/ 320 w 354"/>
              <a:gd name="T39" fmla="*/ 125 h 374"/>
              <a:gd name="T40" fmla="*/ 320 w 354"/>
              <a:gd name="T41" fmla="*/ 125 h 374"/>
              <a:gd name="T42" fmla="*/ 320 w 354"/>
              <a:gd name="T43" fmla="*/ 125 h 374"/>
              <a:gd name="T44" fmla="*/ 321 w 354"/>
              <a:gd name="T45" fmla="*/ 126 h 374"/>
              <a:gd name="T46" fmla="*/ 321 w 354"/>
              <a:gd name="T47" fmla="*/ 126 h 374"/>
              <a:gd name="T48" fmla="*/ 321 w 354"/>
              <a:gd name="T49" fmla="*/ 127 h 374"/>
              <a:gd name="T50" fmla="*/ 321 w 354"/>
              <a:gd name="T51" fmla="*/ 127 h 374"/>
              <a:gd name="T52" fmla="*/ 321 w 354"/>
              <a:gd name="T53" fmla="*/ 128 h 374"/>
              <a:gd name="T54" fmla="*/ 321 w 354"/>
              <a:gd name="T55" fmla="*/ 128 h 374"/>
              <a:gd name="T56" fmla="*/ 321 w 354"/>
              <a:gd name="T57" fmla="*/ 129 h 374"/>
              <a:gd name="T58" fmla="*/ 321 w 354"/>
              <a:gd name="T59" fmla="*/ 130 h 374"/>
              <a:gd name="T60" fmla="*/ 321 w 354"/>
              <a:gd name="T61" fmla="*/ 130 h 374"/>
              <a:gd name="T62" fmla="*/ 321 w 354"/>
              <a:gd name="T63" fmla="*/ 131 h 374"/>
              <a:gd name="T64" fmla="*/ 321 w 354"/>
              <a:gd name="T65" fmla="*/ 131 h 374"/>
              <a:gd name="T66" fmla="*/ 321 w 354"/>
              <a:gd name="T67" fmla="*/ 132 h 374"/>
              <a:gd name="T68" fmla="*/ 321 w 354"/>
              <a:gd name="T69" fmla="*/ 132 h 374"/>
              <a:gd name="T70" fmla="*/ 322 w 354"/>
              <a:gd name="T71" fmla="*/ 132 h 374"/>
              <a:gd name="T72" fmla="*/ 323 w 354"/>
              <a:gd name="T73" fmla="*/ 160 h 374"/>
              <a:gd name="T74" fmla="*/ 93 w 354"/>
              <a:gd name="T75" fmla="*/ 359 h 374"/>
              <a:gd name="T76" fmla="*/ 93 w 354"/>
              <a:gd name="T77" fmla="*/ 359 h 374"/>
              <a:gd name="T78" fmla="*/ 92 w 354"/>
              <a:gd name="T79" fmla="*/ 359 h 374"/>
              <a:gd name="T80" fmla="*/ 92 w 354"/>
              <a:gd name="T81" fmla="*/ 359 h 374"/>
              <a:gd name="T82" fmla="*/ 91 w 354"/>
              <a:gd name="T83" fmla="*/ 359 h 374"/>
              <a:gd name="T84" fmla="*/ 0 w 354"/>
              <a:gd name="T85" fmla="*/ 320 h 374"/>
              <a:gd name="T86" fmla="*/ 339 w 354"/>
              <a:gd name="T87" fmla="*/ 14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4" h="374">
                <a:moveTo>
                  <a:pt x="244" y="0"/>
                </a:moveTo>
                <a:cubicBezTo>
                  <a:pt x="280" y="27"/>
                  <a:pt x="307" y="67"/>
                  <a:pt x="318" y="113"/>
                </a:cubicBezTo>
                <a:cubicBezTo>
                  <a:pt x="318" y="113"/>
                  <a:pt x="318" y="113"/>
                  <a:pt x="318" y="113"/>
                </a:cubicBezTo>
                <a:cubicBezTo>
                  <a:pt x="318" y="113"/>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5"/>
                  <a:pt x="318" y="116"/>
                  <a:pt x="319" y="116"/>
                </a:cubicBezTo>
                <a:cubicBezTo>
                  <a:pt x="319" y="116"/>
                  <a:pt x="319" y="116"/>
                  <a:pt x="319" y="116"/>
                </a:cubicBezTo>
                <a:cubicBezTo>
                  <a:pt x="319" y="116"/>
                  <a:pt x="319" y="116"/>
                  <a:pt x="319" y="116"/>
                </a:cubicBezTo>
                <a:cubicBezTo>
                  <a:pt x="319" y="116"/>
                  <a:pt x="319" y="116"/>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9"/>
                  <a:pt x="319" y="119"/>
                  <a:pt x="319" y="119"/>
                </a:cubicBezTo>
                <a:cubicBezTo>
                  <a:pt x="319" y="119"/>
                  <a:pt x="319" y="119"/>
                  <a:pt x="319" y="119"/>
                </a:cubicBezTo>
                <a:cubicBezTo>
                  <a:pt x="319" y="119"/>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20" y="120"/>
                  <a:pt x="320" y="120"/>
                </a:cubicBezTo>
                <a:cubicBezTo>
                  <a:pt x="320" y="120"/>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6"/>
                  <a:pt x="320" y="126"/>
                  <a:pt x="320" y="126"/>
                </a:cubicBezTo>
                <a:cubicBezTo>
                  <a:pt x="320" y="126"/>
                  <a:pt x="320" y="126"/>
                  <a:pt x="320" y="126"/>
                </a:cubicBezTo>
                <a:cubicBezTo>
                  <a:pt x="321" y="126"/>
                  <a:pt x="321" y="126"/>
                  <a:pt x="321" y="126"/>
                </a:cubicBezTo>
                <a:cubicBezTo>
                  <a:pt x="321" y="126"/>
                  <a:pt x="321" y="126"/>
                  <a:pt x="321" y="126"/>
                </a:cubicBezTo>
                <a:cubicBezTo>
                  <a:pt x="321" y="126"/>
                  <a:pt x="321" y="126"/>
                  <a:pt x="321" y="126"/>
                </a:cubicBezTo>
                <a:cubicBezTo>
                  <a:pt x="321" y="126"/>
                  <a:pt x="321" y="126"/>
                  <a:pt x="321" y="126"/>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9"/>
                </a:cubicBezTo>
                <a:cubicBezTo>
                  <a:pt x="321" y="129"/>
                  <a:pt x="321" y="129"/>
                  <a:pt x="321" y="129"/>
                </a:cubicBezTo>
                <a:cubicBezTo>
                  <a:pt x="321" y="129"/>
                  <a:pt x="321" y="129"/>
                  <a:pt x="321" y="129"/>
                </a:cubicBezTo>
                <a:cubicBezTo>
                  <a:pt x="321" y="129"/>
                  <a:pt x="321" y="129"/>
                  <a:pt x="321" y="129"/>
                </a:cubicBezTo>
                <a:cubicBezTo>
                  <a:pt x="321" y="129"/>
                  <a:pt x="321" y="129"/>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2"/>
                  <a:pt x="321" y="132"/>
                </a:cubicBezTo>
                <a:cubicBezTo>
                  <a:pt x="321" y="132"/>
                  <a:pt x="321" y="132"/>
                  <a:pt x="321" y="132"/>
                </a:cubicBezTo>
                <a:cubicBezTo>
                  <a:pt x="321" y="132"/>
                  <a:pt x="321" y="132"/>
                  <a:pt x="321" y="132"/>
                </a:cubicBezTo>
                <a:cubicBezTo>
                  <a:pt x="321" y="132"/>
                  <a:pt x="321" y="132"/>
                  <a:pt x="321" y="132"/>
                </a:cubicBezTo>
                <a:cubicBezTo>
                  <a:pt x="321" y="132"/>
                  <a:pt x="321" y="132"/>
                  <a:pt x="321" y="132"/>
                </a:cubicBezTo>
                <a:cubicBezTo>
                  <a:pt x="321" y="132"/>
                  <a:pt x="322" y="132"/>
                  <a:pt x="322" y="132"/>
                </a:cubicBezTo>
                <a:cubicBezTo>
                  <a:pt x="322" y="132"/>
                  <a:pt x="322" y="132"/>
                  <a:pt x="322" y="132"/>
                </a:cubicBezTo>
                <a:cubicBezTo>
                  <a:pt x="322" y="133"/>
                  <a:pt x="322" y="133"/>
                  <a:pt x="322" y="133"/>
                </a:cubicBezTo>
                <a:cubicBezTo>
                  <a:pt x="322" y="133"/>
                  <a:pt x="322" y="133"/>
                  <a:pt x="322" y="133"/>
                </a:cubicBezTo>
                <a:cubicBezTo>
                  <a:pt x="323" y="142"/>
                  <a:pt x="323" y="151"/>
                  <a:pt x="323" y="160"/>
                </a:cubicBezTo>
                <a:cubicBezTo>
                  <a:pt x="323" y="259"/>
                  <a:pt x="250" y="345"/>
                  <a:pt x="149" y="359"/>
                </a:cubicBezTo>
                <a:cubicBezTo>
                  <a:pt x="140" y="360"/>
                  <a:pt x="131" y="361"/>
                  <a:pt x="122" y="361"/>
                </a:cubicBezTo>
                <a:cubicBezTo>
                  <a:pt x="112" y="361"/>
                  <a:pt x="102" y="360"/>
                  <a:pt x="93" y="359"/>
                </a:cubicBezTo>
                <a:cubicBezTo>
                  <a:pt x="93" y="359"/>
                  <a:pt x="93" y="359"/>
                  <a:pt x="93" y="359"/>
                </a:cubicBezTo>
                <a:cubicBezTo>
                  <a:pt x="93" y="359"/>
                  <a:pt x="93" y="359"/>
                  <a:pt x="93" y="359"/>
                </a:cubicBezTo>
                <a:cubicBezTo>
                  <a:pt x="93" y="359"/>
                  <a:pt x="93" y="359"/>
                  <a:pt x="93"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1" y="359"/>
                  <a:pt x="91" y="359"/>
                </a:cubicBezTo>
                <a:cubicBezTo>
                  <a:pt x="91" y="359"/>
                  <a:pt x="91" y="359"/>
                  <a:pt x="91" y="359"/>
                </a:cubicBezTo>
                <a:cubicBezTo>
                  <a:pt x="91" y="359"/>
                  <a:pt x="91" y="359"/>
                  <a:pt x="91" y="359"/>
                </a:cubicBezTo>
                <a:cubicBezTo>
                  <a:pt x="91" y="359"/>
                  <a:pt x="91" y="359"/>
                  <a:pt x="91" y="359"/>
                </a:cubicBezTo>
                <a:cubicBezTo>
                  <a:pt x="58" y="353"/>
                  <a:pt x="27" y="340"/>
                  <a:pt x="0" y="320"/>
                </a:cubicBezTo>
                <a:cubicBezTo>
                  <a:pt x="37" y="354"/>
                  <a:pt x="86" y="374"/>
                  <a:pt x="138" y="374"/>
                </a:cubicBezTo>
                <a:cubicBezTo>
                  <a:pt x="147" y="374"/>
                  <a:pt x="156" y="374"/>
                  <a:pt x="165" y="372"/>
                </a:cubicBezTo>
                <a:cubicBezTo>
                  <a:pt x="276" y="357"/>
                  <a:pt x="354" y="256"/>
                  <a:pt x="339" y="145"/>
                </a:cubicBezTo>
                <a:cubicBezTo>
                  <a:pt x="330" y="82"/>
                  <a:pt x="294" y="30"/>
                  <a:pt x="244" y="0"/>
                </a:cubicBezTo>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9" name="Freeform 25">
            <a:extLst>
              <a:ext uri="{FF2B5EF4-FFF2-40B4-BE49-F238E27FC236}">
                <a16:creationId xmlns:a16="http://schemas.microsoft.com/office/drawing/2014/main" id="{698BA425-019E-47A9-AF62-1AD397075E70}"/>
              </a:ext>
            </a:extLst>
          </p:cNvPr>
          <p:cNvSpPr>
            <a:spLocks noEditPoints="1"/>
          </p:cNvSpPr>
          <p:nvPr/>
        </p:nvSpPr>
        <p:spPr bwMode="auto">
          <a:xfrm rot="19589649">
            <a:off x="3681774" y="1459799"/>
            <a:ext cx="517479" cy="575630"/>
          </a:xfrm>
          <a:custGeom>
            <a:avLst/>
            <a:gdLst>
              <a:gd name="T0" fmla="*/ 2 w 232"/>
              <a:gd name="T1" fmla="*/ 246 h 248"/>
              <a:gd name="T2" fmla="*/ 1 w 232"/>
              <a:gd name="T3" fmla="*/ 246 h 248"/>
              <a:gd name="T4" fmla="*/ 1 w 232"/>
              <a:gd name="T5" fmla="*/ 246 h 248"/>
              <a:gd name="T6" fmla="*/ 1 w 232"/>
              <a:gd name="T7" fmla="*/ 246 h 248"/>
              <a:gd name="T8" fmla="*/ 1 w 232"/>
              <a:gd name="T9" fmla="*/ 246 h 248"/>
              <a:gd name="T10" fmla="*/ 0 w 232"/>
              <a:gd name="T11" fmla="*/ 246 h 248"/>
              <a:gd name="T12" fmla="*/ 0 w 232"/>
              <a:gd name="T13" fmla="*/ 246 h 248"/>
              <a:gd name="T14" fmla="*/ 31 w 232"/>
              <a:gd name="T15" fmla="*/ 248 h 248"/>
              <a:gd name="T16" fmla="*/ 58 w 232"/>
              <a:gd name="T17" fmla="*/ 246 h 248"/>
              <a:gd name="T18" fmla="*/ 231 w 232"/>
              <a:gd name="T19" fmla="*/ 20 h 248"/>
              <a:gd name="T20" fmla="*/ 231 w 232"/>
              <a:gd name="T21" fmla="*/ 19 h 248"/>
              <a:gd name="T22" fmla="*/ 230 w 232"/>
              <a:gd name="T23" fmla="*/ 19 h 248"/>
              <a:gd name="T24" fmla="*/ 230 w 232"/>
              <a:gd name="T25" fmla="*/ 19 h 248"/>
              <a:gd name="T26" fmla="*/ 230 w 232"/>
              <a:gd name="T27" fmla="*/ 18 h 248"/>
              <a:gd name="T28" fmla="*/ 230 w 232"/>
              <a:gd name="T29" fmla="*/ 18 h 248"/>
              <a:gd name="T30" fmla="*/ 230 w 232"/>
              <a:gd name="T31" fmla="*/ 18 h 248"/>
              <a:gd name="T32" fmla="*/ 230 w 232"/>
              <a:gd name="T33" fmla="*/ 17 h 248"/>
              <a:gd name="T34" fmla="*/ 230 w 232"/>
              <a:gd name="T35" fmla="*/ 17 h 248"/>
              <a:gd name="T36" fmla="*/ 230 w 232"/>
              <a:gd name="T37" fmla="*/ 17 h 248"/>
              <a:gd name="T38" fmla="*/ 230 w 232"/>
              <a:gd name="T39" fmla="*/ 17 h 248"/>
              <a:gd name="T40" fmla="*/ 230 w 232"/>
              <a:gd name="T41" fmla="*/ 16 h 248"/>
              <a:gd name="T42" fmla="*/ 230 w 232"/>
              <a:gd name="T43" fmla="*/ 16 h 248"/>
              <a:gd name="T44" fmla="*/ 230 w 232"/>
              <a:gd name="T45" fmla="*/ 15 h 248"/>
              <a:gd name="T46" fmla="*/ 230 w 232"/>
              <a:gd name="T47" fmla="*/ 15 h 248"/>
              <a:gd name="T48" fmla="*/ 230 w 232"/>
              <a:gd name="T49" fmla="*/ 15 h 248"/>
              <a:gd name="T50" fmla="*/ 230 w 232"/>
              <a:gd name="T51" fmla="*/ 14 h 248"/>
              <a:gd name="T52" fmla="*/ 230 w 232"/>
              <a:gd name="T53" fmla="*/ 14 h 248"/>
              <a:gd name="T54" fmla="*/ 230 w 232"/>
              <a:gd name="T55" fmla="*/ 14 h 248"/>
              <a:gd name="T56" fmla="*/ 230 w 232"/>
              <a:gd name="T57" fmla="*/ 13 h 248"/>
              <a:gd name="T58" fmla="*/ 230 w 232"/>
              <a:gd name="T59" fmla="*/ 13 h 248"/>
              <a:gd name="T60" fmla="*/ 229 w 232"/>
              <a:gd name="T61" fmla="*/ 13 h 248"/>
              <a:gd name="T62" fmla="*/ 229 w 232"/>
              <a:gd name="T63" fmla="*/ 12 h 248"/>
              <a:gd name="T64" fmla="*/ 229 w 232"/>
              <a:gd name="T65" fmla="*/ 12 h 248"/>
              <a:gd name="T66" fmla="*/ 229 w 232"/>
              <a:gd name="T67" fmla="*/ 12 h 248"/>
              <a:gd name="T68" fmla="*/ 229 w 232"/>
              <a:gd name="T69" fmla="*/ 11 h 248"/>
              <a:gd name="T70" fmla="*/ 229 w 232"/>
              <a:gd name="T71" fmla="*/ 11 h 248"/>
              <a:gd name="T72" fmla="*/ 229 w 232"/>
              <a:gd name="T73" fmla="*/ 11 h 248"/>
              <a:gd name="T74" fmla="*/ 229 w 232"/>
              <a:gd name="T75" fmla="*/ 10 h 248"/>
              <a:gd name="T76" fmla="*/ 229 w 232"/>
              <a:gd name="T77" fmla="*/ 10 h 248"/>
              <a:gd name="T78" fmla="*/ 229 w 232"/>
              <a:gd name="T79" fmla="*/ 10 h 248"/>
              <a:gd name="T80" fmla="*/ 229 w 232"/>
              <a:gd name="T81" fmla="*/ 10 h 248"/>
              <a:gd name="T82" fmla="*/ 229 w 232"/>
              <a:gd name="T83" fmla="*/ 9 h 248"/>
              <a:gd name="T84" fmla="*/ 229 w 232"/>
              <a:gd name="T85" fmla="*/ 9 h 248"/>
              <a:gd name="T86" fmla="*/ 229 w 232"/>
              <a:gd name="T87" fmla="*/ 8 h 248"/>
              <a:gd name="T88" fmla="*/ 229 w 232"/>
              <a:gd name="T89" fmla="*/ 8 h 248"/>
              <a:gd name="T90" fmla="*/ 229 w 232"/>
              <a:gd name="T91" fmla="*/ 8 h 248"/>
              <a:gd name="T92" fmla="*/ 229 w 232"/>
              <a:gd name="T93" fmla="*/ 8 h 248"/>
              <a:gd name="T94" fmla="*/ 228 w 232"/>
              <a:gd name="T95" fmla="*/ 7 h 248"/>
              <a:gd name="T96" fmla="*/ 228 w 232"/>
              <a:gd name="T97" fmla="*/ 7 h 248"/>
              <a:gd name="T98" fmla="*/ 228 w 232"/>
              <a:gd name="T99" fmla="*/ 7 h 248"/>
              <a:gd name="T100" fmla="*/ 228 w 232"/>
              <a:gd name="T101" fmla="*/ 6 h 248"/>
              <a:gd name="T102" fmla="*/ 228 w 232"/>
              <a:gd name="T103" fmla="*/ 5 h 248"/>
              <a:gd name="T104" fmla="*/ 228 w 232"/>
              <a:gd name="T105" fmla="*/ 5 h 248"/>
              <a:gd name="T106" fmla="*/ 228 w 232"/>
              <a:gd name="T107" fmla="*/ 5 h 248"/>
              <a:gd name="T108" fmla="*/ 228 w 232"/>
              <a:gd name="T109" fmla="*/ 4 h 248"/>
              <a:gd name="T110" fmla="*/ 228 w 232"/>
              <a:gd name="T111" fmla="*/ 4 h 248"/>
              <a:gd name="T112" fmla="*/ 228 w 232"/>
              <a:gd name="T113" fmla="*/ 4 h 248"/>
              <a:gd name="T114" fmla="*/ 228 w 232"/>
              <a:gd name="T115" fmla="*/ 4 h 248"/>
              <a:gd name="T116" fmla="*/ 228 w 232"/>
              <a:gd name="T117" fmla="*/ 3 h 248"/>
              <a:gd name="T118" fmla="*/ 227 w 232"/>
              <a:gd name="T119" fmla="*/ 1 h 248"/>
              <a:gd name="T120" fmla="*/ 227 w 232"/>
              <a:gd name="T121" fmla="*/ 1 h 248"/>
              <a:gd name="T122" fmla="*/ 227 w 232"/>
              <a:gd name="T123" fmla="*/ 1 h 248"/>
              <a:gd name="T124" fmla="*/ 227 w 232"/>
              <a:gd name="T12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248">
                <a:moveTo>
                  <a:pt x="2" y="246"/>
                </a:moveTo>
                <a:cubicBezTo>
                  <a:pt x="2" y="246"/>
                  <a:pt x="2" y="246"/>
                  <a:pt x="2" y="246"/>
                </a:cubicBezTo>
                <a:cubicBezTo>
                  <a:pt x="2" y="246"/>
                  <a:pt x="2" y="246"/>
                  <a:pt x="2" y="246"/>
                </a:cubicBezTo>
                <a:moveTo>
                  <a:pt x="1" y="246"/>
                </a:moveTo>
                <a:cubicBezTo>
                  <a:pt x="1" y="246"/>
                  <a:pt x="1" y="246"/>
                  <a:pt x="2"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0" y="246"/>
                </a:moveTo>
                <a:cubicBezTo>
                  <a:pt x="0" y="246"/>
                  <a:pt x="0" y="246"/>
                  <a:pt x="0" y="246"/>
                </a:cubicBezTo>
                <a:cubicBezTo>
                  <a:pt x="0" y="246"/>
                  <a:pt x="0" y="246"/>
                  <a:pt x="0" y="246"/>
                </a:cubicBezTo>
                <a:moveTo>
                  <a:pt x="0" y="246"/>
                </a:moveTo>
                <a:cubicBezTo>
                  <a:pt x="0" y="246"/>
                  <a:pt x="0" y="246"/>
                  <a:pt x="0" y="246"/>
                </a:cubicBezTo>
                <a:cubicBezTo>
                  <a:pt x="0" y="246"/>
                  <a:pt x="0" y="246"/>
                  <a:pt x="0" y="246"/>
                </a:cubicBezTo>
                <a:moveTo>
                  <a:pt x="232" y="47"/>
                </a:moveTo>
                <a:cubicBezTo>
                  <a:pt x="232" y="146"/>
                  <a:pt x="159" y="232"/>
                  <a:pt x="58" y="246"/>
                </a:cubicBezTo>
                <a:cubicBezTo>
                  <a:pt x="49" y="247"/>
                  <a:pt x="40" y="248"/>
                  <a:pt x="31" y="248"/>
                </a:cubicBezTo>
                <a:cubicBezTo>
                  <a:pt x="21" y="248"/>
                  <a:pt x="11" y="247"/>
                  <a:pt x="2" y="246"/>
                </a:cubicBezTo>
                <a:cubicBezTo>
                  <a:pt x="11" y="247"/>
                  <a:pt x="21" y="248"/>
                  <a:pt x="31" y="248"/>
                </a:cubicBezTo>
                <a:cubicBezTo>
                  <a:pt x="40" y="248"/>
                  <a:pt x="49" y="247"/>
                  <a:pt x="58" y="246"/>
                </a:cubicBezTo>
                <a:cubicBezTo>
                  <a:pt x="159" y="232"/>
                  <a:pt x="232" y="146"/>
                  <a:pt x="232" y="47"/>
                </a:cubicBezTo>
                <a:moveTo>
                  <a:pt x="231" y="19"/>
                </a:moveTo>
                <a:cubicBezTo>
                  <a:pt x="231" y="20"/>
                  <a:pt x="231" y="20"/>
                  <a:pt x="231" y="20"/>
                </a:cubicBezTo>
                <a:cubicBezTo>
                  <a:pt x="231" y="20"/>
                  <a:pt x="231" y="20"/>
                  <a:pt x="231" y="19"/>
                </a:cubicBezTo>
                <a:moveTo>
                  <a:pt x="230" y="19"/>
                </a:moveTo>
                <a:cubicBezTo>
                  <a:pt x="230" y="19"/>
                  <a:pt x="231" y="19"/>
                  <a:pt x="231" y="19"/>
                </a:cubicBezTo>
                <a:cubicBezTo>
                  <a:pt x="231" y="19"/>
                  <a:pt x="230" y="19"/>
                  <a:pt x="230" y="19"/>
                </a:cubicBezTo>
                <a:moveTo>
                  <a:pt x="230" y="19"/>
                </a:moveTo>
                <a:cubicBezTo>
                  <a:pt x="230" y="19"/>
                  <a:pt x="230" y="19"/>
                  <a:pt x="230" y="19"/>
                </a:cubicBezTo>
                <a:cubicBezTo>
                  <a:pt x="230" y="19"/>
                  <a:pt x="230" y="19"/>
                  <a:pt x="230" y="19"/>
                </a:cubicBezTo>
                <a:moveTo>
                  <a:pt x="230" y="19"/>
                </a:moveTo>
                <a:cubicBezTo>
                  <a:pt x="230" y="19"/>
                  <a:pt x="230" y="19"/>
                  <a:pt x="230" y="19"/>
                </a:cubicBezTo>
                <a:cubicBezTo>
                  <a:pt x="230" y="19"/>
                  <a:pt x="230" y="19"/>
                  <a:pt x="230" y="19"/>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6"/>
                </a:moveTo>
                <a:cubicBezTo>
                  <a:pt x="230" y="16"/>
                  <a:pt x="230" y="16"/>
                  <a:pt x="230" y="17"/>
                </a:cubicBezTo>
                <a:cubicBezTo>
                  <a:pt x="230" y="16"/>
                  <a:pt x="230" y="16"/>
                  <a:pt x="230" y="16"/>
                </a:cubicBezTo>
                <a:moveTo>
                  <a:pt x="230" y="16"/>
                </a:moveTo>
                <a:cubicBezTo>
                  <a:pt x="230" y="16"/>
                  <a:pt x="230" y="16"/>
                  <a:pt x="230" y="16"/>
                </a:cubicBezTo>
                <a:cubicBezTo>
                  <a:pt x="230" y="16"/>
                  <a:pt x="230" y="16"/>
                  <a:pt x="230" y="16"/>
                </a:cubicBezTo>
                <a:moveTo>
                  <a:pt x="230" y="15"/>
                </a:moveTo>
                <a:cubicBezTo>
                  <a:pt x="230" y="15"/>
                  <a:pt x="230" y="15"/>
                  <a:pt x="230" y="16"/>
                </a:cubicBezTo>
                <a:cubicBezTo>
                  <a:pt x="230" y="15"/>
                  <a:pt x="230" y="15"/>
                  <a:pt x="230" y="15"/>
                </a:cubicBezTo>
                <a:moveTo>
                  <a:pt x="230" y="15"/>
                </a:moveTo>
                <a:cubicBezTo>
                  <a:pt x="230" y="15"/>
                  <a:pt x="230" y="15"/>
                  <a:pt x="230" y="15"/>
                </a:cubicBezTo>
                <a:cubicBezTo>
                  <a:pt x="230" y="15"/>
                  <a:pt x="230" y="15"/>
                  <a:pt x="230" y="15"/>
                </a:cubicBezTo>
                <a:moveTo>
                  <a:pt x="230" y="15"/>
                </a:moveTo>
                <a:cubicBezTo>
                  <a:pt x="230" y="15"/>
                  <a:pt x="230" y="15"/>
                  <a:pt x="230" y="15"/>
                </a:cubicBezTo>
                <a:cubicBezTo>
                  <a:pt x="230" y="15"/>
                  <a:pt x="230" y="15"/>
                  <a:pt x="230" y="15"/>
                </a:cubicBezTo>
                <a:moveTo>
                  <a:pt x="230" y="14"/>
                </a:moveTo>
                <a:cubicBezTo>
                  <a:pt x="230" y="14"/>
                  <a:pt x="230" y="15"/>
                  <a:pt x="230" y="15"/>
                </a:cubicBezTo>
                <a:cubicBezTo>
                  <a:pt x="230" y="15"/>
                  <a:pt x="230" y="14"/>
                  <a:pt x="230" y="14"/>
                </a:cubicBezTo>
                <a:moveTo>
                  <a:pt x="230" y="14"/>
                </a:moveTo>
                <a:cubicBezTo>
                  <a:pt x="230" y="14"/>
                  <a:pt x="230" y="14"/>
                  <a:pt x="230" y="14"/>
                </a:cubicBezTo>
                <a:cubicBezTo>
                  <a:pt x="230" y="14"/>
                  <a:pt x="230" y="14"/>
                  <a:pt x="230" y="14"/>
                </a:cubicBezTo>
                <a:moveTo>
                  <a:pt x="230" y="14"/>
                </a:moveTo>
                <a:cubicBezTo>
                  <a:pt x="230" y="14"/>
                  <a:pt x="230" y="14"/>
                  <a:pt x="230" y="14"/>
                </a:cubicBezTo>
                <a:cubicBezTo>
                  <a:pt x="230" y="14"/>
                  <a:pt x="230" y="14"/>
                  <a:pt x="230" y="14"/>
                </a:cubicBezTo>
                <a:moveTo>
                  <a:pt x="230" y="13"/>
                </a:moveTo>
                <a:cubicBezTo>
                  <a:pt x="230" y="14"/>
                  <a:pt x="230" y="14"/>
                  <a:pt x="230" y="14"/>
                </a:cubicBezTo>
                <a:cubicBezTo>
                  <a:pt x="230" y="14"/>
                  <a:pt x="230" y="14"/>
                  <a:pt x="230" y="13"/>
                </a:cubicBezTo>
                <a:moveTo>
                  <a:pt x="230" y="13"/>
                </a:moveTo>
                <a:cubicBezTo>
                  <a:pt x="230" y="13"/>
                  <a:pt x="230" y="13"/>
                  <a:pt x="230" y="13"/>
                </a:cubicBezTo>
                <a:cubicBezTo>
                  <a:pt x="230" y="13"/>
                  <a:pt x="230" y="13"/>
                  <a:pt x="230" y="13"/>
                </a:cubicBezTo>
                <a:moveTo>
                  <a:pt x="229" y="13"/>
                </a:moveTo>
                <a:cubicBezTo>
                  <a:pt x="230" y="13"/>
                  <a:pt x="230" y="13"/>
                  <a:pt x="230" y="13"/>
                </a:cubicBezTo>
                <a:cubicBezTo>
                  <a:pt x="230" y="13"/>
                  <a:pt x="230" y="13"/>
                  <a:pt x="229" y="13"/>
                </a:cubicBezTo>
                <a:moveTo>
                  <a:pt x="229" y="12"/>
                </a:moveTo>
                <a:cubicBezTo>
                  <a:pt x="229" y="13"/>
                  <a:pt x="229" y="13"/>
                  <a:pt x="229" y="13"/>
                </a:cubicBezTo>
                <a:cubicBezTo>
                  <a:pt x="229" y="13"/>
                  <a:pt x="229" y="13"/>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9"/>
                </a:moveTo>
                <a:cubicBezTo>
                  <a:pt x="229" y="9"/>
                  <a:pt x="229" y="10"/>
                  <a:pt x="229" y="10"/>
                </a:cubicBezTo>
                <a:cubicBezTo>
                  <a:pt x="229" y="10"/>
                  <a:pt x="229" y="9"/>
                  <a:pt x="229" y="9"/>
                </a:cubicBezTo>
                <a:moveTo>
                  <a:pt x="229" y="9"/>
                </a:moveTo>
                <a:cubicBezTo>
                  <a:pt x="229" y="9"/>
                  <a:pt x="229" y="9"/>
                  <a:pt x="229" y="9"/>
                </a:cubicBezTo>
                <a:cubicBezTo>
                  <a:pt x="229" y="9"/>
                  <a:pt x="229" y="9"/>
                  <a:pt x="229" y="9"/>
                </a:cubicBezTo>
                <a:moveTo>
                  <a:pt x="229" y="9"/>
                </a:moveTo>
                <a:cubicBezTo>
                  <a:pt x="229" y="9"/>
                  <a:pt x="229" y="9"/>
                  <a:pt x="229" y="9"/>
                </a:cubicBezTo>
                <a:cubicBezTo>
                  <a:pt x="229" y="9"/>
                  <a:pt x="229" y="9"/>
                  <a:pt x="229" y="9"/>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7"/>
                </a:moveTo>
                <a:cubicBezTo>
                  <a:pt x="229" y="7"/>
                  <a:pt x="229" y="8"/>
                  <a:pt x="229" y="8"/>
                </a:cubicBezTo>
                <a:cubicBezTo>
                  <a:pt x="229" y="8"/>
                  <a:pt x="229" y="7"/>
                  <a:pt x="229"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6"/>
                </a:moveTo>
                <a:cubicBezTo>
                  <a:pt x="228" y="6"/>
                  <a:pt x="228" y="6"/>
                  <a:pt x="228" y="6"/>
                </a:cubicBezTo>
                <a:cubicBezTo>
                  <a:pt x="228" y="6"/>
                  <a:pt x="228" y="6"/>
                  <a:pt x="228" y="6"/>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3"/>
                </a:moveTo>
                <a:cubicBezTo>
                  <a:pt x="228" y="3"/>
                  <a:pt x="228" y="3"/>
                  <a:pt x="228" y="4"/>
                </a:cubicBezTo>
                <a:cubicBezTo>
                  <a:pt x="228" y="3"/>
                  <a:pt x="228" y="3"/>
                  <a:pt x="228" y="3"/>
                </a:cubicBezTo>
                <a:moveTo>
                  <a:pt x="228" y="3"/>
                </a:moveTo>
                <a:cubicBezTo>
                  <a:pt x="228" y="3"/>
                  <a:pt x="228" y="3"/>
                  <a:pt x="228" y="3"/>
                </a:cubicBezTo>
                <a:cubicBezTo>
                  <a:pt x="228" y="3"/>
                  <a:pt x="228" y="3"/>
                  <a:pt x="228" y="3"/>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0"/>
                </a:moveTo>
                <a:cubicBezTo>
                  <a:pt x="227" y="0"/>
                  <a:pt x="227" y="0"/>
                  <a:pt x="227" y="0"/>
                </a:cubicBezTo>
                <a:cubicBezTo>
                  <a:pt x="227" y="0"/>
                  <a:pt x="227" y="0"/>
                  <a:pt x="227" y="0"/>
                </a:cubicBezTo>
              </a:path>
            </a:pathLst>
          </a:custGeom>
          <a:solidFill>
            <a:srgbClr val="D5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0" name="Rounded Rectangle 10">
            <a:extLst>
              <a:ext uri="{FF2B5EF4-FFF2-40B4-BE49-F238E27FC236}">
                <a16:creationId xmlns:a16="http://schemas.microsoft.com/office/drawing/2014/main" id="{ACF48372-F1DC-44AC-A590-B40CB06EC60F}"/>
              </a:ext>
            </a:extLst>
          </p:cNvPr>
          <p:cNvSpPr/>
          <p:nvPr/>
        </p:nvSpPr>
        <p:spPr>
          <a:xfrm>
            <a:off x="3887565" y="2280942"/>
            <a:ext cx="7187041" cy="914400"/>
          </a:xfrm>
          <a:prstGeom prst="round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r>
              <a:rPr lang="en-IN" sz="1600" dirty="0">
                <a:solidFill>
                  <a:schemeClr val="tx1"/>
                </a:solidFill>
              </a:rPr>
              <a:t>Developer On boarding (Self Service)- User/RBAC/ App/Key Management </a:t>
            </a:r>
          </a:p>
        </p:txBody>
      </p:sp>
      <p:sp>
        <p:nvSpPr>
          <p:cNvPr id="11" name="Freeform 20">
            <a:extLst>
              <a:ext uri="{FF2B5EF4-FFF2-40B4-BE49-F238E27FC236}">
                <a16:creationId xmlns:a16="http://schemas.microsoft.com/office/drawing/2014/main" id="{5BD05D6C-4F3E-47AE-98EF-D35E48D981DB}"/>
              </a:ext>
            </a:extLst>
          </p:cNvPr>
          <p:cNvSpPr>
            <a:spLocks noEditPoints="1"/>
          </p:cNvSpPr>
          <p:nvPr/>
        </p:nvSpPr>
        <p:spPr bwMode="auto">
          <a:xfrm rot="19589649">
            <a:off x="3281991" y="2319234"/>
            <a:ext cx="805083" cy="836109"/>
          </a:xfrm>
          <a:custGeom>
            <a:avLst/>
            <a:gdLst>
              <a:gd name="T0" fmla="*/ 158 w 361"/>
              <a:gd name="T1" fmla="*/ 13 h 361"/>
              <a:gd name="T2" fmla="*/ 12 w 361"/>
              <a:gd name="T3" fmla="*/ 203 h 361"/>
              <a:gd name="T4" fmla="*/ 203 w 361"/>
              <a:gd name="T5" fmla="*/ 349 h 361"/>
              <a:gd name="T6" fmla="*/ 348 w 361"/>
              <a:gd name="T7" fmla="*/ 158 h 361"/>
              <a:gd name="T8" fmla="*/ 158 w 361"/>
              <a:gd name="T9" fmla="*/ 13 h 361"/>
              <a:gd name="T10" fmla="*/ 199 w 361"/>
              <a:gd name="T11" fmla="*/ 317 h 361"/>
              <a:gd name="T12" fmla="*/ 44 w 361"/>
              <a:gd name="T13" fmla="*/ 199 h 361"/>
              <a:gd name="T14" fmla="*/ 162 w 361"/>
              <a:gd name="T15" fmla="*/ 45 h 361"/>
              <a:gd name="T16" fmla="*/ 316 w 361"/>
              <a:gd name="T17" fmla="*/ 162 h 361"/>
              <a:gd name="T18" fmla="*/ 199 w 361"/>
              <a:gd name="T19" fmla="*/ 317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361">
                <a:moveTo>
                  <a:pt x="158" y="13"/>
                </a:moveTo>
                <a:cubicBezTo>
                  <a:pt x="65" y="25"/>
                  <a:pt x="0" y="111"/>
                  <a:pt x="12" y="203"/>
                </a:cubicBezTo>
                <a:cubicBezTo>
                  <a:pt x="25" y="296"/>
                  <a:pt x="110" y="361"/>
                  <a:pt x="203" y="349"/>
                </a:cubicBezTo>
                <a:cubicBezTo>
                  <a:pt x="296" y="336"/>
                  <a:pt x="361" y="251"/>
                  <a:pt x="348" y="158"/>
                </a:cubicBezTo>
                <a:cubicBezTo>
                  <a:pt x="336" y="65"/>
                  <a:pt x="250" y="0"/>
                  <a:pt x="158" y="13"/>
                </a:cubicBezTo>
                <a:close/>
                <a:moveTo>
                  <a:pt x="199" y="317"/>
                </a:moveTo>
                <a:cubicBezTo>
                  <a:pt x="123" y="327"/>
                  <a:pt x="54" y="274"/>
                  <a:pt x="44" y="199"/>
                </a:cubicBezTo>
                <a:cubicBezTo>
                  <a:pt x="34" y="124"/>
                  <a:pt x="87" y="55"/>
                  <a:pt x="162" y="45"/>
                </a:cubicBezTo>
                <a:cubicBezTo>
                  <a:pt x="237" y="35"/>
                  <a:pt x="306" y="87"/>
                  <a:pt x="316" y="162"/>
                </a:cubicBezTo>
                <a:cubicBezTo>
                  <a:pt x="326" y="237"/>
                  <a:pt x="274" y="307"/>
                  <a:pt x="199" y="317"/>
                </a:cubicBezTo>
                <a:close/>
              </a:path>
            </a:pathLst>
          </a:custGeom>
          <a:solidFill>
            <a:srgbClr val="998C85">
              <a:lumMod val="20000"/>
              <a:lumOff val="80000"/>
            </a:srgbClr>
          </a:solidFill>
          <a:ln w="6350">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2" name="Freeform 21">
            <a:extLst>
              <a:ext uri="{FF2B5EF4-FFF2-40B4-BE49-F238E27FC236}">
                <a16:creationId xmlns:a16="http://schemas.microsoft.com/office/drawing/2014/main" id="{454DB7AF-4902-4A65-9EB8-24DD6E7E558E}"/>
              </a:ext>
            </a:extLst>
          </p:cNvPr>
          <p:cNvSpPr>
            <a:spLocks/>
          </p:cNvSpPr>
          <p:nvPr/>
        </p:nvSpPr>
        <p:spPr bwMode="auto">
          <a:xfrm rot="19589649">
            <a:off x="3359036" y="2400020"/>
            <a:ext cx="650458" cy="677463"/>
          </a:xfrm>
          <a:custGeom>
            <a:avLst/>
            <a:gdLst>
              <a:gd name="T0" fmla="*/ 10 w 292"/>
              <a:gd name="T1" fmla="*/ 164 h 292"/>
              <a:gd name="T2" fmla="*/ 128 w 292"/>
              <a:gd name="T3" fmla="*/ 10 h 292"/>
              <a:gd name="T4" fmla="*/ 282 w 292"/>
              <a:gd name="T5" fmla="*/ 127 h 292"/>
              <a:gd name="T6" fmla="*/ 165 w 292"/>
              <a:gd name="T7" fmla="*/ 282 h 292"/>
              <a:gd name="T8" fmla="*/ 10 w 292"/>
              <a:gd name="T9" fmla="*/ 164 h 292"/>
            </a:gdLst>
            <a:ahLst/>
            <a:cxnLst>
              <a:cxn ang="0">
                <a:pos x="T0" y="T1"/>
              </a:cxn>
              <a:cxn ang="0">
                <a:pos x="T2" y="T3"/>
              </a:cxn>
              <a:cxn ang="0">
                <a:pos x="T4" y="T5"/>
              </a:cxn>
              <a:cxn ang="0">
                <a:pos x="T6" y="T7"/>
              </a:cxn>
              <a:cxn ang="0">
                <a:pos x="T8" y="T9"/>
              </a:cxn>
            </a:cxnLst>
            <a:rect l="0" t="0" r="r" b="b"/>
            <a:pathLst>
              <a:path w="292" h="292">
                <a:moveTo>
                  <a:pt x="10" y="164"/>
                </a:moveTo>
                <a:cubicBezTo>
                  <a:pt x="0" y="89"/>
                  <a:pt x="53" y="20"/>
                  <a:pt x="128" y="10"/>
                </a:cubicBezTo>
                <a:cubicBezTo>
                  <a:pt x="203" y="0"/>
                  <a:pt x="272" y="52"/>
                  <a:pt x="282" y="127"/>
                </a:cubicBezTo>
                <a:cubicBezTo>
                  <a:pt x="292" y="202"/>
                  <a:pt x="240" y="272"/>
                  <a:pt x="165" y="282"/>
                </a:cubicBezTo>
                <a:cubicBezTo>
                  <a:pt x="89" y="292"/>
                  <a:pt x="20" y="239"/>
                  <a:pt x="10" y="16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957756"/>
            <a:endParaRPr lang="fr-FR" sz="1400" kern="0" dirty="0">
              <a:solidFill>
                <a:srgbClr val="263147"/>
              </a:solidFill>
              <a:latin typeface="Verdana"/>
            </a:endParaRPr>
          </a:p>
        </p:txBody>
      </p:sp>
      <p:sp>
        <p:nvSpPr>
          <p:cNvPr id="13" name="Freeform 22">
            <a:extLst>
              <a:ext uri="{FF2B5EF4-FFF2-40B4-BE49-F238E27FC236}">
                <a16:creationId xmlns:a16="http://schemas.microsoft.com/office/drawing/2014/main" id="{43F482B5-2CB9-4CDD-A35B-60E21C1C381F}"/>
              </a:ext>
            </a:extLst>
          </p:cNvPr>
          <p:cNvSpPr>
            <a:spLocks/>
          </p:cNvSpPr>
          <p:nvPr/>
        </p:nvSpPr>
        <p:spPr bwMode="auto">
          <a:xfrm rot="19589649">
            <a:off x="3352317" y="2447375"/>
            <a:ext cx="531911" cy="598140"/>
          </a:xfrm>
          <a:custGeom>
            <a:avLst/>
            <a:gdLst>
              <a:gd name="T0" fmla="*/ 30 w 239"/>
              <a:gd name="T1" fmla="*/ 175 h 258"/>
              <a:gd name="T2" fmla="*/ 148 w 239"/>
              <a:gd name="T3" fmla="*/ 21 h 258"/>
              <a:gd name="T4" fmla="*/ 239 w 239"/>
              <a:gd name="T5" fmla="*/ 41 h 258"/>
              <a:gd name="T6" fmla="*/ 128 w 239"/>
              <a:gd name="T7" fmla="*/ 6 h 258"/>
              <a:gd name="T8" fmla="*/ 10 w 239"/>
              <a:gd name="T9" fmla="*/ 160 h 258"/>
              <a:gd name="T10" fmla="*/ 73 w 239"/>
              <a:gd name="T11" fmla="*/ 258 h 258"/>
              <a:gd name="T12" fmla="*/ 30 w 239"/>
              <a:gd name="T13" fmla="*/ 175 h 258"/>
            </a:gdLst>
            <a:ahLst/>
            <a:cxnLst>
              <a:cxn ang="0">
                <a:pos x="T0" y="T1"/>
              </a:cxn>
              <a:cxn ang="0">
                <a:pos x="T2" y="T3"/>
              </a:cxn>
              <a:cxn ang="0">
                <a:pos x="T4" y="T5"/>
              </a:cxn>
              <a:cxn ang="0">
                <a:pos x="T6" y="T7"/>
              </a:cxn>
              <a:cxn ang="0">
                <a:pos x="T8" y="T9"/>
              </a:cxn>
              <a:cxn ang="0">
                <a:pos x="T10" y="T11"/>
              </a:cxn>
              <a:cxn ang="0">
                <a:pos x="T12" y="T13"/>
              </a:cxn>
            </a:cxnLst>
            <a:rect l="0" t="0" r="r" b="b"/>
            <a:pathLst>
              <a:path w="239" h="258">
                <a:moveTo>
                  <a:pt x="30" y="175"/>
                </a:moveTo>
                <a:cubicBezTo>
                  <a:pt x="20" y="100"/>
                  <a:pt x="72" y="31"/>
                  <a:pt x="148" y="21"/>
                </a:cubicBezTo>
                <a:cubicBezTo>
                  <a:pt x="181" y="16"/>
                  <a:pt x="213" y="24"/>
                  <a:pt x="239" y="41"/>
                </a:cubicBezTo>
                <a:cubicBezTo>
                  <a:pt x="210" y="14"/>
                  <a:pt x="170" y="0"/>
                  <a:pt x="128" y="6"/>
                </a:cubicBezTo>
                <a:cubicBezTo>
                  <a:pt x="53" y="16"/>
                  <a:pt x="0" y="85"/>
                  <a:pt x="10" y="160"/>
                </a:cubicBezTo>
                <a:cubicBezTo>
                  <a:pt x="16" y="202"/>
                  <a:pt x="40" y="237"/>
                  <a:pt x="73" y="258"/>
                </a:cubicBezTo>
                <a:cubicBezTo>
                  <a:pt x="50" y="237"/>
                  <a:pt x="34" y="208"/>
                  <a:pt x="30" y="175"/>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defTabSz="957756"/>
            <a:endParaRPr lang="fr-FR" sz="1400" kern="0" dirty="0">
              <a:solidFill>
                <a:srgbClr val="263147"/>
              </a:solidFill>
              <a:latin typeface="Verdana"/>
            </a:endParaRPr>
          </a:p>
        </p:txBody>
      </p:sp>
      <p:sp>
        <p:nvSpPr>
          <p:cNvPr id="14" name="Freeform 24">
            <a:extLst>
              <a:ext uri="{FF2B5EF4-FFF2-40B4-BE49-F238E27FC236}">
                <a16:creationId xmlns:a16="http://schemas.microsoft.com/office/drawing/2014/main" id="{5A30FA47-D219-4A36-8F3D-9D87A8ABC692}"/>
              </a:ext>
            </a:extLst>
          </p:cNvPr>
          <p:cNvSpPr>
            <a:spLocks/>
          </p:cNvSpPr>
          <p:nvPr/>
        </p:nvSpPr>
        <p:spPr bwMode="auto">
          <a:xfrm rot="19589649">
            <a:off x="3425927" y="2290010"/>
            <a:ext cx="789620" cy="867195"/>
          </a:xfrm>
          <a:custGeom>
            <a:avLst/>
            <a:gdLst>
              <a:gd name="T0" fmla="*/ 318 w 354"/>
              <a:gd name="T1" fmla="*/ 113 h 374"/>
              <a:gd name="T2" fmla="*/ 318 w 354"/>
              <a:gd name="T3" fmla="*/ 114 h 374"/>
              <a:gd name="T4" fmla="*/ 318 w 354"/>
              <a:gd name="T5" fmla="*/ 114 h 374"/>
              <a:gd name="T6" fmla="*/ 319 w 354"/>
              <a:gd name="T7" fmla="*/ 116 h 374"/>
              <a:gd name="T8" fmla="*/ 319 w 354"/>
              <a:gd name="T9" fmla="*/ 117 h 374"/>
              <a:gd name="T10" fmla="*/ 319 w 354"/>
              <a:gd name="T11" fmla="*/ 117 h 374"/>
              <a:gd name="T12" fmla="*/ 319 w 354"/>
              <a:gd name="T13" fmla="*/ 118 h 374"/>
              <a:gd name="T14" fmla="*/ 319 w 354"/>
              <a:gd name="T15" fmla="*/ 118 h 374"/>
              <a:gd name="T16" fmla="*/ 319 w 354"/>
              <a:gd name="T17" fmla="*/ 119 h 374"/>
              <a:gd name="T18" fmla="*/ 319 w 354"/>
              <a:gd name="T19" fmla="*/ 120 h 374"/>
              <a:gd name="T20" fmla="*/ 319 w 354"/>
              <a:gd name="T21" fmla="*/ 120 h 374"/>
              <a:gd name="T22" fmla="*/ 320 w 354"/>
              <a:gd name="T23" fmla="*/ 121 h 374"/>
              <a:gd name="T24" fmla="*/ 320 w 354"/>
              <a:gd name="T25" fmla="*/ 121 h 374"/>
              <a:gd name="T26" fmla="*/ 320 w 354"/>
              <a:gd name="T27" fmla="*/ 122 h 374"/>
              <a:gd name="T28" fmla="*/ 320 w 354"/>
              <a:gd name="T29" fmla="*/ 122 h 374"/>
              <a:gd name="T30" fmla="*/ 320 w 354"/>
              <a:gd name="T31" fmla="*/ 123 h 374"/>
              <a:gd name="T32" fmla="*/ 320 w 354"/>
              <a:gd name="T33" fmla="*/ 123 h 374"/>
              <a:gd name="T34" fmla="*/ 320 w 354"/>
              <a:gd name="T35" fmla="*/ 124 h 374"/>
              <a:gd name="T36" fmla="*/ 320 w 354"/>
              <a:gd name="T37" fmla="*/ 124 h 374"/>
              <a:gd name="T38" fmla="*/ 320 w 354"/>
              <a:gd name="T39" fmla="*/ 125 h 374"/>
              <a:gd name="T40" fmla="*/ 320 w 354"/>
              <a:gd name="T41" fmla="*/ 125 h 374"/>
              <a:gd name="T42" fmla="*/ 320 w 354"/>
              <a:gd name="T43" fmla="*/ 125 h 374"/>
              <a:gd name="T44" fmla="*/ 321 w 354"/>
              <a:gd name="T45" fmla="*/ 126 h 374"/>
              <a:gd name="T46" fmla="*/ 321 w 354"/>
              <a:gd name="T47" fmla="*/ 126 h 374"/>
              <a:gd name="T48" fmla="*/ 321 w 354"/>
              <a:gd name="T49" fmla="*/ 127 h 374"/>
              <a:gd name="T50" fmla="*/ 321 w 354"/>
              <a:gd name="T51" fmla="*/ 127 h 374"/>
              <a:gd name="T52" fmla="*/ 321 w 354"/>
              <a:gd name="T53" fmla="*/ 128 h 374"/>
              <a:gd name="T54" fmla="*/ 321 w 354"/>
              <a:gd name="T55" fmla="*/ 128 h 374"/>
              <a:gd name="T56" fmla="*/ 321 w 354"/>
              <a:gd name="T57" fmla="*/ 129 h 374"/>
              <a:gd name="T58" fmla="*/ 321 w 354"/>
              <a:gd name="T59" fmla="*/ 130 h 374"/>
              <a:gd name="T60" fmla="*/ 321 w 354"/>
              <a:gd name="T61" fmla="*/ 130 h 374"/>
              <a:gd name="T62" fmla="*/ 321 w 354"/>
              <a:gd name="T63" fmla="*/ 131 h 374"/>
              <a:gd name="T64" fmla="*/ 321 w 354"/>
              <a:gd name="T65" fmla="*/ 131 h 374"/>
              <a:gd name="T66" fmla="*/ 321 w 354"/>
              <a:gd name="T67" fmla="*/ 132 h 374"/>
              <a:gd name="T68" fmla="*/ 321 w 354"/>
              <a:gd name="T69" fmla="*/ 132 h 374"/>
              <a:gd name="T70" fmla="*/ 322 w 354"/>
              <a:gd name="T71" fmla="*/ 132 h 374"/>
              <a:gd name="T72" fmla="*/ 323 w 354"/>
              <a:gd name="T73" fmla="*/ 160 h 374"/>
              <a:gd name="T74" fmla="*/ 93 w 354"/>
              <a:gd name="T75" fmla="*/ 359 h 374"/>
              <a:gd name="T76" fmla="*/ 93 w 354"/>
              <a:gd name="T77" fmla="*/ 359 h 374"/>
              <a:gd name="T78" fmla="*/ 92 w 354"/>
              <a:gd name="T79" fmla="*/ 359 h 374"/>
              <a:gd name="T80" fmla="*/ 92 w 354"/>
              <a:gd name="T81" fmla="*/ 359 h 374"/>
              <a:gd name="T82" fmla="*/ 91 w 354"/>
              <a:gd name="T83" fmla="*/ 359 h 374"/>
              <a:gd name="T84" fmla="*/ 0 w 354"/>
              <a:gd name="T85" fmla="*/ 320 h 374"/>
              <a:gd name="T86" fmla="*/ 339 w 354"/>
              <a:gd name="T87" fmla="*/ 14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4" h="374">
                <a:moveTo>
                  <a:pt x="244" y="0"/>
                </a:moveTo>
                <a:cubicBezTo>
                  <a:pt x="280" y="27"/>
                  <a:pt x="307" y="67"/>
                  <a:pt x="318" y="113"/>
                </a:cubicBezTo>
                <a:cubicBezTo>
                  <a:pt x="318" y="113"/>
                  <a:pt x="318" y="113"/>
                  <a:pt x="318" y="113"/>
                </a:cubicBezTo>
                <a:cubicBezTo>
                  <a:pt x="318" y="113"/>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5"/>
                  <a:pt x="318" y="116"/>
                  <a:pt x="319" y="116"/>
                </a:cubicBezTo>
                <a:cubicBezTo>
                  <a:pt x="319" y="116"/>
                  <a:pt x="319" y="116"/>
                  <a:pt x="319" y="116"/>
                </a:cubicBezTo>
                <a:cubicBezTo>
                  <a:pt x="319" y="116"/>
                  <a:pt x="319" y="116"/>
                  <a:pt x="319" y="116"/>
                </a:cubicBezTo>
                <a:cubicBezTo>
                  <a:pt x="319" y="116"/>
                  <a:pt x="319" y="116"/>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9"/>
                  <a:pt x="319" y="119"/>
                  <a:pt x="319" y="119"/>
                </a:cubicBezTo>
                <a:cubicBezTo>
                  <a:pt x="319" y="119"/>
                  <a:pt x="319" y="119"/>
                  <a:pt x="319" y="119"/>
                </a:cubicBezTo>
                <a:cubicBezTo>
                  <a:pt x="319" y="119"/>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20" y="120"/>
                  <a:pt x="320" y="120"/>
                </a:cubicBezTo>
                <a:cubicBezTo>
                  <a:pt x="320" y="120"/>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6"/>
                  <a:pt x="320" y="126"/>
                  <a:pt x="320" y="126"/>
                </a:cubicBezTo>
                <a:cubicBezTo>
                  <a:pt x="320" y="126"/>
                  <a:pt x="320" y="126"/>
                  <a:pt x="320" y="126"/>
                </a:cubicBezTo>
                <a:cubicBezTo>
                  <a:pt x="321" y="126"/>
                  <a:pt x="321" y="126"/>
                  <a:pt x="321" y="126"/>
                </a:cubicBezTo>
                <a:cubicBezTo>
                  <a:pt x="321" y="126"/>
                  <a:pt x="321" y="126"/>
                  <a:pt x="321" y="126"/>
                </a:cubicBezTo>
                <a:cubicBezTo>
                  <a:pt x="321" y="126"/>
                  <a:pt x="321" y="126"/>
                  <a:pt x="321" y="126"/>
                </a:cubicBezTo>
                <a:cubicBezTo>
                  <a:pt x="321" y="126"/>
                  <a:pt x="321" y="126"/>
                  <a:pt x="321" y="126"/>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9"/>
                </a:cubicBezTo>
                <a:cubicBezTo>
                  <a:pt x="321" y="129"/>
                  <a:pt x="321" y="129"/>
                  <a:pt x="321" y="129"/>
                </a:cubicBezTo>
                <a:cubicBezTo>
                  <a:pt x="321" y="129"/>
                  <a:pt x="321" y="129"/>
                  <a:pt x="321" y="129"/>
                </a:cubicBezTo>
                <a:cubicBezTo>
                  <a:pt x="321" y="129"/>
                  <a:pt x="321" y="129"/>
                  <a:pt x="321" y="129"/>
                </a:cubicBezTo>
                <a:cubicBezTo>
                  <a:pt x="321" y="129"/>
                  <a:pt x="321" y="129"/>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2"/>
                  <a:pt x="321" y="132"/>
                </a:cubicBezTo>
                <a:cubicBezTo>
                  <a:pt x="321" y="132"/>
                  <a:pt x="321" y="132"/>
                  <a:pt x="321" y="132"/>
                </a:cubicBezTo>
                <a:cubicBezTo>
                  <a:pt x="321" y="132"/>
                  <a:pt x="321" y="132"/>
                  <a:pt x="321" y="132"/>
                </a:cubicBezTo>
                <a:cubicBezTo>
                  <a:pt x="321" y="132"/>
                  <a:pt x="321" y="132"/>
                  <a:pt x="321" y="132"/>
                </a:cubicBezTo>
                <a:cubicBezTo>
                  <a:pt x="321" y="132"/>
                  <a:pt x="321" y="132"/>
                  <a:pt x="321" y="132"/>
                </a:cubicBezTo>
                <a:cubicBezTo>
                  <a:pt x="321" y="132"/>
                  <a:pt x="322" y="132"/>
                  <a:pt x="322" y="132"/>
                </a:cubicBezTo>
                <a:cubicBezTo>
                  <a:pt x="322" y="132"/>
                  <a:pt x="322" y="132"/>
                  <a:pt x="322" y="132"/>
                </a:cubicBezTo>
                <a:cubicBezTo>
                  <a:pt x="322" y="133"/>
                  <a:pt x="322" y="133"/>
                  <a:pt x="322" y="133"/>
                </a:cubicBezTo>
                <a:cubicBezTo>
                  <a:pt x="322" y="133"/>
                  <a:pt x="322" y="133"/>
                  <a:pt x="322" y="133"/>
                </a:cubicBezTo>
                <a:cubicBezTo>
                  <a:pt x="323" y="142"/>
                  <a:pt x="323" y="151"/>
                  <a:pt x="323" y="160"/>
                </a:cubicBezTo>
                <a:cubicBezTo>
                  <a:pt x="323" y="259"/>
                  <a:pt x="250" y="345"/>
                  <a:pt x="149" y="359"/>
                </a:cubicBezTo>
                <a:cubicBezTo>
                  <a:pt x="140" y="360"/>
                  <a:pt x="131" y="361"/>
                  <a:pt x="122" y="361"/>
                </a:cubicBezTo>
                <a:cubicBezTo>
                  <a:pt x="112" y="361"/>
                  <a:pt x="102" y="360"/>
                  <a:pt x="93" y="359"/>
                </a:cubicBezTo>
                <a:cubicBezTo>
                  <a:pt x="93" y="359"/>
                  <a:pt x="93" y="359"/>
                  <a:pt x="93" y="359"/>
                </a:cubicBezTo>
                <a:cubicBezTo>
                  <a:pt x="93" y="359"/>
                  <a:pt x="93" y="359"/>
                  <a:pt x="93" y="359"/>
                </a:cubicBezTo>
                <a:cubicBezTo>
                  <a:pt x="93" y="359"/>
                  <a:pt x="93" y="359"/>
                  <a:pt x="93"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1" y="359"/>
                  <a:pt x="91" y="359"/>
                </a:cubicBezTo>
                <a:cubicBezTo>
                  <a:pt x="91" y="359"/>
                  <a:pt x="91" y="359"/>
                  <a:pt x="91" y="359"/>
                </a:cubicBezTo>
                <a:cubicBezTo>
                  <a:pt x="91" y="359"/>
                  <a:pt x="91" y="359"/>
                  <a:pt x="91" y="359"/>
                </a:cubicBezTo>
                <a:cubicBezTo>
                  <a:pt x="91" y="359"/>
                  <a:pt x="91" y="359"/>
                  <a:pt x="91" y="359"/>
                </a:cubicBezTo>
                <a:cubicBezTo>
                  <a:pt x="58" y="353"/>
                  <a:pt x="27" y="340"/>
                  <a:pt x="0" y="320"/>
                </a:cubicBezTo>
                <a:cubicBezTo>
                  <a:pt x="37" y="354"/>
                  <a:pt x="86" y="374"/>
                  <a:pt x="138" y="374"/>
                </a:cubicBezTo>
                <a:cubicBezTo>
                  <a:pt x="147" y="374"/>
                  <a:pt x="156" y="374"/>
                  <a:pt x="165" y="372"/>
                </a:cubicBezTo>
                <a:cubicBezTo>
                  <a:pt x="276" y="357"/>
                  <a:pt x="354" y="256"/>
                  <a:pt x="339" y="145"/>
                </a:cubicBezTo>
                <a:cubicBezTo>
                  <a:pt x="330" y="82"/>
                  <a:pt x="294" y="30"/>
                  <a:pt x="244" y="0"/>
                </a:cubicBezTo>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5" name="Freeform 25">
            <a:extLst>
              <a:ext uri="{FF2B5EF4-FFF2-40B4-BE49-F238E27FC236}">
                <a16:creationId xmlns:a16="http://schemas.microsoft.com/office/drawing/2014/main" id="{6D56CAE0-21FB-4969-AF31-3D6241615F42}"/>
              </a:ext>
            </a:extLst>
          </p:cNvPr>
          <p:cNvSpPr>
            <a:spLocks noEditPoints="1"/>
          </p:cNvSpPr>
          <p:nvPr/>
        </p:nvSpPr>
        <p:spPr bwMode="auto">
          <a:xfrm rot="19589649">
            <a:off x="3681774" y="2495337"/>
            <a:ext cx="517479" cy="575630"/>
          </a:xfrm>
          <a:custGeom>
            <a:avLst/>
            <a:gdLst>
              <a:gd name="T0" fmla="*/ 2 w 232"/>
              <a:gd name="T1" fmla="*/ 246 h 248"/>
              <a:gd name="T2" fmla="*/ 1 w 232"/>
              <a:gd name="T3" fmla="*/ 246 h 248"/>
              <a:gd name="T4" fmla="*/ 1 w 232"/>
              <a:gd name="T5" fmla="*/ 246 h 248"/>
              <a:gd name="T6" fmla="*/ 1 w 232"/>
              <a:gd name="T7" fmla="*/ 246 h 248"/>
              <a:gd name="T8" fmla="*/ 1 w 232"/>
              <a:gd name="T9" fmla="*/ 246 h 248"/>
              <a:gd name="T10" fmla="*/ 0 w 232"/>
              <a:gd name="T11" fmla="*/ 246 h 248"/>
              <a:gd name="T12" fmla="*/ 0 w 232"/>
              <a:gd name="T13" fmla="*/ 246 h 248"/>
              <a:gd name="T14" fmla="*/ 31 w 232"/>
              <a:gd name="T15" fmla="*/ 248 h 248"/>
              <a:gd name="T16" fmla="*/ 58 w 232"/>
              <a:gd name="T17" fmla="*/ 246 h 248"/>
              <a:gd name="T18" fmla="*/ 231 w 232"/>
              <a:gd name="T19" fmla="*/ 20 h 248"/>
              <a:gd name="T20" fmla="*/ 231 w 232"/>
              <a:gd name="T21" fmla="*/ 19 h 248"/>
              <a:gd name="T22" fmla="*/ 230 w 232"/>
              <a:gd name="T23" fmla="*/ 19 h 248"/>
              <a:gd name="T24" fmla="*/ 230 w 232"/>
              <a:gd name="T25" fmla="*/ 19 h 248"/>
              <a:gd name="T26" fmla="*/ 230 w 232"/>
              <a:gd name="T27" fmla="*/ 18 h 248"/>
              <a:gd name="T28" fmla="*/ 230 w 232"/>
              <a:gd name="T29" fmla="*/ 18 h 248"/>
              <a:gd name="T30" fmla="*/ 230 w 232"/>
              <a:gd name="T31" fmla="*/ 18 h 248"/>
              <a:gd name="T32" fmla="*/ 230 w 232"/>
              <a:gd name="T33" fmla="*/ 17 h 248"/>
              <a:gd name="T34" fmla="*/ 230 w 232"/>
              <a:gd name="T35" fmla="*/ 17 h 248"/>
              <a:gd name="T36" fmla="*/ 230 w 232"/>
              <a:gd name="T37" fmla="*/ 17 h 248"/>
              <a:gd name="T38" fmla="*/ 230 w 232"/>
              <a:gd name="T39" fmla="*/ 17 h 248"/>
              <a:gd name="T40" fmla="*/ 230 w 232"/>
              <a:gd name="T41" fmla="*/ 16 h 248"/>
              <a:gd name="T42" fmla="*/ 230 w 232"/>
              <a:gd name="T43" fmla="*/ 16 h 248"/>
              <a:gd name="T44" fmla="*/ 230 w 232"/>
              <a:gd name="T45" fmla="*/ 15 h 248"/>
              <a:gd name="T46" fmla="*/ 230 w 232"/>
              <a:gd name="T47" fmla="*/ 15 h 248"/>
              <a:gd name="T48" fmla="*/ 230 w 232"/>
              <a:gd name="T49" fmla="*/ 15 h 248"/>
              <a:gd name="T50" fmla="*/ 230 w 232"/>
              <a:gd name="T51" fmla="*/ 14 h 248"/>
              <a:gd name="T52" fmla="*/ 230 w 232"/>
              <a:gd name="T53" fmla="*/ 14 h 248"/>
              <a:gd name="T54" fmla="*/ 230 w 232"/>
              <a:gd name="T55" fmla="*/ 14 h 248"/>
              <a:gd name="T56" fmla="*/ 230 w 232"/>
              <a:gd name="T57" fmla="*/ 13 h 248"/>
              <a:gd name="T58" fmla="*/ 230 w 232"/>
              <a:gd name="T59" fmla="*/ 13 h 248"/>
              <a:gd name="T60" fmla="*/ 229 w 232"/>
              <a:gd name="T61" fmla="*/ 13 h 248"/>
              <a:gd name="T62" fmla="*/ 229 w 232"/>
              <a:gd name="T63" fmla="*/ 12 h 248"/>
              <a:gd name="T64" fmla="*/ 229 w 232"/>
              <a:gd name="T65" fmla="*/ 12 h 248"/>
              <a:gd name="T66" fmla="*/ 229 w 232"/>
              <a:gd name="T67" fmla="*/ 12 h 248"/>
              <a:gd name="T68" fmla="*/ 229 w 232"/>
              <a:gd name="T69" fmla="*/ 11 h 248"/>
              <a:gd name="T70" fmla="*/ 229 w 232"/>
              <a:gd name="T71" fmla="*/ 11 h 248"/>
              <a:gd name="T72" fmla="*/ 229 w 232"/>
              <a:gd name="T73" fmla="*/ 11 h 248"/>
              <a:gd name="T74" fmla="*/ 229 w 232"/>
              <a:gd name="T75" fmla="*/ 10 h 248"/>
              <a:gd name="T76" fmla="*/ 229 w 232"/>
              <a:gd name="T77" fmla="*/ 10 h 248"/>
              <a:gd name="T78" fmla="*/ 229 w 232"/>
              <a:gd name="T79" fmla="*/ 10 h 248"/>
              <a:gd name="T80" fmla="*/ 229 w 232"/>
              <a:gd name="T81" fmla="*/ 10 h 248"/>
              <a:gd name="T82" fmla="*/ 229 w 232"/>
              <a:gd name="T83" fmla="*/ 9 h 248"/>
              <a:gd name="T84" fmla="*/ 229 w 232"/>
              <a:gd name="T85" fmla="*/ 9 h 248"/>
              <a:gd name="T86" fmla="*/ 229 w 232"/>
              <a:gd name="T87" fmla="*/ 8 h 248"/>
              <a:gd name="T88" fmla="*/ 229 w 232"/>
              <a:gd name="T89" fmla="*/ 8 h 248"/>
              <a:gd name="T90" fmla="*/ 229 w 232"/>
              <a:gd name="T91" fmla="*/ 8 h 248"/>
              <a:gd name="T92" fmla="*/ 229 w 232"/>
              <a:gd name="T93" fmla="*/ 8 h 248"/>
              <a:gd name="T94" fmla="*/ 228 w 232"/>
              <a:gd name="T95" fmla="*/ 7 h 248"/>
              <a:gd name="T96" fmla="*/ 228 w 232"/>
              <a:gd name="T97" fmla="*/ 7 h 248"/>
              <a:gd name="T98" fmla="*/ 228 w 232"/>
              <a:gd name="T99" fmla="*/ 7 h 248"/>
              <a:gd name="T100" fmla="*/ 228 w 232"/>
              <a:gd name="T101" fmla="*/ 6 h 248"/>
              <a:gd name="T102" fmla="*/ 228 w 232"/>
              <a:gd name="T103" fmla="*/ 5 h 248"/>
              <a:gd name="T104" fmla="*/ 228 w 232"/>
              <a:gd name="T105" fmla="*/ 5 h 248"/>
              <a:gd name="T106" fmla="*/ 228 w 232"/>
              <a:gd name="T107" fmla="*/ 5 h 248"/>
              <a:gd name="T108" fmla="*/ 228 w 232"/>
              <a:gd name="T109" fmla="*/ 4 h 248"/>
              <a:gd name="T110" fmla="*/ 228 w 232"/>
              <a:gd name="T111" fmla="*/ 4 h 248"/>
              <a:gd name="T112" fmla="*/ 228 w 232"/>
              <a:gd name="T113" fmla="*/ 4 h 248"/>
              <a:gd name="T114" fmla="*/ 228 w 232"/>
              <a:gd name="T115" fmla="*/ 4 h 248"/>
              <a:gd name="T116" fmla="*/ 228 w 232"/>
              <a:gd name="T117" fmla="*/ 3 h 248"/>
              <a:gd name="T118" fmla="*/ 227 w 232"/>
              <a:gd name="T119" fmla="*/ 1 h 248"/>
              <a:gd name="T120" fmla="*/ 227 w 232"/>
              <a:gd name="T121" fmla="*/ 1 h 248"/>
              <a:gd name="T122" fmla="*/ 227 w 232"/>
              <a:gd name="T123" fmla="*/ 1 h 248"/>
              <a:gd name="T124" fmla="*/ 227 w 232"/>
              <a:gd name="T12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248">
                <a:moveTo>
                  <a:pt x="2" y="246"/>
                </a:moveTo>
                <a:cubicBezTo>
                  <a:pt x="2" y="246"/>
                  <a:pt x="2" y="246"/>
                  <a:pt x="2" y="246"/>
                </a:cubicBezTo>
                <a:cubicBezTo>
                  <a:pt x="2" y="246"/>
                  <a:pt x="2" y="246"/>
                  <a:pt x="2" y="246"/>
                </a:cubicBezTo>
                <a:moveTo>
                  <a:pt x="1" y="246"/>
                </a:moveTo>
                <a:cubicBezTo>
                  <a:pt x="1" y="246"/>
                  <a:pt x="1" y="246"/>
                  <a:pt x="2"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0" y="246"/>
                </a:moveTo>
                <a:cubicBezTo>
                  <a:pt x="0" y="246"/>
                  <a:pt x="0" y="246"/>
                  <a:pt x="0" y="246"/>
                </a:cubicBezTo>
                <a:cubicBezTo>
                  <a:pt x="0" y="246"/>
                  <a:pt x="0" y="246"/>
                  <a:pt x="0" y="246"/>
                </a:cubicBezTo>
                <a:moveTo>
                  <a:pt x="0" y="246"/>
                </a:moveTo>
                <a:cubicBezTo>
                  <a:pt x="0" y="246"/>
                  <a:pt x="0" y="246"/>
                  <a:pt x="0" y="246"/>
                </a:cubicBezTo>
                <a:cubicBezTo>
                  <a:pt x="0" y="246"/>
                  <a:pt x="0" y="246"/>
                  <a:pt x="0" y="246"/>
                </a:cubicBezTo>
                <a:moveTo>
                  <a:pt x="232" y="47"/>
                </a:moveTo>
                <a:cubicBezTo>
                  <a:pt x="232" y="146"/>
                  <a:pt x="159" y="232"/>
                  <a:pt x="58" y="246"/>
                </a:cubicBezTo>
                <a:cubicBezTo>
                  <a:pt x="49" y="247"/>
                  <a:pt x="40" y="248"/>
                  <a:pt x="31" y="248"/>
                </a:cubicBezTo>
                <a:cubicBezTo>
                  <a:pt x="21" y="248"/>
                  <a:pt x="11" y="247"/>
                  <a:pt x="2" y="246"/>
                </a:cubicBezTo>
                <a:cubicBezTo>
                  <a:pt x="11" y="247"/>
                  <a:pt x="21" y="248"/>
                  <a:pt x="31" y="248"/>
                </a:cubicBezTo>
                <a:cubicBezTo>
                  <a:pt x="40" y="248"/>
                  <a:pt x="49" y="247"/>
                  <a:pt x="58" y="246"/>
                </a:cubicBezTo>
                <a:cubicBezTo>
                  <a:pt x="159" y="232"/>
                  <a:pt x="232" y="146"/>
                  <a:pt x="232" y="47"/>
                </a:cubicBezTo>
                <a:moveTo>
                  <a:pt x="231" y="19"/>
                </a:moveTo>
                <a:cubicBezTo>
                  <a:pt x="231" y="20"/>
                  <a:pt x="231" y="20"/>
                  <a:pt x="231" y="20"/>
                </a:cubicBezTo>
                <a:cubicBezTo>
                  <a:pt x="231" y="20"/>
                  <a:pt x="231" y="20"/>
                  <a:pt x="231" y="19"/>
                </a:cubicBezTo>
                <a:moveTo>
                  <a:pt x="230" y="19"/>
                </a:moveTo>
                <a:cubicBezTo>
                  <a:pt x="230" y="19"/>
                  <a:pt x="231" y="19"/>
                  <a:pt x="231" y="19"/>
                </a:cubicBezTo>
                <a:cubicBezTo>
                  <a:pt x="231" y="19"/>
                  <a:pt x="230" y="19"/>
                  <a:pt x="230" y="19"/>
                </a:cubicBezTo>
                <a:moveTo>
                  <a:pt x="230" y="19"/>
                </a:moveTo>
                <a:cubicBezTo>
                  <a:pt x="230" y="19"/>
                  <a:pt x="230" y="19"/>
                  <a:pt x="230" y="19"/>
                </a:cubicBezTo>
                <a:cubicBezTo>
                  <a:pt x="230" y="19"/>
                  <a:pt x="230" y="19"/>
                  <a:pt x="230" y="19"/>
                </a:cubicBezTo>
                <a:moveTo>
                  <a:pt x="230" y="19"/>
                </a:moveTo>
                <a:cubicBezTo>
                  <a:pt x="230" y="19"/>
                  <a:pt x="230" y="19"/>
                  <a:pt x="230" y="19"/>
                </a:cubicBezTo>
                <a:cubicBezTo>
                  <a:pt x="230" y="19"/>
                  <a:pt x="230" y="19"/>
                  <a:pt x="230" y="19"/>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6"/>
                </a:moveTo>
                <a:cubicBezTo>
                  <a:pt x="230" y="16"/>
                  <a:pt x="230" y="16"/>
                  <a:pt x="230" y="17"/>
                </a:cubicBezTo>
                <a:cubicBezTo>
                  <a:pt x="230" y="16"/>
                  <a:pt x="230" y="16"/>
                  <a:pt x="230" y="16"/>
                </a:cubicBezTo>
                <a:moveTo>
                  <a:pt x="230" y="16"/>
                </a:moveTo>
                <a:cubicBezTo>
                  <a:pt x="230" y="16"/>
                  <a:pt x="230" y="16"/>
                  <a:pt x="230" y="16"/>
                </a:cubicBezTo>
                <a:cubicBezTo>
                  <a:pt x="230" y="16"/>
                  <a:pt x="230" y="16"/>
                  <a:pt x="230" y="16"/>
                </a:cubicBezTo>
                <a:moveTo>
                  <a:pt x="230" y="15"/>
                </a:moveTo>
                <a:cubicBezTo>
                  <a:pt x="230" y="15"/>
                  <a:pt x="230" y="15"/>
                  <a:pt x="230" y="16"/>
                </a:cubicBezTo>
                <a:cubicBezTo>
                  <a:pt x="230" y="15"/>
                  <a:pt x="230" y="15"/>
                  <a:pt x="230" y="15"/>
                </a:cubicBezTo>
                <a:moveTo>
                  <a:pt x="230" y="15"/>
                </a:moveTo>
                <a:cubicBezTo>
                  <a:pt x="230" y="15"/>
                  <a:pt x="230" y="15"/>
                  <a:pt x="230" y="15"/>
                </a:cubicBezTo>
                <a:cubicBezTo>
                  <a:pt x="230" y="15"/>
                  <a:pt x="230" y="15"/>
                  <a:pt x="230" y="15"/>
                </a:cubicBezTo>
                <a:moveTo>
                  <a:pt x="230" y="15"/>
                </a:moveTo>
                <a:cubicBezTo>
                  <a:pt x="230" y="15"/>
                  <a:pt x="230" y="15"/>
                  <a:pt x="230" y="15"/>
                </a:cubicBezTo>
                <a:cubicBezTo>
                  <a:pt x="230" y="15"/>
                  <a:pt x="230" y="15"/>
                  <a:pt x="230" y="15"/>
                </a:cubicBezTo>
                <a:moveTo>
                  <a:pt x="230" y="14"/>
                </a:moveTo>
                <a:cubicBezTo>
                  <a:pt x="230" y="14"/>
                  <a:pt x="230" y="15"/>
                  <a:pt x="230" y="15"/>
                </a:cubicBezTo>
                <a:cubicBezTo>
                  <a:pt x="230" y="15"/>
                  <a:pt x="230" y="14"/>
                  <a:pt x="230" y="14"/>
                </a:cubicBezTo>
                <a:moveTo>
                  <a:pt x="230" y="14"/>
                </a:moveTo>
                <a:cubicBezTo>
                  <a:pt x="230" y="14"/>
                  <a:pt x="230" y="14"/>
                  <a:pt x="230" y="14"/>
                </a:cubicBezTo>
                <a:cubicBezTo>
                  <a:pt x="230" y="14"/>
                  <a:pt x="230" y="14"/>
                  <a:pt x="230" y="14"/>
                </a:cubicBezTo>
                <a:moveTo>
                  <a:pt x="230" y="14"/>
                </a:moveTo>
                <a:cubicBezTo>
                  <a:pt x="230" y="14"/>
                  <a:pt x="230" y="14"/>
                  <a:pt x="230" y="14"/>
                </a:cubicBezTo>
                <a:cubicBezTo>
                  <a:pt x="230" y="14"/>
                  <a:pt x="230" y="14"/>
                  <a:pt x="230" y="14"/>
                </a:cubicBezTo>
                <a:moveTo>
                  <a:pt x="230" y="13"/>
                </a:moveTo>
                <a:cubicBezTo>
                  <a:pt x="230" y="14"/>
                  <a:pt x="230" y="14"/>
                  <a:pt x="230" y="14"/>
                </a:cubicBezTo>
                <a:cubicBezTo>
                  <a:pt x="230" y="14"/>
                  <a:pt x="230" y="14"/>
                  <a:pt x="230" y="13"/>
                </a:cubicBezTo>
                <a:moveTo>
                  <a:pt x="230" y="13"/>
                </a:moveTo>
                <a:cubicBezTo>
                  <a:pt x="230" y="13"/>
                  <a:pt x="230" y="13"/>
                  <a:pt x="230" y="13"/>
                </a:cubicBezTo>
                <a:cubicBezTo>
                  <a:pt x="230" y="13"/>
                  <a:pt x="230" y="13"/>
                  <a:pt x="230" y="13"/>
                </a:cubicBezTo>
                <a:moveTo>
                  <a:pt x="229" y="13"/>
                </a:moveTo>
                <a:cubicBezTo>
                  <a:pt x="230" y="13"/>
                  <a:pt x="230" y="13"/>
                  <a:pt x="230" y="13"/>
                </a:cubicBezTo>
                <a:cubicBezTo>
                  <a:pt x="230" y="13"/>
                  <a:pt x="230" y="13"/>
                  <a:pt x="229" y="13"/>
                </a:cubicBezTo>
                <a:moveTo>
                  <a:pt x="229" y="12"/>
                </a:moveTo>
                <a:cubicBezTo>
                  <a:pt x="229" y="13"/>
                  <a:pt x="229" y="13"/>
                  <a:pt x="229" y="13"/>
                </a:cubicBezTo>
                <a:cubicBezTo>
                  <a:pt x="229" y="13"/>
                  <a:pt x="229" y="13"/>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9"/>
                </a:moveTo>
                <a:cubicBezTo>
                  <a:pt x="229" y="9"/>
                  <a:pt x="229" y="10"/>
                  <a:pt x="229" y="10"/>
                </a:cubicBezTo>
                <a:cubicBezTo>
                  <a:pt x="229" y="10"/>
                  <a:pt x="229" y="9"/>
                  <a:pt x="229" y="9"/>
                </a:cubicBezTo>
                <a:moveTo>
                  <a:pt x="229" y="9"/>
                </a:moveTo>
                <a:cubicBezTo>
                  <a:pt x="229" y="9"/>
                  <a:pt x="229" y="9"/>
                  <a:pt x="229" y="9"/>
                </a:cubicBezTo>
                <a:cubicBezTo>
                  <a:pt x="229" y="9"/>
                  <a:pt x="229" y="9"/>
                  <a:pt x="229" y="9"/>
                </a:cubicBezTo>
                <a:moveTo>
                  <a:pt x="229" y="9"/>
                </a:moveTo>
                <a:cubicBezTo>
                  <a:pt x="229" y="9"/>
                  <a:pt x="229" y="9"/>
                  <a:pt x="229" y="9"/>
                </a:cubicBezTo>
                <a:cubicBezTo>
                  <a:pt x="229" y="9"/>
                  <a:pt x="229" y="9"/>
                  <a:pt x="229" y="9"/>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7"/>
                </a:moveTo>
                <a:cubicBezTo>
                  <a:pt x="229" y="7"/>
                  <a:pt x="229" y="8"/>
                  <a:pt x="229" y="8"/>
                </a:cubicBezTo>
                <a:cubicBezTo>
                  <a:pt x="229" y="8"/>
                  <a:pt x="229" y="7"/>
                  <a:pt x="229"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6"/>
                </a:moveTo>
                <a:cubicBezTo>
                  <a:pt x="228" y="6"/>
                  <a:pt x="228" y="6"/>
                  <a:pt x="228" y="6"/>
                </a:cubicBezTo>
                <a:cubicBezTo>
                  <a:pt x="228" y="6"/>
                  <a:pt x="228" y="6"/>
                  <a:pt x="228" y="6"/>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3"/>
                </a:moveTo>
                <a:cubicBezTo>
                  <a:pt x="228" y="3"/>
                  <a:pt x="228" y="3"/>
                  <a:pt x="228" y="4"/>
                </a:cubicBezTo>
                <a:cubicBezTo>
                  <a:pt x="228" y="3"/>
                  <a:pt x="228" y="3"/>
                  <a:pt x="228" y="3"/>
                </a:cubicBezTo>
                <a:moveTo>
                  <a:pt x="228" y="3"/>
                </a:moveTo>
                <a:cubicBezTo>
                  <a:pt x="228" y="3"/>
                  <a:pt x="228" y="3"/>
                  <a:pt x="228" y="3"/>
                </a:cubicBezTo>
                <a:cubicBezTo>
                  <a:pt x="228" y="3"/>
                  <a:pt x="228" y="3"/>
                  <a:pt x="228" y="3"/>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0"/>
                </a:moveTo>
                <a:cubicBezTo>
                  <a:pt x="227" y="0"/>
                  <a:pt x="227" y="0"/>
                  <a:pt x="227" y="0"/>
                </a:cubicBezTo>
                <a:cubicBezTo>
                  <a:pt x="227" y="0"/>
                  <a:pt x="227" y="0"/>
                  <a:pt x="227" y="0"/>
                </a:cubicBezTo>
              </a:path>
            </a:pathLst>
          </a:custGeom>
          <a:solidFill>
            <a:srgbClr val="D5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6" name="Rounded Rectangle 30">
            <a:extLst>
              <a:ext uri="{FF2B5EF4-FFF2-40B4-BE49-F238E27FC236}">
                <a16:creationId xmlns:a16="http://schemas.microsoft.com/office/drawing/2014/main" id="{F05587EE-DBA9-440B-BD3F-FB2803891522}"/>
              </a:ext>
            </a:extLst>
          </p:cNvPr>
          <p:cNvSpPr/>
          <p:nvPr/>
        </p:nvSpPr>
        <p:spPr>
          <a:xfrm>
            <a:off x="3887565" y="4421264"/>
            <a:ext cx="7187041" cy="1029806"/>
          </a:xfrm>
          <a:prstGeom prst="round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r>
              <a:rPr lang="en-GB" sz="1600" dirty="0">
                <a:solidFill>
                  <a:schemeClr val="tx1"/>
                </a:solidFill>
              </a:rPr>
              <a:t>Developer evangelism, Community Collaboration</a:t>
            </a:r>
          </a:p>
        </p:txBody>
      </p:sp>
      <p:sp>
        <p:nvSpPr>
          <p:cNvPr id="17" name="Freeform 20">
            <a:extLst>
              <a:ext uri="{FF2B5EF4-FFF2-40B4-BE49-F238E27FC236}">
                <a16:creationId xmlns:a16="http://schemas.microsoft.com/office/drawing/2014/main" id="{95E0B859-DEBA-4A56-9D51-086ACA12E909}"/>
              </a:ext>
            </a:extLst>
          </p:cNvPr>
          <p:cNvSpPr>
            <a:spLocks noEditPoints="1"/>
          </p:cNvSpPr>
          <p:nvPr/>
        </p:nvSpPr>
        <p:spPr bwMode="auto">
          <a:xfrm rot="19589649">
            <a:off x="3281991" y="4517259"/>
            <a:ext cx="805083" cy="836109"/>
          </a:xfrm>
          <a:custGeom>
            <a:avLst/>
            <a:gdLst>
              <a:gd name="T0" fmla="*/ 158 w 361"/>
              <a:gd name="T1" fmla="*/ 13 h 361"/>
              <a:gd name="T2" fmla="*/ 12 w 361"/>
              <a:gd name="T3" fmla="*/ 203 h 361"/>
              <a:gd name="T4" fmla="*/ 203 w 361"/>
              <a:gd name="T5" fmla="*/ 349 h 361"/>
              <a:gd name="T6" fmla="*/ 348 w 361"/>
              <a:gd name="T7" fmla="*/ 158 h 361"/>
              <a:gd name="T8" fmla="*/ 158 w 361"/>
              <a:gd name="T9" fmla="*/ 13 h 361"/>
              <a:gd name="T10" fmla="*/ 199 w 361"/>
              <a:gd name="T11" fmla="*/ 317 h 361"/>
              <a:gd name="T12" fmla="*/ 44 w 361"/>
              <a:gd name="T13" fmla="*/ 199 h 361"/>
              <a:gd name="T14" fmla="*/ 162 w 361"/>
              <a:gd name="T15" fmla="*/ 45 h 361"/>
              <a:gd name="T16" fmla="*/ 316 w 361"/>
              <a:gd name="T17" fmla="*/ 162 h 361"/>
              <a:gd name="T18" fmla="*/ 199 w 361"/>
              <a:gd name="T19" fmla="*/ 317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361">
                <a:moveTo>
                  <a:pt x="158" y="13"/>
                </a:moveTo>
                <a:cubicBezTo>
                  <a:pt x="65" y="25"/>
                  <a:pt x="0" y="111"/>
                  <a:pt x="12" y="203"/>
                </a:cubicBezTo>
                <a:cubicBezTo>
                  <a:pt x="25" y="296"/>
                  <a:pt x="110" y="361"/>
                  <a:pt x="203" y="349"/>
                </a:cubicBezTo>
                <a:cubicBezTo>
                  <a:pt x="296" y="336"/>
                  <a:pt x="361" y="251"/>
                  <a:pt x="348" y="158"/>
                </a:cubicBezTo>
                <a:cubicBezTo>
                  <a:pt x="336" y="65"/>
                  <a:pt x="250" y="0"/>
                  <a:pt x="158" y="13"/>
                </a:cubicBezTo>
                <a:close/>
                <a:moveTo>
                  <a:pt x="199" y="317"/>
                </a:moveTo>
                <a:cubicBezTo>
                  <a:pt x="123" y="327"/>
                  <a:pt x="54" y="274"/>
                  <a:pt x="44" y="199"/>
                </a:cubicBezTo>
                <a:cubicBezTo>
                  <a:pt x="34" y="124"/>
                  <a:pt x="87" y="55"/>
                  <a:pt x="162" y="45"/>
                </a:cubicBezTo>
                <a:cubicBezTo>
                  <a:pt x="237" y="35"/>
                  <a:pt x="306" y="87"/>
                  <a:pt x="316" y="162"/>
                </a:cubicBezTo>
                <a:cubicBezTo>
                  <a:pt x="326" y="237"/>
                  <a:pt x="274" y="307"/>
                  <a:pt x="199" y="317"/>
                </a:cubicBezTo>
                <a:close/>
              </a:path>
            </a:pathLst>
          </a:custGeom>
          <a:solidFill>
            <a:srgbClr val="998C85">
              <a:lumMod val="20000"/>
              <a:lumOff val="80000"/>
            </a:srgbClr>
          </a:solidFill>
          <a:ln w="6350">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8" name="Freeform 21">
            <a:extLst>
              <a:ext uri="{FF2B5EF4-FFF2-40B4-BE49-F238E27FC236}">
                <a16:creationId xmlns:a16="http://schemas.microsoft.com/office/drawing/2014/main" id="{9F190E99-4D1E-438D-9632-95D096B0BC9F}"/>
              </a:ext>
            </a:extLst>
          </p:cNvPr>
          <p:cNvSpPr>
            <a:spLocks/>
          </p:cNvSpPr>
          <p:nvPr/>
        </p:nvSpPr>
        <p:spPr bwMode="auto">
          <a:xfrm rot="19589649">
            <a:off x="3359036" y="4598045"/>
            <a:ext cx="650458" cy="677463"/>
          </a:xfrm>
          <a:custGeom>
            <a:avLst/>
            <a:gdLst>
              <a:gd name="T0" fmla="*/ 10 w 292"/>
              <a:gd name="T1" fmla="*/ 164 h 292"/>
              <a:gd name="T2" fmla="*/ 128 w 292"/>
              <a:gd name="T3" fmla="*/ 10 h 292"/>
              <a:gd name="T4" fmla="*/ 282 w 292"/>
              <a:gd name="T5" fmla="*/ 127 h 292"/>
              <a:gd name="T6" fmla="*/ 165 w 292"/>
              <a:gd name="T7" fmla="*/ 282 h 292"/>
              <a:gd name="T8" fmla="*/ 10 w 292"/>
              <a:gd name="T9" fmla="*/ 164 h 292"/>
            </a:gdLst>
            <a:ahLst/>
            <a:cxnLst>
              <a:cxn ang="0">
                <a:pos x="T0" y="T1"/>
              </a:cxn>
              <a:cxn ang="0">
                <a:pos x="T2" y="T3"/>
              </a:cxn>
              <a:cxn ang="0">
                <a:pos x="T4" y="T5"/>
              </a:cxn>
              <a:cxn ang="0">
                <a:pos x="T6" y="T7"/>
              </a:cxn>
              <a:cxn ang="0">
                <a:pos x="T8" y="T9"/>
              </a:cxn>
            </a:cxnLst>
            <a:rect l="0" t="0" r="r" b="b"/>
            <a:pathLst>
              <a:path w="292" h="292">
                <a:moveTo>
                  <a:pt x="10" y="164"/>
                </a:moveTo>
                <a:cubicBezTo>
                  <a:pt x="0" y="89"/>
                  <a:pt x="53" y="20"/>
                  <a:pt x="128" y="10"/>
                </a:cubicBezTo>
                <a:cubicBezTo>
                  <a:pt x="203" y="0"/>
                  <a:pt x="272" y="52"/>
                  <a:pt x="282" y="127"/>
                </a:cubicBezTo>
                <a:cubicBezTo>
                  <a:pt x="292" y="202"/>
                  <a:pt x="240" y="272"/>
                  <a:pt x="165" y="282"/>
                </a:cubicBezTo>
                <a:cubicBezTo>
                  <a:pt x="89" y="292"/>
                  <a:pt x="20" y="239"/>
                  <a:pt x="10" y="16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defTabSz="957756"/>
            <a:endParaRPr lang="fr-FR" sz="1400" kern="0" dirty="0">
              <a:solidFill>
                <a:srgbClr val="263147"/>
              </a:solidFill>
              <a:latin typeface="Verdana"/>
            </a:endParaRPr>
          </a:p>
        </p:txBody>
      </p:sp>
      <p:sp>
        <p:nvSpPr>
          <p:cNvPr id="19" name="Freeform 22">
            <a:extLst>
              <a:ext uri="{FF2B5EF4-FFF2-40B4-BE49-F238E27FC236}">
                <a16:creationId xmlns:a16="http://schemas.microsoft.com/office/drawing/2014/main" id="{E66CD7CE-2174-4A74-8962-449044FF8359}"/>
              </a:ext>
            </a:extLst>
          </p:cNvPr>
          <p:cNvSpPr>
            <a:spLocks/>
          </p:cNvSpPr>
          <p:nvPr/>
        </p:nvSpPr>
        <p:spPr bwMode="auto">
          <a:xfrm rot="19589649">
            <a:off x="3352317" y="4645400"/>
            <a:ext cx="531911" cy="598140"/>
          </a:xfrm>
          <a:custGeom>
            <a:avLst/>
            <a:gdLst>
              <a:gd name="T0" fmla="*/ 30 w 239"/>
              <a:gd name="T1" fmla="*/ 175 h 258"/>
              <a:gd name="T2" fmla="*/ 148 w 239"/>
              <a:gd name="T3" fmla="*/ 21 h 258"/>
              <a:gd name="T4" fmla="*/ 239 w 239"/>
              <a:gd name="T5" fmla="*/ 41 h 258"/>
              <a:gd name="T6" fmla="*/ 128 w 239"/>
              <a:gd name="T7" fmla="*/ 6 h 258"/>
              <a:gd name="T8" fmla="*/ 10 w 239"/>
              <a:gd name="T9" fmla="*/ 160 h 258"/>
              <a:gd name="T10" fmla="*/ 73 w 239"/>
              <a:gd name="T11" fmla="*/ 258 h 258"/>
              <a:gd name="T12" fmla="*/ 30 w 239"/>
              <a:gd name="T13" fmla="*/ 175 h 258"/>
            </a:gdLst>
            <a:ahLst/>
            <a:cxnLst>
              <a:cxn ang="0">
                <a:pos x="T0" y="T1"/>
              </a:cxn>
              <a:cxn ang="0">
                <a:pos x="T2" y="T3"/>
              </a:cxn>
              <a:cxn ang="0">
                <a:pos x="T4" y="T5"/>
              </a:cxn>
              <a:cxn ang="0">
                <a:pos x="T6" y="T7"/>
              </a:cxn>
              <a:cxn ang="0">
                <a:pos x="T8" y="T9"/>
              </a:cxn>
              <a:cxn ang="0">
                <a:pos x="T10" y="T11"/>
              </a:cxn>
              <a:cxn ang="0">
                <a:pos x="T12" y="T13"/>
              </a:cxn>
            </a:cxnLst>
            <a:rect l="0" t="0" r="r" b="b"/>
            <a:pathLst>
              <a:path w="239" h="258">
                <a:moveTo>
                  <a:pt x="30" y="175"/>
                </a:moveTo>
                <a:cubicBezTo>
                  <a:pt x="20" y="100"/>
                  <a:pt x="72" y="31"/>
                  <a:pt x="148" y="21"/>
                </a:cubicBezTo>
                <a:cubicBezTo>
                  <a:pt x="181" y="16"/>
                  <a:pt x="213" y="24"/>
                  <a:pt x="239" y="41"/>
                </a:cubicBezTo>
                <a:cubicBezTo>
                  <a:pt x="210" y="14"/>
                  <a:pt x="170" y="0"/>
                  <a:pt x="128" y="6"/>
                </a:cubicBezTo>
                <a:cubicBezTo>
                  <a:pt x="53" y="16"/>
                  <a:pt x="0" y="85"/>
                  <a:pt x="10" y="160"/>
                </a:cubicBezTo>
                <a:cubicBezTo>
                  <a:pt x="16" y="202"/>
                  <a:pt x="40" y="237"/>
                  <a:pt x="73" y="258"/>
                </a:cubicBezTo>
                <a:cubicBezTo>
                  <a:pt x="50" y="237"/>
                  <a:pt x="34" y="208"/>
                  <a:pt x="30" y="175"/>
                </a:cubicBezTo>
                <a:close/>
              </a:path>
            </a:pathLst>
          </a:custGeom>
          <a:solidFill>
            <a:schemeClr val="accent3">
              <a:lumMod val="90000"/>
              <a:lumOff val="10000"/>
            </a:schemeClr>
          </a:solidFill>
          <a:ln>
            <a:noFill/>
          </a:ln>
        </p:spPr>
        <p:txBody>
          <a:bodyPr vert="horz" wrap="square" lIns="91440" tIns="45720" rIns="91440" bIns="45720" numCol="1" anchor="t" anchorCtr="0" compatLnSpc="1">
            <a:prstTxWarp prst="textNoShape">
              <a:avLst/>
            </a:prstTxWarp>
          </a:bodyPr>
          <a:lstStyle/>
          <a:p>
            <a:pPr defTabSz="957756"/>
            <a:endParaRPr lang="fr-FR" sz="1400" kern="0" dirty="0">
              <a:solidFill>
                <a:srgbClr val="263147"/>
              </a:solidFill>
              <a:latin typeface="Verdana"/>
            </a:endParaRPr>
          </a:p>
        </p:txBody>
      </p:sp>
      <p:sp>
        <p:nvSpPr>
          <p:cNvPr id="20" name="Freeform 24">
            <a:extLst>
              <a:ext uri="{FF2B5EF4-FFF2-40B4-BE49-F238E27FC236}">
                <a16:creationId xmlns:a16="http://schemas.microsoft.com/office/drawing/2014/main" id="{397507F0-14D4-4CB0-AB49-AA607910419E}"/>
              </a:ext>
            </a:extLst>
          </p:cNvPr>
          <p:cNvSpPr>
            <a:spLocks/>
          </p:cNvSpPr>
          <p:nvPr/>
        </p:nvSpPr>
        <p:spPr bwMode="auto">
          <a:xfrm rot="19589649">
            <a:off x="3425927" y="4488035"/>
            <a:ext cx="789620" cy="867195"/>
          </a:xfrm>
          <a:custGeom>
            <a:avLst/>
            <a:gdLst>
              <a:gd name="T0" fmla="*/ 318 w 354"/>
              <a:gd name="T1" fmla="*/ 113 h 374"/>
              <a:gd name="T2" fmla="*/ 318 w 354"/>
              <a:gd name="T3" fmla="*/ 114 h 374"/>
              <a:gd name="T4" fmla="*/ 318 w 354"/>
              <a:gd name="T5" fmla="*/ 114 h 374"/>
              <a:gd name="T6" fmla="*/ 319 w 354"/>
              <a:gd name="T7" fmla="*/ 116 h 374"/>
              <a:gd name="T8" fmla="*/ 319 w 354"/>
              <a:gd name="T9" fmla="*/ 117 h 374"/>
              <a:gd name="T10" fmla="*/ 319 w 354"/>
              <a:gd name="T11" fmla="*/ 117 h 374"/>
              <a:gd name="T12" fmla="*/ 319 w 354"/>
              <a:gd name="T13" fmla="*/ 118 h 374"/>
              <a:gd name="T14" fmla="*/ 319 w 354"/>
              <a:gd name="T15" fmla="*/ 118 h 374"/>
              <a:gd name="T16" fmla="*/ 319 w 354"/>
              <a:gd name="T17" fmla="*/ 119 h 374"/>
              <a:gd name="T18" fmla="*/ 319 w 354"/>
              <a:gd name="T19" fmla="*/ 120 h 374"/>
              <a:gd name="T20" fmla="*/ 319 w 354"/>
              <a:gd name="T21" fmla="*/ 120 h 374"/>
              <a:gd name="T22" fmla="*/ 320 w 354"/>
              <a:gd name="T23" fmla="*/ 121 h 374"/>
              <a:gd name="T24" fmla="*/ 320 w 354"/>
              <a:gd name="T25" fmla="*/ 121 h 374"/>
              <a:gd name="T26" fmla="*/ 320 w 354"/>
              <a:gd name="T27" fmla="*/ 122 h 374"/>
              <a:gd name="T28" fmla="*/ 320 w 354"/>
              <a:gd name="T29" fmla="*/ 122 h 374"/>
              <a:gd name="T30" fmla="*/ 320 w 354"/>
              <a:gd name="T31" fmla="*/ 123 h 374"/>
              <a:gd name="T32" fmla="*/ 320 w 354"/>
              <a:gd name="T33" fmla="*/ 123 h 374"/>
              <a:gd name="T34" fmla="*/ 320 w 354"/>
              <a:gd name="T35" fmla="*/ 124 h 374"/>
              <a:gd name="T36" fmla="*/ 320 w 354"/>
              <a:gd name="T37" fmla="*/ 124 h 374"/>
              <a:gd name="T38" fmla="*/ 320 w 354"/>
              <a:gd name="T39" fmla="*/ 125 h 374"/>
              <a:gd name="T40" fmla="*/ 320 w 354"/>
              <a:gd name="T41" fmla="*/ 125 h 374"/>
              <a:gd name="T42" fmla="*/ 320 w 354"/>
              <a:gd name="T43" fmla="*/ 125 h 374"/>
              <a:gd name="T44" fmla="*/ 321 w 354"/>
              <a:gd name="T45" fmla="*/ 126 h 374"/>
              <a:gd name="T46" fmla="*/ 321 w 354"/>
              <a:gd name="T47" fmla="*/ 126 h 374"/>
              <a:gd name="T48" fmla="*/ 321 w 354"/>
              <a:gd name="T49" fmla="*/ 127 h 374"/>
              <a:gd name="T50" fmla="*/ 321 w 354"/>
              <a:gd name="T51" fmla="*/ 127 h 374"/>
              <a:gd name="T52" fmla="*/ 321 w 354"/>
              <a:gd name="T53" fmla="*/ 128 h 374"/>
              <a:gd name="T54" fmla="*/ 321 w 354"/>
              <a:gd name="T55" fmla="*/ 128 h 374"/>
              <a:gd name="T56" fmla="*/ 321 w 354"/>
              <a:gd name="T57" fmla="*/ 129 h 374"/>
              <a:gd name="T58" fmla="*/ 321 w 354"/>
              <a:gd name="T59" fmla="*/ 130 h 374"/>
              <a:gd name="T60" fmla="*/ 321 w 354"/>
              <a:gd name="T61" fmla="*/ 130 h 374"/>
              <a:gd name="T62" fmla="*/ 321 w 354"/>
              <a:gd name="T63" fmla="*/ 131 h 374"/>
              <a:gd name="T64" fmla="*/ 321 w 354"/>
              <a:gd name="T65" fmla="*/ 131 h 374"/>
              <a:gd name="T66" fmla="*/ 321 w 354"/>
              <a:gd name="T67" fmla="*/ 132 h 374"/>
              <a:gd name="T68" fmla="*/ 321 w 354"/>
              <a:gd name="T69" fmla="*/ 132 h 374"/>
              <a:gd name="T70" fmla="*/ 322 w 354"/>
              <a:gd name="T71" fmla="*/ 132 h 374"/>
              <a:gd name="T72" fmla="*/ 323 w 354"/>
              <a:gd name="T73" fmla="*/ 160 h 374"/>
              <a:gd name="T74" fmla="*/ 93 w 354"/>
              <a:gd name="T75" fmla="*/ 359 h 374"/>
              <a:gd name="T76" fmla="*/ 93 w 354"/>
              <a:gd name="T77" fmla="*/ 359 h 374"/>
              <a:gd name="T78" fmla="*/ 92 w 354"/>
              <a:gd name="T79" fmla="*/ 359 h 374"/>
              <a:gd name="T80" fmla="*/ 92 w 354"/>
              <a:gd name="T81" fmla="*/ 359 h 374"/>
              <a:gd name="T82" fmla="*/ 91 w 354"/>
              <a:gd name="T83" fmla="*/ 359 h 374"/>
              <a:gd name="T84" fmla="*/ 0 w 354"/>
              <a:gd name="T85" fmla="*/ 320 h 374"/>
              <a:gd name="T86" fmla="*/ 339 w 354"/>
              <a:gd name="T87" fmla="*/ 14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4" h="374">
                <a:moveTo>
                  <a:pt x="244" y="0"/>
                </a:moveTo>
                <a:cubicBezTo>
                  <a:pt x="280" y="27"/>
                  <a:pt x="307" y="67"/>
                  <a:pt x="318" y="113"/>
                </a:cubicBezTo>
                <a:cubicBezTo>
                  <a:pt x="318" y="113"/>
                  <a:pt x="318" y="113"/>
                  <a:pt x="318" y="113"/>
                </a:cubicBezTo>
                <a:cubicBezTo>
                  <a:pt x="318" y="113"/>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5"/>
                  <a:pt x="318" y="116"/>
                  <a:pt x="319" y="116"/>
                </a:cubicBezTo>
                <a:cubicBezTo>
                  <a:pt x="319" y="116"/>
                  <a:pt x="319" y="116"/>
                  <a:pt x="319" y="116"/>
                </a:cubicBezTo>
                <a:cubicBezTo>
                  <a:pt x="319" y="116"/>
                  <a:pt x="319" y="116"/>
                  <a:pt x="319" y="116"/>
                </a:cubicBezTo>
                <a:cubicBezTo>
                  <a:pt x="319" y="116"/>
                  <a:pt x="319" y="116"/>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9"/>
                  <a:pt x="319" y="119"/>
                  <a:pt x="319" y="119"/>
                </a:cubicBezTo>
                <a:cubicBezTo>
                  <a:pt x="319" y="119"/>
                  <a:pt x="319" y="119"/>
                  <a:pt x="319" y="119"/>
                </a:cubicBezTo>
                <a:cubicBezTo>
                  <a:pt x="319" y="119"/>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20" y="120"/>
                  <a:pt x="320" y="120"/>
                </a:cubicBezTo>
                <a:cubicBezTo>
                  <a:pt x="320" y="120"/>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6"/>
                  <a:pt x="320" y="126"/>
                  <a:pt x="320" y="126"/>
                </a:cubicBezTo>
                <a:cubicBezTo>
                  <a:pt x="320" y="126"/>
                  <a:pt x="320" y="126"/>
                  <a:pt x="320" y="126"/>
                </a:cubicBezTo>
                <a:cubicBezTo>
                  <a:pt x="321" y="126"/>
                  <a:pt x="321" y="126"/>
                  <a:pt x="321" y="126"/>
                </a:cubicBezTo>
                <a:cubicBezTo>
                  <a:pt x="321" y="126"/>
                  <a:pt x="321" y="126"/>
                  <a:pt x="321" y="126"/>
                </a:cubicBezTo>
                <a:cubicBezTo>
                  <a:pt x="321" y="126"/>
                  <a:pt x="321" y="126"/>
                  <a:pt x="321" y="126"/>
                </a:cubicBezTo>
                <a:cubicBezTo>
                  <a:pt x="321" y="126"/>
                  <a:pt x="321" y="126"/>
                  <a:pt x="321" y="126"/>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9"/>
                </a:cubicBezTo>
                <a:cubicBezTo>
                  <a:pt x="321" y="129"/>
                  <a:pt x="321" y="129"/>
                  <a:pt x="321" y="129"/>
                </a:cubicBezTo>
                <a:cubicBezTo>
                  <a:pt x="321" y="129"/>
                  <a:pt x="321" y="129"/>
                  <a:pt x="321" y="129"/>
                </a:cubicBezTo>
                <a:cubicBezTo>
                  <a:pt x="321" y="129"/>
                  <a:pt x="321" y="129"/>
                  <a:pt x="321" y="129"/>
                </a:cubicBezTo>
                <a:cubicBezTo>
                  <a:pt x="321" y="129"/>
                  <a:pt x="321" y="129"/>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2"/>
                  <a:pt x="321" y="132"/>
                </a:cubicBezTo>
                <a:cubicBezTo>
                  <a:pt x="321" y="132"/>
                  <a:pt x="321" y="132"/>
                  <a:pt x="321" y="132"/>
                </a:cubicBezTo>
                <a:cubicBezTo>
                  <a:pt x="321" y="132"/>
                  <a:pt x="321" y="132"/>
                  <a:pt x="321" y="132"/>
                </a:cubicBezTo>
                <a:cubicBezTo>
                  <a:pt x="321" y="132"/>
                  <a:pt x="321" y="132"/>
                  <a:pt x="321" y="132"/>
                </a:cubicBezTo>
                <a:cubicBezTo>
                  <a:pt x="321" y="132"/>
                  <a:pt x="321" y="132"/>
                  <a:pt x="321" y="132"/>
                </a:cubicBezTo>
                <a:cubicBezTo>
                  <a:pt x="321" y="132"/>
                  <a:pt x="322" y="132"/>
                  <a:pt x="322" y="132"/>
                </a:cubicBezTo>
                <a:cubicBezTo>
                  <a:pt x="322" y="132"/>
                  <a:pt x="322" y="132"/>
                  <a:pt x="322" y="132"/>
                </a:cubicBezTo>
                <a:cubicBezTo>
                  <a:pt x="322" y="133"/>
                  <a:pt x="322" y="133"/>
                  <a:pt x="322" y="133"/>
                </a:cubicBezTo>
                <a:cubicBezTo>
                  <a:pt x="322" y="133"/>
                  <a:pt x="322" y="133"/>
                  <a:pt x="322" y="133"/>
                </a:cubicBezTo>
                <a:cubicBezTo>
                  <a:pt x="323" y="142"/>
                  <a:pt x="323" y="151"/>
                  <a:pt x="323" y="160"/>
                </a:cubicBezTo>
                <a:cubicBezTo>
                  <a:pt x="323" y="259"/>
                  <a:pt x="250" y="345"/>
                  <a:pt x="149" y="359"/>
                </a:cubicBezTo>
                <a:cubicBezTo>
                  <a:pt x="140" y="360"/>
                  <a:pt x="131" y="361"/>
                  <a:pt x="122" y="361"/>
                </a:cubicBezTo>
                <a:cubicBezTo>
                  <a:pt x="112" y="361"/>
                  <a:pt x="102" y="360"/>
                  <a:pt x="93" y="359"/>
                </a:cubicBezTo>
                <a:cubicBezTo>
                  <a:pt x="93" y="359"/>
                  <a:pt x="93" y="359"/>
                  <a:pt x="93" y="359"/>
                </a:cubicBezTo>
                <a:cubicBezTo>
                  <a:pt x="93" y="359"/>
                  <a:pt x="93" y="359"/>
                  <a:pt x="93" y="359"/>
                </a:cubicBezTo>
                <a:cubicBezTo>
                  <a:pt x="93" y="359"/>
                  <a:pt x="93" y="359"/>
                  <a:pt x="93"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1" y="359"/>
                  <a:pt x="91" y="359"/>
                </a:cubicBezTo>
                <a:cubicBezTo>
                  <a:pt x="91" y="359"/>
                  <a:pt x="91" y="359"/>
                  <a:pt x="91" y="359"/>
                </a:cubicBezTo>
                <a:cubicBezTo>
                  <a:pt x="91" y="359"/>
                  <a:pt x="91" y="359"/>
                  <a:pt x="91" y="359"/>
                </a:cubicBezTo>
                <a:cubicBezTo>
                  <a:pt x="91" y="359"/>
                  <a:pt x="91" y="359"/>
                  <a:pt x="91" y="359"/>
                </a:cubicBezTo>
                <a:cubicBezTo>
                  <a:pt x="58" y="353"/>
                  <a:pt x="27" y="340"/>
                  <a:pt x="0" y="320"/>
                </a:cubicBezTo>
                <a:cubicBezTo>
                  <a:pt x="37" y="354"/>
                  <a:pt x="86" y="374"/>
                  <a:pt x="138" y="374"/>
                </a:cubicBezTo>
                <a:cubicBezTo>
                  <a:pt x="147" y="374"/>
                  <a:pt x="156" y="374"/>
                  <a:pt x="165" y="372"/>
                </a:cubicBezTo>
                <a:cubicBezTo>
                  <a:pt x="276" y="357"/>
                  <a:pt x="354" y="256"/>
                  <a:pt x="339" y="145"/>
                </a:cubicBezTo>
                <a:cubicBezTo>
                  <a:pt x="330" y="82"/>
                  <a:pt x="294" y="30"/>
                  <a:pt x="244" y="0"/>
                </a:cubicBezTo>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1" name="Freeform 25">
            <a:extLst>
              <a:ext uri="{FF2B5EF4-FFF2-40B4-BE49-F238E27FC236}">
                <a16:creationId xmlns:a16="http://schemas.microsoft.com/office/drawing/2014/main" id="{29292508-1C99-468D-AB56-1A4450A6DFD2}"/>
              </a:ext>
            </a:extLst>
          </p:cNvPr>
          <p:cNvSpPr>
            <a:spLocks noEditPoints="1"/>
          </p:cNvSpPr>
          <p:nvPr/>
        </p:nvSpPr>
        <p:spPr bwMode="auto">
          <a:xfrm rot="19589649">
            <a:off x="3681774" y="4693362"/>
            <a:ext cx="517479" cy="575630"/>
          </a:xfrm>
          <a:custGeom>
            <a:avLst/>
            <a:gdLst>
              <a:gd name="T0" fmla="*/ 2 w 232"/>
              <a:gd name="T1" fmla="*/ 246 h 248"/>
              <a:gd name="T2" fmla="*/ 1 w 232"/>
              <a:gd name="T3" fmla="*/ 246 h 248"/>
              <a:gd name="T4" fmla="*/ 1 w 232"/>
              <a:gd name="T5" fmla="*/ 246 h 248"/>
              <a:gd name="T6" fmla="*/ 1 w 232"/>
              <a:gd name="T7" fmla="*/ 246 h 248"/>
              <a:gd name="T8" fmla="*/ 1 w 232"/>
              <a:gd name="T9" fmla="*/ 246 h 248"/>
              <a:gd name="T10" fmla="*/ 0 w 232"/>
              <a:gd name="T11" fmla="*/ 246 h 248"/>
              <a:gd name="T12" fmla="*/ 0 w 232"/>
              <a:gd name="T13" fmla="*/ 246 h 248"/>
              <a:gd name="T14" fmla="*/ 31 w 232"/>
              <a:gd name="T15" fmla="*/ 248 h 248"/>
              <a:gd name="T16" fmla="*/ 58 w 232"/>
              <a:gd name="T17" fmla="*/ 246 h 248"/>
              <a:gd name="T18" fmla="*/ 231 w 232"/>
              <a:gd name="T19" fmla="*/ 20 h 248"/>
              <a:gd name="T20" fmla="*/ 231 w 232"/>
              <a:gd name="T21" fmla="*/ 19 h 248"/>
              <a:gd name="T22" fmla="*/ 230 w 232"/>
              <a:gd name="T23" fmla="*/ 19 h 248"/>
              <a:gd name="T24" fmla="*/ 230 w 232"/>
              <a:gd name="T25" fmla="*/ 19 h 248"/>
              <a:gd name="T26" fmla="*/ 230 w 232"/>
              <a:gd name="T27" fmla="*/ 18 h 248"/>
              <a:gd name="T28" fmla="*/ 230 w 232"/>
              <a:gd name="T29" fmla="*/ 18 h 248"/>
              <a:gd name="T30" fmla="*/ 230 w 232"/>
              <a:gd name="T31" fmla="*/ 18 h 248"/>
              <a:gd name="T32" fmla="*/ 230 w 232"/>
              <a:gd name="T33" fmla="*/ 17 h 248"/>
              <a:gd name="T34" fmla="*/ 230 w 232"/>
              <a:gd name="T35" fmla="*/ 17 h 248"/>
              <a:gd name="T36" fmla="*/ 230 w 232"/>
              <a:gd name="T37" fmla="*/ 17 h 248"/>
              <a:gd name="T38" fmla="*/ 230 w 232"/>
              <a:gd name="T39" fmla="*/ 17 h 248"/>
              <a:gd name="T40" fmla="*/ 230 w 232"/>
              <a:gd name="T41" fmla="*/ 16 h 248"/>
              <a:gd name="T42" fmla="*/ 230 w 232"/>
              <a:gd name="T43" fmla="*/ 16 h 248"/>
              <a:gd name="T44" fmla="*/ 230 w 232"/>
              <a:gd name="T45" fmla="*/ 15 h 248"/>
              <a:gd name="T46" fmla="*/ 230 w 232"/>
              <a:gd name="T47" fmla="*/ 15 h 248"/>
              <a:gd name="T48" fmla="*/ 230 w 232"/>
              <a:gd name="T49" fmla="*/ 15 h 248"/>
              <a:gd name="T50" fmla="*/ 230 w 232"/>
              <a:gd name="T51" fmla="*/ 14 h 248"/>
              <a:gd name="T52" fmla="*/ 230 w 232"/>
              <a:gd name="T53" fmla="*/ 14 h 248"/>
              <a:gd name="T54" fmla="*/ 230 w 232"/>
              <a:gd name="T55" fmla="*/ 14 h 248"/>
              <a:gd name="T56" fmla="*/ 230 w 232"/>
              <a:gd name="T57" fmla="*/ 13 h 248"/>
              <a:gd name="T58" fmla="*/ 230 w 232"/>
              <a:gd name="T59" fmla="*/ 13 h 248"/>
              <a:gd name="T60" fmla="*/ 229 w 232"/>
              <a:gd name="T61" fmla="*/ 13 h 248"/>
              <a:gd name="T62" fmla="*/ 229 w 232"/>
              <a:gd name="T63" fmla="*/ 12 h 248"/>
              <a:gd name="T64" fmla="*/ 229 w 232"/>
              <a:gd name="T65" fmla="*/ 12 h 248"/>
              <a:gd name="T66" fmla="*/ 229 w 232"/>
              <a:gd name="T67" fmla="*/ 12 h 248"/>
              <a:gd name="T68" fmla="*/ 229 w 232"/>
              <a:gd name="T69" fmla="*/ 11 h 248"/>
              <a:gd name="T70" fmla="*/ 229 w 232"/>
              <a:gd name="T71" fmla="*/ 11 h 248"/>
              <a:gd name="T72" fmla="*/ 229 w 232"/>
              <a:gd name="T73" fmla="*/ 11 h 248"/>
              <a:gd name="T74" fmla="*/ 229 w 232"/>
              <a:gd name="T75" fmla="*/ 10 h 248"/>
              <a:gd name="T76" fmla="*/ 229 w 232"/>
              <a:gd name="T77" fmla="*/ 10 h 248"/>
              <a:gd name="T78" fmla="*/ 229 w 232"/>
              <a:gd name="T79" fmla="*/ 10 h 248"/>
              <a:gd name="T80" fmla="*/ 229 w 232"/>
              <a:gd name="T81" fmla="*/ 10 h 248"/>
              <a:gd name="T82" fmla="*/ 229 w 232"/>
              <a:gd name="T83" fmla="*/ 9 h 248"/>
              <a:gd name="T84" fmla="*/ 229 w 232"/>
              <a:gd name="T85" fmla="*/ 9 h 248"/>
              <a:gd name="T86" fmla="*/ 229 w 232"/>
              <a:gd name="T87" fmla="*/ 8 h 248"/>
              <a:gd name="T88" fmla="*/ 229 w 232"/>
              <a:gd name="T89" fmla="*/ 8 h 248"/>
              <a:gd name="T90" fmla="*/ 229 w 232"/>
              <a:gd name="T91" fmla="*/ 8 h 248"/>
              <a:gd name="T92" fmla="*/ 229 w 232"/>
              <a:gd name="T93" fmla="*/ 8 h 248"/>
              <a:gd name="T94" fmla="*/ 228 w 232"/>
              <a:gd name="T95" fmla="*/ 7 h 248"/>
              <a:gd name="T96" fmla="*/ 228 w 232"/>
              <a:gd name="T97" fmla="*/ 7 h 248"/>
              <a:gd name="T98" fmla="*/ 228 w 232"/>
              <a:gd name="T99" fmla="*/ 7 h 248"/>
              <a:gd name="T100" fmla="*/ 228 w 232"/>
              <a:gd name="T101" fmla="*/ 6 h 248"/>
              <a:gd name="T102" fmla="*/ 228 w 232"/>
              <a:gd name="T103" fmla="*/ 5 h 248"/>
              <a:gd name="T104" fmla="*/ 228 w 232"/>
              <a:gd name="T105" fmla="*/ 5 h 248"/>
              <a:gd name="T106" fmla="*/ 228 w 232"/>
              <a:gd name="T107" fmla="*/ 5 h 248"/>
              <a:gd name="T108" fmla="*/ 228 w 232"/>
              <a:gd name="T109" fmla="*/ 4 h 248"/>
              <a:gd name="T110" fmla="*/ 228 w 232"/>
              <a:gd name="T111" fmla="*/ 4 h 248"/>
              <a:gd name="T112" fmla="*/ 228 w 232"/>
              <a:gd name="T113" fmla="*/ 4 h 248"/>
              <a:gd name="T114" fmla="*/ 228 w 232"/>
              <a:gd name="T115" fmla="*/ 4 h 248"/>
              <a:gd name="T116" fmla="*/ 228 w 232"/>
              <a:gd name="T117" fmla="*/ 3 h 248"/>
              <a:gd name="T118" fmla="*/ 227 w 232"/>
              <a:gd name="T119" fmla="*/ 1 h 248"/>
              <a:gd name="T120" fmla="*/ 227 w 232"/>
              <a:gd name="T121" fmla="*/ 1 h 248"/>
              <a:gd name="T122" fmla="*/ 227 w 232"/>
              <a:gd name="T123" fmla="*/ 1 h 248"/>
              <a:gd name="T124" fmla="*/ 227 w 232"/>
              <a:gd name="T12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248">
                <a:moveTo>
                  <a:pt x="2" y="246"/>
                </a:moveTo>
                <a:cubicBezTo>
                  <a:pt x="2" y="246"/>
                  <a:pt x="2" y="246"/>
                  <a:pt x="2" y="246"/>
                </a:cubicBezTo>
                <a:cubicBezTo>
                  <a:pt x="2" y="246"/>
                  <a:pt x="2" y="246"/>
                  <a:pt x="2" y="246"/>
                </a:cubicBezTo>
                <a:moveTo>
                  <a:pt x="1" y="246"/>
                </a:moveTo>
                <a:cubicBezTo>
                  <a:pt x="1" y="246"/>
                  <a:pt x="1" y="246"/>
                  <a:pt x="2"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0" y="246"/>
                </a:moveTo>
                <a:cubicBezTo>
                  <a:pt x="0" y="246"/>
                  <a:pt x="0" y="246"/>
                  <a:pt x="0" y="246"/>
                </a:cubicBezTo>
                <a:cubicBezTo>
                  <a:pt x="0" y="246"/>
                  <a:pt x="0" y="246"/>
                  <a:pt x="0" y="246"/>
                </a:cubicBezTo>
                <a:moveTo>
                  <a:pt x="0" y="246"/>
                </a:moveTo>
                <a:cubicBezTo>
                  <a:pt x="0" y="246"/>
                  <a:pt x="0" y="246"/>
                  <a:pt x="0" y="246"/>
                </a:cubicBezTo>
                <a:cubicBezTo>
                  <a:pt x="0" y="246"/>
                  <a:pt x="0" y="246"/>
                  <a:pt x="0" y="246"/>
                </a:cubicBezTo>
                <a:moveTo>
                  <a:pt x="232" y="47"/>
                </a:moveTo>
                <a:cubicBezTo>
                  <a:pt x="232" y="146"/>
                  <a:pt x="159" y="232"/>
                  <a:pt x="58" y="246"/>
                </a:cubicBezTo>
                <a:cubicBezTo>
                  <a:pt x="49" y="247"/>
                  <a:pt x="40" y="248"/>
                  <a:pt x="31" y="248"/>
                </a:cubicBezTo>
                <a:cubicBezTo>
                  <a:pt x="21" y="248"/>
                  <a:pt x="11" y="247"/>
                  <a:pt x="2" y="246"/>
                </a:cubicBezTo>
                <a:cubicBezTo>
                  <a:pt x="11" y="247"/>
                  <a:pt x="21" y="248"/>
                  <a:pt x="31" y="248"/>
                </a:cubicBezTo>
                <a:cubicBezTo>
                  <a:pt x="40" y="248"/>
                  <a:pt x="49" y="247"/>
                  <a:pt x="58" y="246"/>
                </a:cubicBezTo>
                <a:cubicBezTo>
                  <a:pt x="159" y="232"/>
                  <a:pt x="232" y="146"/>
                  <a:pt x="232" y="47"/>
                </a:cubicBezTo>
                <a:moveTo>
                  <a:pt x="231" y="19"/>
                </a:moveTo>
                <a:cubicBezTo>
                  <a:pt x="231" y="20"/>
                  <a:pt x="231" y="20"/>
                  <a:pt x="231" y="20"/>
                </a:cubicBezTo>
                <a:cubicBezTo>
                  <a:pt x="231" y="20"/>
                  <a:pt x="231" y="20"/>
                  <a:pt x="231" y="19"/>
                </a:cubicBezTo>
                <a:moveTo>
                  <a:pt x="230" y="19"/>
                </a:moveTo>
                <a:cubicBezTo>
                  <a:pt x="230" y="19"/>
                  <a:pt x="231" y="19"/>
                  <a:pt x="231" y="19"/>
                </a:cubicBezTo>
                <a:cubicBezTo>
                  <a:pt x="231" y="19"/>
                  <a:pt x="230" y="19"/>
                  <a:pt x="230" y="19"/>
                </a:cubicBezTo>
                <a:moveTo>
                  <a:pt x="230" y="19"/>
                </a:moveTo>
                <a:cubicBezTo>
                  <a:pt x="230" y="19"/>
                  <a:pt x="230" y="19"/>
                  <a:pt x="230" y="19"/>
                </a:cubicBezTo>
                <a:cubicBezTo>
                  <a:pt x="230" y="19"/>
                  <a:pt x="230" y="19"/>
                  <a:pt x="230" y="19"/>
                </a:cubicBezTo>
                <a:moveTo>
                  <a:pt x="230" y="19"/>
                </a:moveTo>
                <a:cubicBezTo>
                  <a:pt x="230" y="19"/>
                  <a:pt x="230" y="19"/>
                  <a:pt x="230" y="19"/>
                </a:cubicBezTo>
                <a:cubicBezTo>
                  <a:pt x="230" y="19"/>
                  <a:pt x="230" y="19"/>
                  <a:pt x="230" y="19"/>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6"/>
                </a:moveTo>
                <a:cubicBezTo>
                  <a:pt x="230" y="16"/>
                  <a:pt x="230" y="16"/>
                  <a:pt x="230" y="17"/>
                </a:cubicBezTo>
                <a:cubicBezTo>
                  <a:pt x="230" y="16"/>
                  <a:pt x="230" y="16"/>
                  <a:pt x="230" y="16"/>
                </a:cubicBezTo>
                <a:moveTo>
                  <a:pt x="230" y="16"/>
                </a:moveTo>
                <a:cubicBezTo>
                  <a:pt x="230" y="16"/>
                  <a:pt x="230" y="16"/>
                  <a:pt x="230" y="16"/>
                </a:cubicBezTo>
                <a:cubicBezTo>
                  <a:pt x="230" y="16"/>
                  <a:pt x="230" y="16"/>
                  <a:pt x="230" y="16"/>
                </a:cubicBezTo>
                <a:moveTo>
                  <a:pt x="230" y="15"/>
                </a:moveTo>
                <a:cubicBezTo>
                  <a:pt x="230" y="15"/>
                  <a:pt x="230" y="15"/>
                  <a:pt x="230" y="16"/>
                </a:cubicBezTo>
                <a:cubicBezTo>
                  <a:pt x="230" y="15"/>
                  <a:pt x="230" y="15"/>
                  <a:pt x="230" y="15"/>
                </a:cubicBezTo>
                <a:moveTo>
                  <a:pt x="230" y="15"/>
                </a:moveTo>
                <a:cubicBezTo>
                  <a:pt x="230" y="15"/>
                  <a:pt x="230" y="15"/>
                  <a:pt x="230" y="15"/>
                </a:cubicBezTo>
                <a:cubicBezTo>
                  <a:pt x="230" y="15"/>
                  <a:pt x="230" y="15"/>
                  <a:pt x="230" y="15"/>
                </a:cubicBezTo>
                <a:moveTo>
                  <a:pt x="230" y="15"/>
                </a:moveTo>
                <a:cubicBezTo>
                  <a:pt x="230" y="15"/>
                  <a:pt x="230" y="15"/>
                  <a:pt x="230" y="15"/>
                </a:cubicBezTo>
                <a:cubicBezTo>
                  <a:pt x="230" y="15"/>
                  <a:pt x="230" y="15"/>
                  <a:pt x="230" y="15"/>
                </a:cubicBezTo>
                <a:moveTo>
                  <a:pt x="230" y="14"/>
                </a:moveTo>
                <a:cubicBezTo>
                  <a:pt x="230" y="14"/>
                  <a:pt x="230" y="15"/>
                  <a:pt x="230" y="15"/>
                </a:cubicBezTo>
                <a:cubicBezTo>
                  <a:pt x="230" y="15"/>
                  <a:pt x="230" y="14"/>
                  <a:pt x="230" y="14"/>
                </a:cubicBezTo>
                <a:moveTo>
                  <a:pt x="230" y="14"/>
                </a:moveTo>
                <a:cubicBezTo>
                  <a:pt x="230" y="14"/>
                  <a:pt x="230" y="14"/>
                  <a:pt x="230" y="14"/>
                </a:cubicBezTo>
                <a:cubicBezTo>
                  <a:pt x="230" y="14"/>
                  <a:pt x="230" y="14"/>
                  <a:pt x="230" y="14"/>
                </a:cubicBezTo>
                <a:moveTo>
                  <a:pt x="230" y="14"/>
                </a:moveTo>
                <a:cubicBezTo>
                  <a:pt x="230" y="14"/>
                  <a:pt x="230" y="14"/>
                  <a:pt x="230" y="14"/>
                </a:cubicBezTo>
                <a:cubicBezTo>
                  <a:pt x="230" y="14"/>
                  <a:pt x="230" y="14"/>
                  <a:pt x="230" y="14"/>
                </a:cubicBezTo>
                <a:moveTo>
                  <a:pt x="230" y="13"/>
                </a:moveTo>
                <a:cubicBezTo>
                  <a:pt x="230" y="14"/>
                  <a:pt x="230" y="14"/>
                  <a:pt x="230" y="14"/>
                </a:cubicBezTo>
                <a:cubicBezTo>
                  <a:pt x="230" y="14"/>
                  <a:pt x="230" y="14"/>
                  <a:pt x="230" y="13"/>
                </a:cubicBezTo>
                <a:moveTo>
                  <a:pt x="230" y="13"/>
                </a:moveTo>
                <a:cubicBezTo>
                  <a:pt x="230" y="13"/>
                  <a:pt x="230" y="13"/>
                  <a:pt x="230" y="13"/>
                </a:cubicBezTo>
                <a:cubicBezTo>
                  <a:pt x="230" y="13"/>
                  <a:pt x="230" y="13"/>
                  <a:pt x="230" y="13"/>
                </a:cubicBezTo>
                <a:moveTo>
                  <a:pt x="229" y="13"/>
                </a:moveTo>
                <a:cubicBezTo>
                  <a:pt x="230" y="13"/>
                  <a:pt x="230" y="13"/>
                  <a:pt x="230" y="13"/>
                </a:cubicBezTo>
                <a:cubicBezTo>
                  <a:pt x="230" y="13"/>
                  <a:pt x="230" y="13"/>
                  <a:pt x="229" y="13"/>
                </a:cubicBezTo>
                <a:moveTo>
                  <a:pt x="229" y="12"/>
                </a:moveTo>
                <a:cubicBezTo>
                  <a:pt x="229" y="13"/>
                  <a:pt x="229" y="13"/>
                  <a:pt x="229" y="13"/>
                </a:cubicBezTo>
                <a:cubicBezTo>
                  <a:pt x="229" y="13"/>
                  <a:pt x="229" y="13"/>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9"/>
                </a:moveTo>
                <a:cubicBezTo>
                  <a:pt x="229" y="9"/>
                  <a:pt x="229" y="10"/>
                  <a:pt x="229" y="10"/>
                </a:cubicBezTo>
                <a:cubicBezTo>
                  <a:pt x="229" y="10"/>
                  <a:pt x="229" y="9"/>
                  <a:pt x="229" y="9"/>
                </a:cubicBezTo>
                <a:moveTo>
                  <a:pt x="229" y="9"/>
                </a:moveTo>
                <a:cubicBezTo>
                  <a:pt x="229" y="9"/>
                  <a:pt x="229" y="9"/>
                  <a:pt x="229" y="9"/>
                </a:cubicBezTo>
                <a:cubicBezTo>
                  <a:pt x="229" y="9"/>
                  <a:pt x="229" y="9"/>
                  <a:pt x="229" y="9"/>
                </a:cubicBezTo>
                <a:moveTo>
                  <a:pt x="229" y="9"/>
                </a:moveTo>
                <a:cubicBezTo>
                  <a:pt x="229" y="9"/>
                  <a:pt x="229" y="9"/>
                  <a:pt x="229" y="9"/>
                </a:cubicBezTo>
                <a:cubicBezTo>
                  <a:pt x="229" y="9"/>
                  <a:pt x="229" y="9"/>
                  <a:pt x="229" y="9"/>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7"/>
                </a:moveTo>
                <a:cubicBezTo>
                  <a:pt x="229" y="7"/>
                  <a:pt x="229" y="8"/>
                  <a:pt x="229" y="8"/>
                </a:cubicBezTo>
                <a:cubicBezTo>
                  <a:pt x="229" y="8"/>
                  <a:pt x="229" y="7"/>
                  <a:pt x="229"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6"/>
                </a:moveTo>
                <a:cubicBezTo>
                  <a:pt x="228" y="6"/>
                  <a:pt x="228" y="6"/>
                  <a:pt x="228" y="6"/>
                </a:cubicBezTo>
                <a:cubicBezTo>
                  <a:pt x="228" y="6"/>
                  <a:pt x="228" y="6"/>
                  <a:pt x="228" y="6"/>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3"/>
                </a:moveTo>
                <a:cubicBezTo>
                  <a:pt x="228" y="3"/>
                  <a:pt x="228" y="3"/>
                  <a:pt x="228" y="4"/>
                </a:cubicBezTo>
                <a:cubicBezTo>
                  <a:pt x="228" y="3"/>
                  <a:pt x="228" y="3"/>
                  <a:pt x="228" y="3"/>
                </a:cubicBezTo>
                <a:moveTo>
                  <a:pt x="228" y="3"/>
                </a:moveTo>
                <a:cubicBezTo>
                  <a:pt x="228" y="3"/>
                  <a:pt x="228" y="3"/>
                  <a:pt x="228" y="3"/>
                </a:cubicBezTo>
                <a:cubicBezTo>
                  <a:pt x="228" y="3"/>
                  <a:pt x="228" y="3"/>
                  <a:pt x="228" y="3"/>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0"/>
                </a:moveTo>
                <a:cubicBezTo>
                  <a:pt x="227" y="0"/>
                  <a:pt x="227" y="0"/>
                  <a:pt x="227" y="0"/>
                </a:cubicBezTo>
                <a:cubicBezTo>
                  <a:pt x="227" y="0"/>
                  <a:pt x="227" y="0"/>
                  <a:pt x="227" y="0"/>
                </a:cubicBezTo>
              </a:path>
            </a:pathLst>
          </a:custGeom>
          <a:solidFill>
            <a:srgbClr val="D5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2" name="Rounded Rectangle 37">
            <a:extLst>
              <a:ext uri="{FF2B5EF4-FFF2-40B4-BE49-F238E27FC236}">
                <a16:creationId xmlns:a16="http://schemas.microsoft.com/office/drawing/2014/main" id="{07589699-CD49-4A48-8B56-D69AB7260D9E}"/>
              </a:ext>
            </a:extLst>
          </p:cNvPr>
          <p:cNvSpPr/>
          <p:nvPr/>
        </p:nvSpPr>
        <p:spPr>
          <a:xfrm>
            <a:off x="3887565" y="5586740"/>
            <a:ext cx="7187041" cy="914400"/>
          </a:xfrm>
          <a:prstGeom prst="roundRect">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lvl="0">
              <a:defRPr/>
            </a:pPr>
            <a:r>
              <a:rPr lang="en-IN" sz="1600" dirty="0">
                <a:solidFill>
                  <a:schemeClr val="tx1"/>
                </a:solidFill>
              </a:rPr>
              <a:t>Monetization, Client SDK, Developer Support</a:t>
            </a:r>
          </a:p>
        </p:txBody>
      </p:sp>
      <p:sp>
        <p:nvSpPr>
          <p:cNvPr id="23" name="Freeform 20">
            <a:extLst>
              <a:ext uri="{FF2B5EF4-FFF2-40B4-BE49-F238E27FC236}">
                <a16:creationId xmlns:a16="http://schemas.microsoft.com/office/drawing/2014/main" id="{392B91E6-14D6-4741-BC46-41845ABE41E5}"/>
              </a:ext>
            </a:extLst>
          </p:cNvPr>
          <p:cNvSpPr>
            <a:spLocks noEditPoints="1"/>
          </p:cNvSpPr>
          <p:nvPr/>
        </p:nvSpPr>
        <p:spPr bwMode="auto">
          <a:xfrm rot="19589649">
            <a:off x="3281991" y="5625032"/>
            <a:ext cx="805083" cy="836109"/>
          </a:xfrm>
          <a:custGeom>
            <a:avLst/>
            <a:gdLst>
              <a:gd name="T0" fmla="*/ 158 w 361"/>
              <a:gd name="T1" fmla="*/ 13 h 361"/>
              <a:gd name="T2" fmla="*/ 12 w 361"/>
              <a:gd name="T3" fmla="*/ 203 h 361"/>
              <a:gd name="T4" fmla="*/ 203 w 361"/>
              <a:gd name="T5" fmla="*/ 349 h 361"/>
              <a:gd name="T6" fmla="*/ 348 w 361"/>
              <a:gd name="T7" fmla="*/ 158 h 361"/>
              <a:gd name="T8" fmla="*/ 158 w 361"/>
              <a:gd name="T9" fmla="*/ 13 h 361"/>
              <a:gd name="T10" fmla="*/ 199 w 361"/>
              <a:gd name="T11" fmla="*/ 317 h 361"/>
              <a:gd name="T12" fmla="*/ 44 w 361"/>
              <a:gd name="T13" fmla="*/ 199 h 361"/>
              <a:gd name="T14" fmla="*/ 162 w 361"/>
              <a:gd name="T15" fmla="*/ 45 h 361"/>
              <a:gd name="T16" fmla="*/ 316 w 361"/>
              <a:gd name="T17" fmla="*/ 162 h 361"/>
              <a:gd name="T18" fmla="*/ 199 w 361"/>
              <a:gd name="T19" fmla="*/ 317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361">
                <a:moveTo>
                  <a:pt x="158" y="13"/>
                </a:moveTo>
                <a:cubicBezTo>
                  <a:pt x="65" y="25"/>
                  <a:pt x="0" y="111"/>
                  <a:pt x="12" y="203"/>
                </a:cubicBezTo>
                <a:cubicBezTo>
                  <a:pt x="25" y="296"/>
                  <a:pt x="110" y="361"/>
                  <a:pt x="203" y="349"/>
                </a:cubicBezTo>
                <a:cubicBezTo>
                  <a:pt x="296" y="336"/>
                  <a:pt x="361" y="251"/>
                  <a:pt x="348" y="158"/>
                </a:cubicBezTo>
                <a:cubicBezTo>
                  <a:pt x="336" y="65"/>
                  <a:pt x="250" y="0"/>
                  <a:pt x="158" y="13"/>
                </a:cubicBezTo>
                <a:close/>
                <a:moveTo>
                  <a:pt x="199" y="317"/>
                </a:moveTo>
                <a:cubicBezTo>
                  <a:pt x="123" y="327"/>
                  <a:pt x="54" y="274"/>
                  <a:pt x="44" y="199"/>
                </a:cubicBezTo>
                <a:cubicBezTo>
                  <a:pt x="34" y="124"/>
                  <a:pt x="87" y="55"/>
                  <a:pt x="162" y="45"/>
                </a:cubicBezTo>
                <a:cubicBezTo>
                  <a:pt x="237" y="35"/>
                  <a:pt x="306" y="87"/>
                  <a:pt x="316" y="162"/>
                </a:cubicBezTo>
                <a:cubicBezTo>
                  <a:pt x="326" y="237"/>
                  <a:pt x="274" y="307"/>
                  <a:pt x="199" y="317"/>
                </a:cubicBezTo>
                <a:close/>
              </a:path>
            </a:pathLst>
          </a:custGeom>
          <a:solidFill>
            <a:srgbClr val="998C85">
              <a:lumMod val="20000"/>
              <a:lumOff val="80000"/>
            </a:srgbClr>
          </a:solidFill>
          <a:ln w="6350">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4" name="Freeform 24">
            <a:extLst>
              <a:ext uri="{FF2B5EF4-FFF2-40B4-BE49-F238E27FC236}">
                <a16:creationId xmlns:a16="http://schemas.microsoft.com/office/drawing/2014/main" id="{57DB6590-FC4C-4A5E-8CCC-37B78693CE43}"/>
              </a:ext>
            </a:extLst>
          </p:cNvPr>
          <p:cNvSpPr>
            <a:spLocks/>
          </p:cNvSpPr>
          <p:nvPr/>
        </p:nvSpPr>
        <p:spPr bwMode="auto">
          <a:xfrm rot="19589649">
            <a:off x="3425927" y="5595808"/>
            <a:ext cx="789620" cy="867195"/>
          </a:xfrm>
          <a:custGeom>
            <a:avLst/>
            <a:gdLst>
              <a:gd name="T0" fmla="*/ 318 w 354"/>
              <a:gd name="T1" fmla="*/ 113 h 374"/>
              <a:gd name="T2" fmla="*/ 318 w 354"/>
              <a:gd name="T3" fmla="*/ 114 h 374"/>
              <a:gd name="T4" fmla="*/ 318 w 354"/>
              <a:gd name="T5" fmla="*/ 114 h 374"/>
              <a:gd name="T6" fmla="*/ 319 w 354"/>
              <a:gd name="T7" fmla="*/ 116 h 374"/>
              <a:gd name="T8" fmla="*/ 319 w 354"/>
              <a:gd name="T9" fmla="*/ 117 h 374"/>
              <a:gd name="T10" fmla="*/ 319 w 354"/>
              <a:gd name="T11" fmla="*/ 117 h 374"/>
              <a:gd name="T12" fmla="*/ 319 w 354"/>
              <a:gd name="T13" fmla="*/ 118 h 374"/>
              <a:gd name="T14" fmla="*/ 319 w 354"/>
              <a:gd name="T15" fmla="*/ 118 h 374"/>
              <a:gd name="T16" fmla="*/ 319 w 354"/>
              <a:gd name="T17" fmla="*/ 119 h 374"/>
              <a:gd name="T18" fmla="*/ 319 w 354"/>
              <a:gd name="T19" fmla="*/ 120 h 374"/>
              <a:gd name="T20" fmla="*/ 319 w 354"/>
              <a:gd name="T21" fmla="*/ 120 h 374"/>
              <a:gd name="T22" fmla="*/ 320 w 354"/>
              <a:gd name="T23" fmla="*/ 121 h 374"/>
              <a:gd name="T24" fmla="*/ 320 w 354"/>
              <a:gd name="T25" fmla="*/ 121 h 374"/>
              <a:gd name="T26" fmla="*/ 320 w 354"/>
              <a:gd name="T27" fmla="*/ 122 h 374"/>
              <a:gd name="T28" fmla="*/ 320 w 354"/>
              <a:gd name="T29" fmla="*/ 122 h 374"/>
              <a:gd name="T30" fmla="*/ 320 w 354"/>
              <a:gd name="T31" fmla="*/ 123 h 374"/>
              <a:gd name="T32" fmla="*/ 320 w 354"/>
              <a:gd name="T33" fmla="*/ 123 h 374"/>
              <a:gd name="T34" fmla="*/ 320 w 354"/>
              <a:gd name="T35" fmla="*/ 124 h 374"/>
              <a:gd name="T36" fmla="*/ 320 w 354"/>
              <a:gd name="T37" fmla="*/ 124 h 374"/>
              <a:gd name="T38" fmla="*/ 320 w 354"/>
              <a:gd name="T39" fmla="*/ 125 h 374"/>
              <a:gd name="T40" fmla="*/ 320 w 354"/>
              <a:gd name="T41" fmla="*/ 125 h 374"/>
              <a:gd name="T42" fmla="*/ 320 w 354"/>
              <a:gd name="T43" fmla="*/ 125 h 374"/>
              <a:gd name="T44" fmla="*/ 321 w 354"/>
              <a:gd name="T45" fmla="*/ 126 h 374"/>
              <a:gd name="T46" fmla="*/ 321 w 354"/>
              <a:gd name="T47" fmla="*/ 126 h 374"/>
              <a:gd name="T48" fmla="*/ 321 w 354"/>
              <a:gd name="T49" fmla="*/ 127 h 374"/>
              <a:gd name="T50" fmla="*/ 321 w 354"/>
              <a:gd name="T51" fmla="*/ 127 h 374"/>
              <a:gd name="T52" fmla="*/ 321 w 354"/>
              <a:gd name="T53" fmla="*/ 128 h 374"/>
              <a:gd name="T54" fmla="*/ 321 w 354"/>
              <a:gd name="T55" fmla="*/ 128 h 374"/>
              <a:gd name="T56" fmla="*/ 321 w 354"/>
              <a:gd name="T57" fmla="*/ 129 h 374"/>
              <a:gd name="T58" fmla="*/ 321 w 354"/>
              <a:gd name="T59" fmla="*/ 130 h 374"/>
              <a:gd name="T60" fmla="*/ 321 w 354"/>
              <a:gd name="T61" fmla="*/ 130 h 374"/>
              <a:gd name="T62" fmla="*/ 321 w 354"/>
              <a:gd name="T63" fmla="*/ 131 h 374"/>
              <a:gd name="T64" fmla="*/ 321 w 354"/>
              <a:gd name="T65" fmla="*/ 131 h 374"/>
              <a:gd name="T66" fmla="*/ 321 w 354"/>
              <a:gd name="T67" fmla="*/ 132 h 374"/>
              <a:gd name="T68" fmla="*/ 321 w 354"/>
              <a:gd name="T69" fmla="*/ 132 h 374"/>
              <a:gd name="T70" fmla="*/ 322 w 354"/>
              <a:gd name="T71" fmla="*/ 132 h 374"/>
              <a:gd name="T72" fmla="*/ 323 w 354"/>
              <a:gd name="T73" fmla="*/ 160 h 374"/>
              <a:gd name="T74" fmla="*/ 93 w 354"/>
              <a:gd name="T75" fmla="*/ 359 h 374"/>
              <a:gd name="T76" fmla="*/ 93 w 354"/>
              <a:gd name="T77" fmla="*/ 359 h 374"/>
              <a:gd name="T78" fmla="*/ 92 w 354"/>
              <a:gd name="T79" fmla="*/ 359 h 374"/>
              <a:gd name="T80" fmla="*/ 92 w 354"/>
              <a:gd name="T81" fmla="*/ 359 h 374"/>
              <a:gd name="T82" fmla="*/ 91 w 354"/>
              <a:gd name="T83" fmla="*/ 359 h 374"/>
              <a:gd name="T84" fmla="*/ 0 w 354"/>
              <a:gd name="T85" fmla="*/ 320 h 374"/>
              <a:gd name="T86" fmla="*/ 339 w 354"/>
              <a:gd name="T87" fmla="*/ 14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4" h="374">
                <a:moveTo>
                  <a:pt x="244" y="0"/>
                </a:moveTo>
                <a:cubicBezTo>
                  <a:pt x="280" y="27"/>
                  <a:pt x="307" y="67"/>
                  <a:pt x="318" y="113"/>
                </a:cubicBezTo>
                <a:cubicBezTo>
                  <a:pt x="318" y="113"/>
                  <a:pt x="318" y="113"/>
                  <a:pt x="318" y="113"/>
                </a:cubicBezTo>
                <a:cubicBezTo>
                  <a:pt x="318" y="113"/>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5"/>
                  <a:pt x="318" y="116"/>
                  <a:pt x="319" y="116"/>
                </a:cubicBezTo>
                <a:cubicBezTo>
                  <a:pt x="319" y="116"/>
                  <a:pt x="319" y="116"/>
                  <a:pt x="319" y="116"/>
                </a:cubicBezTo>
                <a:cubicBezTo>
                  <a:pt x="319" y="116"/>
                  <a:pt x="319" y="116"/>
                  <a:pt x="319" y="116"/>
                </a:cubicBezTo>
                <a:cubicBezTo>
                  <a:pt x="319" y="116"/>
                  <a:pt x="319" y="116"/>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9"/>
                  <a:pt x="319" y="119"/>
                  <a:pt x="319" y="119"/>
                </a:cubicBezTo>
                <a:cubicBezTo>
                  <a:pt x="319" y="119"/>
                  <a:pt x="319" y="119"/>
                  <a:pt x="319" y="119"/>
                </a:cubicBezTo>
                <a:cubicBezTo>
                  <a:pt x="319" y="119"/>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20" y="120"/>
                  <a:pt x="320" y="120"/>
                </a:cubicBezTo>
                <a:cubicBezTo>
                  <a:pt x="320" y="120"/>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6"/>
                  <a:pt x="320" y="126"/>
                  <a:pt x="320" y="126"/>
                </a:cubicBezTo>
                <a:cubicBezTo>
                  <a:pt x="320" y="126"/>
                  <a:pt x="320" y="126"/>
                  <a:pt x="320" y="126"/>
                </a:cubicBezTo>
                <a:cubicBezTo>
                  <a:pt x="321" y="126"/>
                  <a:pt x="321" y="126"/>
                  <a:pt x="321" y="126"/>
                </a:cubicBezTo>
                <a:cubicBezTo>
                  <a:pt x="321" y="126"/>
                  <a:pt x="321" y="126"/>
                  <a:pt x="321" y="126"/>
                </a:cubicBezTo>
                <a:cubicBezTo>
                  <a:pt x="321" y="126"/>
                  <a:pt x="321" y="126"/>
                  <a:pt x="321" y="126"/>
                </a:cubicBezTo>
                <a:cubicBezTo>
                  <a:pt x="321" y="126"/>
                  <a:pt x="321" y="126"/>
                  <a:pt x="321" y="126"/>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9"/>
                </a:cubicBezTo>
                <a:cubicBezTo>
                  <a:pt x="321" y="129"/>
                  <a:pt x="321" y="129"/>
                  <a:pt x="321" y="129"/>
                </a:cubicBezTo>
                <a:cubicBezTo>
                  <a:pt x="321" y="129"/>
                  <a:pt x="321" y="129"/>
                  <a:pt x="321" y="129"/>
                </a:cubicBezTo>
                <a:cubicBezTo>
                  <a:pt x="321" y="129"/>
                  <a:pt x="321" y="129"/>
                  <a:pt x="321" y="129"/>
                </a:cubicBezTo>
                <a:cubicBezTo>
                  <a:pt x="321" y="129"/>
                  <a:pt x="321" y="129"/>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2"/>
                  <a:pt x="321" y="132"/>
                </a:cubicBezTo>
                <a:cubicBezTo>
                  <a:pt x="321" y="132"/>
                  <a:pt x="321" y="132"/>
                  <a:pt x="321" y="132"/>
                </a:cubicBezTo>
                <a:cubicBezTo>
                  <a:pt x="321" y="132"/>
                  <a:pt x="321" y="132"/>
                  <a:pt x="321" y="132"/>
                </a:cubicBezTo>
                <a:cubicBezTo>
                  <a:pt x="321" y="132"/>
                  <a:pt x="321" y="132"/>
                  <a:pt x="321" y="132"/>
                </a:cubicBezTo>
                <a:cubicBezTo>
                  <a:pt x="321" y="132"/>
                  <a:pt x="321" y="132"/>
                  <a:pt x="321" y="132"/>
                </a:cubicBezTo>
                <a:cubicBezTo>
                  <a:pt x="321" y="132"/>
                  <a:pt x="322" y="132"/>
                  <a:pt x="322" y="132"/>
                </a:cubicBezTo>
                <a:cubicBezTo>
                  <a:pt x="322" y="132"/>
                  <a:pt x="322" y="132"/>
                  <a:pt x="322" y="132"/>
                </a:cubicBezTo>
                <a:cubicBezTo>
                  <a:pt x="322" y="133"/>
                  <a:pt x="322" y="133"/>
                  <a:pt x="322" y="133"/>
                </a:cubicBezTo>
                <a:cubicBezTo>
                  <a:pt x="322" y="133"/>
                  <a:pt x="322" y="133"/>
                  <a:pt x="322" y="133"/>
                </a:cubicBezTo>
                <a:cubicBezTo>
                  <a:pt x="323" y="142"/>
                  <a:pt x="323" y="151"/>
                  <a:pt x="323" y="160"/>
                </a:cubicBezTo>
                <a:cubicBezTo>
                  <a:pt x="323" y="259"/>
                  <a:pt x="250" y="345"/>
                  <a:pt x="149" y="359"/>
                </a:cubicBezTo>
                <a:cubicBezTo>
                  <a:pt x="140" y="360"/>
                  <a:pt x="131" y="361"/>
                  <a:pt x="122" y="361"/>
                </a:cubicBezTo>
                <a:cubicBezTo>
                  <a:pt x="112" y="361"/>
                  <a:pt x="102" y="360"/>
                  <a:pt x="93" y="359"/>
                </a:cubicBezTo>
                <a:cubicBezTo>
                  <a:pt x="93" y="359"/>
                  <a:pt x="93" y="359"/>
                  <a:pt x="93" y="359"/>
                </a:cubicBezTo>
                <a:cubicBezTo>
                  <a:pt x="93" y="359"/>
                  <a:pt x="93" y="359"/>
                  <a:pt x="93" y="359"/>
                </a:cubicBezTo>
                <a:cubicBezTo>
                  <a:pt x="93" y="359"/>
                  <a:pt x="93" y="359"/>
                  <a:pt x="93"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1" y="359"/>
                  <a:pt x="91" y="359"/>
                </a:cubicBezTo>
                <a:cubicBezTo>
                  <a:pt x="91" y="359"/>
                  <a:pt x="91" y="359"/>
                  <a:pt x="91" y="359"/>
                </a:cubicBezTo>
                <a:cubicBezTo>
                  <a:pt x="91" y="359"/>
                  <a:pt x="91" y="359"/>
                  <a:pt x="91" y="359"/>
                </a:cubicBezTo>
                <a:cubicBezTo>
                  <a:pt x="91" y="359"/>
                  <a:pt x="91" y="359"/>
                  <a:pt x="91" y="359"/>
                </a:cubicBezTo>
                <a:cubicBezTo>
                  <a:pt x="58" y="353"/>
                  <a:pt x="27" y="340"/>
                  <a:pt x="0" y="320"/>
                </a:cubicBezTo>
                <a:cubicBezTo>
                  <a:pt x="37" y="354"/>
                  <a:pt x="86" y="374"/>
                  <a:pt x="138" y="374"/>
                </a:cubicBezTo>
                <a:cubicBezTo>
                  <a:pt x="147" y="374"/>
                  <a:pt x="156" y="374"/>
                  <a:pt x="165" y="372"/>
                </a:cubicBezTo>
                <a:cubicBezTo>
                  <a:pt x="276" y="357"/>
                  <a:pt x="354" y="256"/>
                  <a:pt x="339" y="145"/>
                </a:cubicBezTo>
                <a:cubicBezTo>
                  <a:pt x="330" y="82"/>
                  <a:pt x="294" y="30"/>
                  <a:pt x="244" y="0"/>
                </a:cubicBezTo>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5" name="Freeform 21">
            <a:extLst>
              <a:ext uri="{FF2B5EF4-FFF2-40B4-BE49-F238E27FC236}">
                <a16:creationId xmlns:a16="http://schemas.microsoft.com/office/drawing/2014/main" id="{FAE5D8C5-7796-4253-BDBB-7F0CE6A84928}"/>
              </a:ext>
            </a:extLst>
          </p:cNvPr>
          <p:cNvSpPr>
            <a:spLocks/>
          </p:cNvSpPr>
          <p:nvPr/>
        </p:nvSpPr>
        <p:spPr bwMode="auto">
          <a:xfrm rot="19589649">
            <a:off x="3359036" y="5705818"/>
            <a:ext cx="650458" cy="677463"/>
          </a:xfrm>
          <a:custGeom>
            <a:avLst/>
            <a:gdLst>
              <a:gd name="T0" fmla="*/ 10 w 292"/>
              <a:gd name="T1" fmla="*/ 164 h 292"/>
              <a:gd name="T2" fmla="*/ 128 w 292"/>
              <a:gd name="T3" fmla="*/ 10 h 292"/>
              <a:gd name="T4" fmla="*/ 282 w 292"/>
              <a:gd name="T5" fmla="*/ 127 h 292"/>
              <a:gd name="T6" fmla="*/ 165 w 292"/>
              <a:gd name="T7" fmla="*/ 282 h 292"/>
              <a:gd name="T8" fmla="*/ 10 w 292"/>
              <a:gd name="T9" fmla="*/ 164 h 292"/>
            </a:gdLst>
            <a:ahLst/>
            <a:cxnLst>
              <a:cxn ang="0">
                <a:pos x="T0" y="T1"/>
              </a:cxn>
              <a:cxn ang="0">
                <a:pos x="T2" y="T3"/>
              </a:cxn>
              <a:cxn ang="0">
                <a:pos x="T4" y="T5"/>
              </a:cxn>
              <a:cxn ang="0">
                <a:pos x="T6" y="T7"/>
              </a:cxn>
              <a:cxn ang="0">
                <a:pos x="T8" y="T9"/>
              </a:cxn>
            </a:cxnLst>
            <a:rect l="0" t="0" r="r" b="b"/>
            <a:pathLst>
              <a:path w="292" h="292">
                <a:moveTo>
                  <a:pt x="10" y="164"/>
                </a:moveTo>
                <a:cubicBezTo>
                  <a:pt x="0" y="89"/>
                  <a:pt x="53" y="20"/>
                  <a:pt x="128" y="10"/>
                </a:cubicBezTo>
                <a:cubicBezTo>
                  <a:pt x="203" y="0"/>
                  <a:pt x="272" y="52"/>
                  <a:pt x="282" y="127"/>
                </a:cubicBezTo>
                <a:cubicBezTo>
                  <a:pt x="292" y="202"/>
                  <a:pt x="240" y="272"/>
                  <a:pt x="165" y="282"/>
                </a:cubicBezTo>
                <a:cubicBezTo>
                  <a:pt x="89" y="292"/>
                  <a:pt x="20" y="239"/>
                  <a:pt x="10" y="164"/>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6" name="Freeform 22">
            <a:extLst>
              <a:ext uri="{FF2B5EF4-FFF2-40B4-BE49-F238E27FC236}">
                <a16:creationId xmlns:a16="http://schemas.microsoft.com/office/drawing/2014/main" id="{D27CE64E-CE4D-48F7-9F59-8762F83B098E}"/>
              </a:ext>
            </a:extLst>
          </p:cNvPr>
          <p:cNvSpPr>
            <a:spLocks/>
          </p:cNvSpPr>
          <p:nvPr/>
        </p:nvSpPr>
        <p:spPr bwMode="auto">
          <a:xfrm rot="19589649">
            <a:off x="3352317" y="5753173"/>
            <a:ext cx="531911" cy="598140"/>
          </a:xfrm>
          <a:custGeom>
            <a:avLst/>
            <a:gdLst>
              <a:gd name="T0" fmla="*/ 30 w 239"/>
              <a:gd name="T1" fmla="*/ 175 h 258"/>
              <a:gd name="T2" fmla="*/ 148 w 239"/>
              <a:gd name="T3" fmla="*/ 21 h 258"/>
              <a:gd name="T4" fmla="*/ 239 w 239"/>
              <a:gd name="T5" fmla="*/ 41 h 258"/>
              <a:gd name="T6" fmla="*/ 128 w 239"/>
              <a:gd name="T7" fmla="*/ 6 h 258"/>
              <a:gd name="T8" fmla="*/ 10 w 239"/>
              <a:gd name="T9" fmla="*/ 160 h 258"/>
              <a:gd name="T10" fmla="*/ 73 w 239"/>
              <a:gd name="T11" fmla="*/ 258 h 258"/>
              <a:gd name="T12" fmla="*/ 30 w 239"/>
              <a:gd name="T13" fmla="*/ 175 h 258"/>
            </a:gdLst>
            <a:ahLst/>
            <a:cxnLst>
              <a:cxn ang="0">
                <a:pos x="T0" y="T1"/>
              </a:cxn>
              <a:cxn ang="0">
                <a:pos x="T2" y="T3"/>
              </a:cxn>
              <a:cxn ang="0">
                <a:pos x="T4" y="T5"/>
              </a:cxn>
              <a:cxn ang="0">
                <a:pos x="T6" y="T7"/>
              </a:cxn>
              <a:cxn ang="0">
                <a:pos x="T8" y="T9"/>
              </a:cxn>
              <a:cxn ang="0">
                <a:pos x="T10" y="T11"/>
              </a:cxn>
              <a:cxn ang="0">
                <a:pos x="T12" y="T13"/>
              </a:cxn>
            </a:cxnLst>
            <a:rect l="0" t="0" r="r" b="b"/>
            <a:pathLst>
              <a:path w="239" h="258">
                <a:moveTo>
                  <a:pt x="30" y="175"/>
                </a:moveTo>
                <a:cubicBezTo>
                  <a:pt x="20" y="100"/>
                  <a:pt x="72" y="31"/>
                  <a:pt x="148" y="21"/>
                </a:cubicBezTo>
                <a:cubicBezTo>
                  <a:pt x="181" y="16"/>
                  <a:pt x="213" y="24"/>
                  <a:pt x="239" y="41"/>
                </a:cubicBezTo>
                <a:cubicBezTo>
                  <a:pt x="210" y="14"/>
                  <a:pt x="170" y="0"/>
                  <a:pt x="128" y="6"/>
                </a:cubicBezTo>
                <a:cubicBezTo>
                  <a:pt x="53" y="16"/>
                  <a:pt x="0" y="85"/>
                  <a:pt x="10" y="160"/>
                </a:cubicBezTo>
                <a:cubicBezTo>
                  <a:pt x="16" y="202"/>
                  <a:pt x="40" y="237"/>
                  <a:pt x="73" y="258"/>
                </a:cubicBezTo>
                <a:cubicBezTo>
                  <a:pt x="50" y="237"/>
                  <a:pt x="34" y="208"/>
                  <a:pt x="30" y="175"/>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7" name="Freeform 25">
            <a:extLst>
              <a:ext uri="{FF2B5EF4-FFF2-40B4-BE49-F238E27FC236}">
                <a16:creationId xmlns:a16="http://schemas.microsoft.com/office/drawing/2014/main" id="{F00817DA-451E-43F0-9668-895E33E16936}"/>
              </a:ext>
            </a:extLst>
          </p:cNvPr>
          <p:cNvSpPr>
            <a:spLocks noEditPoints="1"/>
          </p:cNvSpPr>
          <p:nvPr/>
        </p:nvSpPr>
        <p:spPr bwMode="auto">
          <a:xfrm rot="19589649">
            <a:off x="3681774" y="5801135"/>
            <a:ext cx="517480" cy="575630"/>
          </a:xfrm>
          <a:custGeom>
            <a:avLst/>
            <a:gdLst>
              <a:gd name="T0" fmla="*/ 2 w 232"/>
              <a:gd name="T1" fmla="*/ 246 h 248"/>
              <a:gd name="T2" fmla="*/ 1 w 232"/>
              <a:gd name="T3" fmla="*/ 246 h 248"/>
              <a:gd name="T4" fmla="*/ 1 w 232"/>
              <a:gd name="T5" fmla="*/ 246 h 248"/>
              <a:gd name="T6" fmla="*/ 1 w 232"/>
              <a:gd name="T7" fmla="*/ 246 h 248"/>
              <a:gd name="T8" fmla="*/ 1 w 232"/>
              <a:gd name="T9" fmla="*/ 246 h 248"/>
              <a:gd name="T10" fmla="*/ 0 w 232"/>
              <a:gd name="T11" fmla="*/ 246 h 248"/>
              <a:gd name="T12" fmla="*/ 0 w 232"/>
              <a:gd name="T13" fmla="*/ 246 h 248"/>
              <a:gd name="T14" fmla="*/ 31 w 232"/>
              <a:gd name="T15" fmla="*/ 248 h 248"/>
              <a:gd name="T16" fmla="*/ 58 w 232"/>
              <a:gd name="T17" fmla="*/ 246 h 248"/>
              <a:gd name="T18" fmla="*/ 231 w 232"/>
              <a:gd name="T19" fmla="*/ 20 h 248"/>
              <a:gd name="T20" fmla="*/ 231 w 232"/>
              <a:gd name="T21" fmla="*/ 19 h 248"/>
              <a:gd name="T22" fmla="*/ 230 w 232"/>
              <a:gd name="T23" fmla="*/ 19 h 248"/>
              <a:gd name="T24" fmla="*/ 230 w 232"/>
              <a:gd name="T25" fmla="*/ 19 h 248"/>
              <a:gd name="T26" fmla="*/ 230 w 232"/>
              <a:gd name="T27" fmla="*/ 18 h 248"/>
              <a:gd name="T28" fmla="*/ 230 w 232"/>
              <a:gd name="T29" fmla="*/ 18 h 248"/>
              <a:gd name="T30" fmla="*/ 230 w 232"/>
              <a:gd name="T31" fmla="*/ 18 h 248"/>
              <a:gd name="T32" fmla="*/ 230 w 232"/>
              <a:gd name="T33" fmla="*/ 17 h 248"/>
              <a:gd name="T34" fmla="*/ 230 w 232"/>
              <a:gd name="T35" fmla="*/ 17 h 248"/>
              <a:gd name="T36" fmla="*/ 230 w 232"/>
              <a:gd name="T37" fmla="*/ 17 h 248"/>
              <a:gd name="T38" fmla="*/ 230 w 232"/>
              <a:gd name="T39" fmla="*/ 17 h 248"/>
              <a:gd name="T40" fmla="*/ 230 w 232"/>
              <a:gd name="T41" fmla="*/ 16 h 248"/>
              <a:gd name="T42" fmla="*/ 230 w 232"/>
              <a:gd name="T43" fmla="*/ 16 h 248"/>
              <a:gd name="T44" fmla="*/ 230 w 232"/>
              <a:gd name="T45" fmla="*/ 15 h 248"/>
              <a:gd name="T46" fmla="*/ 230 w 232"/>
              <a:gd name="T47" fmla="*/ 15 h 248"/>
              <a:gd name="T48" fmla="*/ 230 w 232"/>
              <a:gd name="T49" fmla="*/ 15 h 248"/>
              <a:gd name="T50" fmla="*/ 230 w 232"/>
              <a:gd name="T51" fmla="*/ 14 h 248"/>
              <a:gd name="T52" fmla="*/ 230 w 232"/>
              <a:gd name="T53" fmla="*/ 14 h 248"/>
              <a:gd name="T54" fmla="*/ 230 w 232"/>
              <a:gd name="T55" fmla="*/ 14 h 248"/>
              <a:gd name="T56" fmla="*/ 230 w 232"/>
              <a:gd name="T57" fmla="*/ 13 h 248"/>
              <a:gd name="T58" fmla="*/ 230 w 232"/>
              <a:gd name="T59" fmla="*/ 13 h 248"/>
              <a:gd name="T60" fmla="*/ 229 w 232"/>
              <a:gd name="T61" fmla="*/ 13 h 248"/>
              <a:gd name="T62" fmla="*/ 229 w 232"/>
              <a:gd name="T63" fmla="*/ 12 h 248"/>
              <a:gd name="T64" fmla="*/ 229 w 232"/>
              <a:gd name="T65" fmla="*/ 12 h 248"/>
              <a:gd name="T66" fmla="*/ 229 w 232"/>
              <a:gd name="T67" fmla="*/ 12 h 248"/>
              <a:gd name="T68" fmla="*/ 229 w 232"/>
              <a:gd name="T69" fmla="*/ 11 h 248"/>
              <a:gd name="T70" fmla="*/ 229 w 232"/>
              <a:gd name="T71" fmla="*/ 11 h 248"/>
              <a:gd name="T72" fmla="*/ 229 w 232"/>
              <a:gd name="T73" fmla="*/ 11 h 248"/>
              <a:gd name="T74" fmla="*/ 229 w 232"/>
              <a:gd name="T75" fmla="*/ 10 h 248"/>
              <a:gd name="T76" fmla="*/ 229 w 232"/>
              <a:gd name="T77" fmla="*/ 10 h 248"/>
              <a:gd name="T78" fmla="*/ 229 w 232"/>
              <a:gd name="T79" fmla="*/ 10 h 248"/>
              <a:gd name="T80" fmla="*/ 229 w 232"/>
              <a:gd name="T81" fmla="*/ 10 h 248"/>
              <a:gd name="T82" fmla="*/ 229 w 232"/>
              <a:gd name="T83" fmla="*/ 9 h 248"/>
              <a:gd name="T84" fmla="*/ 229 w 232"/>
              <a:gd name="T85" fmla="*/ 9 h 248"/>
              <a:gd name="T86" fmla="*/ 229 w 232"/>
              <a:gd name="T87" fmla="*/ 8 h 248"/>
              <a:gd name="T88" fmla="*/ 229 w 232"/>
              <a:gd name="T89" fmla="*/ 8 h 248"/>
              <a:gd name="T90" fmla="*/ 229 w 232"/>
              <a:gd name="T91" fmla="*/ 8 h 248"/>
              <a:gd name="T92" fmla="*/ 229 w 232"/>
              <a:gd name="T93" fmla="*/ 8 h 248"/>
              <a:gd name="T94" fmla="*/ 228 w 232"/>
              <a:gd name="T95" fmla="*/ 7 h 248"/>
              <a:gd name="T96" fmla="*/ 228 w 232"/>
              <a:gd name="T97" fmla="*/ 7 h 248"/>
              <a:gd name="T98" fmla="*/ 228 w 232"/>
              <a:gd name="T99" fmla="*/ 7 h 248"/>
              <a:gd name="T100" fmla="*/ 228 w 232"/>
              <a:gd name="T101" fmla="*/ 6 h 248"/>
              <a:gd name="T102" fmla="*/ 228 w 232"/>
              <a:gd name="T103" fmla="*/ 5 h 248"/>
              <a:gd name="T104" fmla="*/ 228 w 232"/>
              <a:gd name="T105" fmla="*/ 5 h 248"/>
              <a:gd name="T106" fmla="*/ 228 w 232"/>
              <a:gd name="T107" fmla="*/ 5 h 248"/>
              <a:gd name="T108" fmla="*/ 228 w 232"/>
              <a:gd name="T109" fmla="*/ 4 h 248"/>
              <a:gd name="T110" fmla="*/ 228 w 232"/>
              <a:gd name="T111" fmla="*/ 4 h 248"/>
              <a:gd name="T112" fmla="*/ 228 w 232"/>
              <a:gd name="T113" fmla="*/ 4 h 248"/>
              <a:gd name="T114" fmla="*/ 228 w 232"/>
              <a:gd name="T115" fmla="*/ 4 h 248"/>
              <a:gd name="T116" fmla="*/ 228 w 232"/>
              <a:gd name="T117" fmla="*/ 3 h 248"/>
              <a:gd name="T118" fmla="*/ 227 w 232"/>
              <a:gd name="T119" fmla="*/ 1 h 248"/>
              <a:gd name="T120" fmla="*/ 227 w 232"/>
              <a:gd name="T121" fmla="*/ 1 h 248"/>
              <a:gd name="T122" fmla="*/ 227 w 232"/>
              <a:gd name="T123" fmla="*/ 1 h 248"/>
              <a:gd name="T124" fmla="*/ 227 w 232"/>
              <a:gd name="T12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248">
                <a:moveTo>
                  <a:pt x="2" y="246"/>
                </a:moveTo>
                <a:cubicBezTo>
                  <a:pt x="2" y="246"/>
                  <a:pt x="2" y="246"/>
                  <a:pt x="2" y="246"/>
                </a:cubicBezTo>
                <a:cubicBezTo>
                  <a:pt x="2" y="246"/>
                  <a:pt x="2" y="246"/>
                  <a:pt x="2" y="246"/>
                </a:cubicBezTo>
                <a:moveTo>
                  <a:pt x="1" y="246"/>
                </a:moveTo>
                <a:cubicBezTo>
                  <a:pt x="1" y="246"/>
                  <a:pt x="1" y="246"/>
                  <a:pt x="2"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0" y="246"/>
                </a:moveTo>
                <a:cubicBezTo>
                  <a:pt x="0" y="246"/>
                  <a:pt x="0" y="246"/>
                  <a:pt x="0" y="246"/>
                </a:cubicBezTo>
                <a:cubicBezTo>
                  <a:pt x="0" y="246"/>
                  <a:pt x="0" y="246"/>
                  <a:pt x="0" y="246"/>
                </a:cubicBezTo>
                <a:moveTo>
                  <a:pt x="0" y="246"/>
                </a:moveTo>
                <a:cubicBezTo>
                  <a:pt x="0" y="246"/>
                  <a:pt x="0" y="246"/>
                  <a:pt x="0" y="246"/>
                </a:cubicBezTo>
                <a:cubicBezTo>
                  <a:pt x="0" y="246"/>
                  <a:pt x="0" y="246"/>
                  <a:pt x="0" y="246"/>
                </a:cubicBezTo>
                <a:moveTo>
                  <a:pt x="232" y="47"/>
                </a:moveTo>
                <a:cubicBezTo>
                  <a:pt x="232" y="146"/>
                  <a:pt x="159" y="232"/>
                  <a:pt x="58" y="246"/>
                </a:cubicBezTo>
                <a:cubicBezTo>
                  <a:pt x="49" y="247"/>
                  <a:pt x="40" y="248"/>
                  <a:pt x="31" y="248"/>
                </a:cubicBezTo>
                <a:cubicBezTo>
                  <a:pt x="21" y="248"/>
                  <a:pt x="11" y="247"/>
                  <a:pt x="2" y="246"/>
                </a:cubicBezTo>
                <a:cubicBezTo>
                  <a:pt x="11" y="247"/>
                  <a:pt x="21" y="248"/>
                  <a:pt x="31" y="248"/>
                </a:cubicBezTo>
                <a:cubicBezTo>
                  <a:pt x="40" y="248"/>
                  <a:pt x="49" y="247"/>
                  <a:pt x="58" y="246"/>
                </a:cubicBezTo>
                <a:cubicBezTo>
                  <a:pt x="159" y="232"/>
                  <a:pt x="232" y="146"/>
                  <a:pt x="232" y="47"/>
                </a:cubicBezTo>
                <a:moveTo>
                  <a:pt x="231" y="19"/>
                </a:moveTo>
                <a:cubicBezTo>
                  <a:pt x="231" y="20"/>
                  <a:pt x="231" y="20"/>
                  <a:pt x="231" y="20"/>
                </a:cubicBezTo>
                <a:cubicBezTo>
                  <a:pt x="231" y="20"/>
                  <a:pt x="231" y="20"/>
                  <a:pt x="231" y="19"/>
                </a:cubicBezTo>
                <a:moveTo>
                  <a:pt x="230" y="19"/>
                </a:moveTo>
                <a:cubicBezTo>
                  <a:pt x="230" y="19"/>
                  <a:pt x="231" y="19"/>
                  <a:pt x="231" y="19"/>
                </a:cubicBezTo>
                <a:cubicBezTo>
                  <a:pt x="231" y="19"/>
                  <a:pt x="230" y="19"/>
                  <a:pt x="230" y="19"/>
                </a:cubicBezTo>
                <a:moveTo>
                  <a:pt x="230" y="19"/>
                </a:moveTo>
                <a:cubicBezTo>
                  <a:pt x="230" y="19"/>
                  <a:pt x="230" y="19"/>
                  <a:pt x="230" y="19"/>
                </a:cubicBezTo>
                <a:cubicBezTo>
                  <a:pt x="230" y="19"/>
                  <a:pt x="230" y="19"/>
                  <a:pt x="230" y="19"/>
                </a:cubicBezTo>
                <a:moveTo>
                  <a:pt x="230" y="19"/>
                </a:moveTo>
                <a:cubicBezTo>
                  <a:pt x="230" y="19"/>
                  <a:pt x="230" y="19"/>
                  <a:pt x="230" y="19"/>
                </a:cubicBezTo>
                <a:cubicBezTo>
                  <a:pt x="230" y="19"/>
                  <a:pt x="230" y="19"/>
                  <a:pt x="230" y="19"/>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6"/>
                </a:moveTo>
                <a:cubicBezTo>
                  <a:pt x="230" y="16"/>
                  <a:pt x="230" y="16"/>
                  <a:pt x="230" y="17"/>
                </a:cubicBezTo>
                <a:cubicBezTo>
                  <a:pt x="230" y="16"/>
                  <a:pt x="230" y="16"/>
                  <a:pt x="230" y="16"/>
                </a:cubicBezTo>
                <a:moveTo>
                  <a:pt x="230" y="16"/>
                </a:moveTo>
                <a:cubicBezTo>
                  <a:pt x="230" y="16"/>
                  <a:pt x="230" y="16"/>
                  <a:pt x="230" y="16"/>
                </a:cubicBezTo>
                <a:cubicBezTo>
                  <a:pt x="230" y="16"/>
                  <a:pt x="230" y="16"/>
                  <a:pt x="230" y="16"/>
                </a:cubicBezTo>
                <a:moveTo>
                  <a:pt x="230" y="15"/>
                </a:moveTo>
                <a:cubicBezTo>
                  <a:pt x="230" y="15"/>
                  <a:pt x="230" y="15"/>
                  <a:pt x="230" y="16"/>
                </a:cubicBezTo>
                <a:cubicBezTo>
                  <a:pt x="230" y="15"/>
                  <a:pt x="230" y="15"/>
                  <a:pt x="230" y="15"/>
                </a:cubicBezTo>
                <a:moveTo>
                  <a:pt x="230" y="15"/>
                </a:moveTo>
                <a:cubicBezTo>
                  <a:pt x="230" y="15"/>
                  <a:pt x="230" y="15"/>
                  <a:pt x="230" y="15"/>
                </a:cubicBezTo>
                <a:cubicBezTo>
                  <a:pt x="230" y="15"/>
                  <a:pt x="230" y="15"/>
                  <a:pt x="230" y="15"/>
                </a:cubicBezTo>
                <a:moveTo>
                  <a:pt x="230" y="15"/>
                </a:moveTo>
                <a:cubicBezTo>
                  <a:pt x="230" y="15"/>
                  <a:pt x="230" y="15"/>
                  <a:pt x="230" y="15"/>
                </a:cubicBezTo>
                <a:cubicBezTo>
                  <a:pt x="230" y="15"/>
                  <a:pt x="230" y="15"/>
                  <a:pt x="230" y="15"/>
                </a:cubicBezTo>
                <a:moveTo>
                  <a:pt x="230" y="14"/>
                </a:moveTo>
                <a:cubicBezTo>
                  <a:pt x="230" y="14"/>
                  <a:pt x="230" y="15"/>
                  <a:pt x="230" y="15"/>
                </a:cubicBezTo>
                <a:cubicBezTo>
                  <a:pt x="230" y="15"/>
                  <a:pt x="230" y="14"/>
                  <a:pt x="230" y="14"/>
                </a:cubicBezTo>
                <a:moveTo>
                  <a:pt x="230" y="14"/>
                </a:moveTo>
                <a:cubicBezTo>
                  <a:pt x="230" y="14"/>
                  <a:pt x="230" y="14"/>
                  <a:pt x="230" y="14"/>
                </a:cubicBezTo>
                <a:cubicBezTo>
                  <a:pt x="230" y="14"/>
                  <a:pt x="230" y="14"/>
                  <a:pt x="230" y="14"/>
                </a:cubicBezTo>
                <a:moveTo>
                  <a:pt x="230" y="14"/>
                </a:moveTo>
                <a:cubicBezTo>
                  <a:pt x="230" y="14"/>
                  <a:pt x="230" y="14"/>
                  <a:pt x="230" y="14"/>
                </a:cubicBezTo>
                <a:cubicBezTo>
                  <a:pt x="230" y="14"/>
                  <a:pt x="230" y="14"/>
                  <a:pt x="230" y="14"/>
                </a:cubicBezTo>
                <a:moveTo>
                  <a:pt x="230" y="13"/>
                </a:moveTo>
                <a:cubicBezTo>
                  <a:pt x="230" y="14"/>
                  <a:pt x="230" y="14"/>
                  <a:pt x="230" y="14"/>
                </a:cubicBezTo>
                <a:cubicBezTo>
                  <a:pt x="230" y="14"/>
                  <a:pt x="230" y="14"/>
                  <a:pt x="230" y="13"/>
                </a:cubicBezTo>
                <a:moveTo>
                  <a:pt x="230" y="13"/>
                </a:moveTo>
                <a:cubicBezTo>
                  <a:pt x="230" y="13"/>
                  <a:pt x="230" y="13"/>
                  <a:pt x="230" y="13"/>
                </a:cubicBezTo>
                <a:cubicBezTo>
                  <a:pt x="230" y="13"/>
                  <a:pt x="230" y="13"/>
                  <a:pt x="230" y="13"/>
                </a:cubicBezTo>
                <a:moveTo>
                  <a:pt x="229" y="13"/>
                </a:moveTo>
                <a:cubicBezTo>
                  <a:pt x="230" y="13"/>
                  <a:pt x="230" y="13"/>
                  <a:pt x="230" y="13"/>
                </a:cubicBezTo>
                <a:cubicBezTo>
                  <a:pt x="230" y="13"/>
                  <a:pt x="230" y="13"/>
                  <a:pt x="229" y="13"/>
                </a:cubicBezTo>
                <a:moveTo>
                  <a:pt x="229" y="12"/>
                </a:moveTo>
                <a:cubicBezTo>
                  <a:pt x="229" y="13"/>
                  <a:pt x="229" y="13"/>
                  <a:pt x="229" y="13"/>
                </a:cubicBezTo>
                <a:cubicBezTo>
                  <a:pt x="229" y="13"/>
                  <a:pt x="229" y="13"/>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9"/>
                </a:moveTo>
                <a:cubicBezTo>
                  <a:pt x="229" y="9"/>
                  <a:pt x="229" y="10"/>
                  <a:pt x="229" y="10"/>
                </a:cubicBezTo>
                <a:cubicBezTo>
                  <a:pt x="229" y="10"/>
                  <a:pt x="229" y="9"/>
                  <a:pt x="229" y="9"/>
                </a:cubicBezTo>
                <a:moveTo>
                  <a:pt x="229" y="9"/>
                </a:moveTo>
                <a:cubicBezTo>
                  <a:pt x="229" y="9"/>
                  <a:pt x="229" y="9"/>
                  <a:pt x="229" y="9"/>
                </a:cubicBezTo>
                <a:cubicBezTo>
                  <a:pt x="229" y="9"/>
                  <a:pt x="229" y="9"/>
                  <a:pt x="229" y="9"/>
                </a:cubicBezTo>
                <a:moveTo>
                  <a:pt x="229" y="9"/>
                </a:moveTo>
                <a:cubicBezTo>
                  <a:pt x="229" y="9"/>
                  <a:pt x="229" y="9"/>
                  <a:pt x="229" y="9"/>
                </a:cubicBezTo>
                <a:cubicBezTo>
                  <a:pt x="229" y="9"/>
                  <a:pt x="229" y="9"/>
                  <a:pt x="229" y="9"/>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7"/>
                </a:moveTo>
                <a:cubicBezTo>
                  <a:pt x="229" y="7"/>
                  <a:pt x="229" y="8"/>
                  <a:pt x="229" y="8"/>
                </a:cubicBezTo>
                <a:cubicBezTo>
                  <a:pt x="229" y="8"/>
                  <a:pt x="229" y="7"/>
                  <a:pt x="229"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6"/>
                </a:moveTo>
                <a:cubicBezTo>
                  <a:pt x="228" y="6"/>
                  <a:pt x="228" y="6"/>
                  <a:pt x="228" y="6"/>
                </a:cubicBezTo>
                <a:cubicBezTo>
                  <a:pt x="228" y="6"/>
                  <a:pt x="228" y="6"/>
                  <a:pt x="228" y="6"/>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3"/>
                </a:moveTo>
                <a:cubicBezTo>
                  <a:pt x="228" y="3"/>
                  <a:pt x="228" y="3"/>
                  <a:pt x="228" y="4"/>
                </a:cubicBezTo>
                <a:cubicBezTo>
                  <a:pt x="228" y="3"/>
                  <a:pt x="228" y="3"/>
                  <a:pt x="228" y="3"/>
                </a:cubicBezTo>
                <a:moveTo>
                  <a:pt x="228" y="3"/>
                </a:moveTo>
                <a:cubicBezTo>
                  <a:pt x="228" y="3"/>
                  <a:pt x="228" y="3"/>
                  <a:pt x="228" y="3"/>
                </a:cubicBezTo>
                <a:cubicBezTo>
                  <a:pt x="228" y="3"/>
                  <a:pt x="228" y="3"/>
                  <a:pt x="228" y="3"/>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0"/>
                </a:moveTo>
                <a:cubicBezTo>
                  <a:pt x="227" y="0"/>
                  <a:pt x="227" y="0"/>
                  <a:pt x="227" y="0"/>
                </a:cubicBezTo>
                <a:cubicBezTo>
                  <a:pt x="227" y="0"/>
                  <a:pt x="227" y="0"/>
                  <a:pt x="227" y="0"/>
                </a:cubicBezTo>
              </a:path>
            </a:pathLst>
          </a:custGeom>
          <a:solidFill>
            <a:srgbClr val="D5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8" name="Rounded Rectangle 23">
            <a:extLst>
              <a:ext uri="{FF2B5EF4-FFF2-40B4-BE49-F238E27FC236}">
                <a16:creationId xmlns:a16="http://schemas.microsoft.com/office/drawing/2014/main" id="{E9A90B31-3372-4728-94C2-D67EDEDD0F1E}"/>
              </a:ext>
            </a:extLst>
          </p:cNvPr>
          <p:cNvSpPr/>
          <p:nvPr/>
        </p:nvSpPr>
        <p:spPr>
          <a:xfrm>
            <a:off x="3887565" y="3371192"/>
            <a:ext cx="7187041" cy="914400"/>
          </a:xfrm>
          <a:prstGeom prst="roundRect">
            <a:avLst/>
          </a:prstGeom>
          <a:noFill/>
          <a:ln w="12700">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lvl="0">
              <a:defRPr/>
            </a:pPr>
            <a:r>
              <a:rPr lang="en-IN" sz="1600" dirty="0">
                <a:solidFill>
                  <a:schemeClr val="tx1"/>
                </a:solidFill>
              </a:rPr>
              <a:t>API product, Discovery &amp; Subscriptions</a:t>
            </a:r>
          </a:p>
        </p:txBody>
      </p:sp>
      <p:sp>
        <p:nvSpPr>
          <p:cNvPr id="29" name="Freeform 20">
            <a:extLst>
              <a:ext uri="{FF2B5EF4-FFF2-40B4-BE49-F238E27FC236}">
                <a16:creationId xmlns:a16="http://schemas.microsoft.com/office/drawing/2014/main" id="{3CC3926E-A947-44F8-9A73-C0F18B070A83}"/>
              </a:ext>
            </a:extLst>
          </p:cNvPr>
          <p:cNvSpPr>
            <a:spLocks noEditPoints="1"/>
          </p:cNvSpPr>
          <p:nvPr/>
        </p:nvSpPr>
        <p:spPr bwMode="auto">
          <a:xfrm rot="19589649">
            <a:off x="3281991" y="3409484"/>
            <a:ext cx="805083" cy="836109"/>
          </a:xfrm>
          <a:custGeom>
            <a:avLst/>
            <a:gdLst>
              <a:gd name="T0" fmla="*/ 158 w 361"/>
              <a:gd name="T1" fmla="*/ 13 h 361"/>
              <a:gd name="T2" fmla="*/ 12 w 361"/>
              <a:gd name="T3" fmla="*/ 203 h 361"/>
              <a:gd name="T4" fmla="*/ 203 w 361"/>
              <a:gd name="T5" fmla="*/ 349 h 361"/>
              <a:gd name="T6" fmla="*/ 348 w 361"/>
              <a:gd name="T7" fmla="*/ 158 h 361"/>
              <a:gd name="T8" fmla="*/ 158 w 361"/>
              <a:gd name="T9" fmla="*/ 13 h 361"/>
              <a:gd name="T10" fmla="*/ 199 w 361"/>
              <a:gd name="T11" fmla="*/ 317 h 361"/>
              <a:gd name="T12" fmla="*/ 44 w 361"/>
              <a:gd name="T13" fmla="*/ 199 h 361"/>
              <a:gd name="T14" fmla="*/ 162 w 361"/>
              <a:gd name="T15" fmla="*/ 45 h 361"/>
              <a:gd name="T16" fmla="*/ 316 w 361"/>
              <a:gd name="T17" fmla="*/ 162 h 361"/>
              <a:gd name="T18" fmla="*/ 199 w 361"/>
              <a:gd name="T19" fmla="*/ 317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361">
                <a:moveTo>
                  <a:pt x="158" y="13"/>
                </a:moveTo>
                <a:cubicBezTo>
                  <a:pt x="65" y="25"/>
                  <a:pt x="0" y="111"/>
                  <a:pt x="12" y="203"/>
                </a:cubicBezTo>
                <a:cubicBezTo>
                  <a:pt x="25" y="296"/>
                  <a:pt x="110" y="361"/>
                  <a:pt x="203" y="349"/>
                </a:cubicBezTo>
                <a:cubicBezTo>
                  <a:pt x="296" y="336"/>
                  <a:pt x="361" y="251"/>
                  <a:pt x="348" y="158"/>
                </a:cubicBezTo>
                <a:cubicBezTo>
                  <a:pt x="336" y="65"/>
                  <a:pt x="250" y="0"/>
                  <a:pt x="158" y="13"/>
                </a:cubicBezTo>
                <a:close/>
                <a:moveTo>
                  <a:pt x="199" y="317"/>
                </a:moveTo>
                <a:cubicBezTo>
                  <a:pt x="123" y="327"/>
                  <a:pt x="54" y="274"/>
                  <a:pt x="44" y="199"/>
                </a:cubicBezTo>
                <a:cubicBezTo>
                  <a:pt x="34" y="124"/>
                  <a:pt x="87" y="55"/>
                  <a:pt x="162" y="45"/>
                </a:cubicBezTo>
                <a:cubicBezTo>
                  <a:pt x="237" y="35"/>
                  <a:pt x="306" y="87"/>
                  <a:pt x="316" y="162"/>
                </a:cubicBezTo>
                <a:cubicBezTo>
                  <a:pt x="326" y="237"/>
                  <a:pt x="274" y="307"/>
                  <a:pt x="199" y="317"/>
                </a:cubicBezTo>
                <a:close/>
              </a:path>
            </a:pathLst>
          </a:custGeom>
          <a:solidFill>
            <a:srgbClr val="998C85">
              <a:lumMod val="20000"/>
              <a:lumOff val="80000"/>
            </a:srgbClr>
          </a:solidFill>
          <a:ln w="6350">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30" name="Freeform 21">
            <a:extLst>
              <a:ext uri="{FF2B5EF4-FFF2-40B4-BE49-F238E27FC236}">
                <a16:creationId xmlns:a16="http://schemas.microsoft.com/office/drawing/2014/main" id="{7BD42700-EF87-4A1C-A96E-E7A4CC76F695}"/>
              </a:ext>
            </a:extLst>
          </p:cNvPr>
          <p:cNvSpPr>
            <a:spLocks/>
          </p:cNvSpPr>
          <p:nvPr/>
        </p:nvSpPr>
        <p:spPr bwMode="auto">
          <a:xfrm rot="19589649">
            <a:off x="3359036" y="3490270"/>
            <a:ext cx="650458" cy="677463"/>
          </a:xfrm>
          <a:custGeom>
            <a:avLst/>
            <a:gdLst>
              <a:gd name="T0" fmla="*/ 10 w 292"/>
              <a:gd name="T1" fmla="*/ 164 h 292"/>
              <a:gd name="T2" fmla="*/ 128 w 292"/>
              <a:gd name="T3" fmla="*/ 10 h 292"/>
              <a:gd name="T4" fmla="*/ 282 w 292"/>
              <a:gd name="T5" fmla="*/ 127 h 292"/>
              <a:gd name="T6" fmla="*/ 165 w 292"/>
              <a:gd name="T7" fmla="*/ 282 h 292"/>
              <a:gd name="T8" fmla="*/ 10 w 292"/>
              <a:gd name="T9" fmla="*/ 164 h 292"/>
            </a:gdLst>
            <a:ahLst/>
            <a:cxnLst>
              <a:cxn ang="0">
                <a:pos x="T0" y="T1"/>
              </a:cxn>
              <a:cxn ang="0">
                <a:pos x="T2" y="T3"/>
              </a:cxn>
              <a:cxn ang="0">
                <a:pos x="T4" y="T5"/>
              </a:cxn>
              <a:cxn ang="0">
                <a:pos x="T6" y="T7"/>
              </a:cxn>
              <a:cxn ang="0">
                <a:pos x="T8" y="T9"/>
              </a:cxn>
            </a:cxnLst>
            <a:rect l="0" t="0" r="r" b="b"/>
            <a:pathLst>
              <a:path w="292" h="292">
                <a:moveTo>
                  <a:pt x="10" y="164"/>
                </a:moveTo>
                <a:cubicBezTo>
                  <a:pt x="0" y="89"/>
                  <a:pt x="53" y="20"/>
                  <a:pt x="128" y="10"/>
                </a:cubicBezTo>
                <a:cubicBezTo>
                  <a:pt x="203" y="0"/>
                  <a:pt x="272" y="52"/>
                  <a:pt x="282" y="127"/>
                </a:cubicBezTo>
                <a:cubicBezTo>
                  <a:pt x="292" y="202"/>
                  <a:pt x="240" y="272"/>
                  <a:pt x="165" y="282"/>
                </a:cubicBezTo>
                <a:cubicBezTo>
                  <a:pt x="89" y="292"/>
                  <a:pt x="20" y="239"/>
                  <a:pt x="10" y="164"/>
                </a:cubicBez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31" name="Freeform 22">
            <a:extLst>
              <a:ext uri="{FF2B5EF4-FFF2-40B4-BE49-F238E27FC236}">
                <a16:creationId xmlns:a16="http://schemas.microsoft.com/office/drawing/2014/main" id="{9C354925-0587-41F4-B89C-B0A945439930}"/>
              </a:ext>
            </a:extLst>
          </p:cNvPr>
          <p:cNvSpPr>
            <a:spLocks/>
          </p:cNvSpPr>
          <p:nvPr/>
        </p:nvSpPr>
        <p:spPr bwMode="auto">
          <a:xfrm rot="19589649">
            <a:off x="3352317" y="3537625"/>
            <a:ext cx="531911" cy="598140"/>
          </a:xfrm>
          <a:custGeom>
            <a:avLst/>
            <a:gdLst>
              <a:gd name="T0" fmla="*/ 30 w 239"/>
              <a:gd name="T1" fmla="*/ 175 h 258"/>
              <a:gd name="T2" fmla="*/ 148 w 239"/>
              <a:gd name="T3" fmla="*/ 21 h 258"/>
              <a:gd name="T4" fmla="*/ 239 w 239"/>
              <a:gd name="T5" fmla="*/ 41 h 258"/>
              <a:gd name="T6" fmla="*/ 128 w 239"/>
              <a:gd name="T7" fmla="*/ 6 h 258"/>
              <a:gd name="T8" fmla="*/ 10 w 239"/>
              <a:gd name="T9" fmla="*/ 160 h 258"/>
              <a:gd name="T10" fmla="*/ 73 w 239"/>
              <a:gd name="T11" fmla="*/ 258 h 258"/>
              <a:gd name="T12" fmla="*/ 30 w 239"/>
              <a:gd name="T13" fmla="*/ 175 h 258"/>
            </a:gdLst>
            <a:ahLst/>
            <a:cxnLst>
              <a:cxn ang="0">
                <a:pos x="T0" y="T1"/>
              </a:cxn>
              <a:cxn ang="0">
                <a:pos x="T2" y="T3"/>
              </a:cxn>
              <a:cxn ang="0">
                <a:pos x="T4" y="T5"/>
              </a:cxn>
              <a:cxn ang="0">
                <a:pos x="T6" y="T7"/>
              </a:cxn>
              <a:cxn ang="0">
                <a:pos x="T8" y="T9"/>
              </a:cxn>
              <a:cxn ang="0">
                <a:pos x="T10" y="T11"/>
              </a:cxn>
              <a:cxn ang="0">
                <a:pos x="T12" y="T13"/>
              </a:cxn>
            </a:cxnLst>
            <a:rect l="0" t="0" r="r" b="b"/>
            <a:pathLst>
              <a:path w="239" h="258">
                <a:moveTo>
                  <a:pt x="30" y="175"/>
                </a:moveTo>
                <a:cubicBezTo>
                  <a:pt x="20" y="100"/>
                  <a:pt x="72" y="31"/>
                  <a:pt x="148" y="21"/>
                </a:cubicBezTo>
                <a:cubicBezTo>
                  <a:pt x="181" y="16"/>
                  <a:pt x="213" y="24"/>
                  <a:pt x="239" y="41"/>
                </a:cubicBezTo>
                <a:cubicBezTo>
                  <a:pt x="210" y="14"/>
                  <a:pt x="170" y="0"/>
                  <a:pt x="128" y="6"/>
                </a:cubicBezTo>
                <a:cubicBezTo>
                  <a:pt x="53" y="16"/>
                  <a:pt x="0" y="85"/>
                  <a:pt x="10" y="160"/>
                </a:cubicBezTo>
                <a:cubicBezTo>
                  <a:pt x="16" y="202"/>
                  <a:pt x="40" y="237"/>
                  <a:pt x="73" y="258"/>
                </a:cubicBezTo>
                <a:cubicBezTo>
                  <a:pt x="50" y="237"/>
                  <a:pt x="34" y="208"/>
                  <a:pt x="30" y="175"/>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32" name="Freeform 24">
            <a:extLst>
              <a:ext uri="{FF2B5EF4-FFF2-40B4-BE49-F238E27FC236}">
                <a16:creationId xmlns:a16="http://schemas.microsoft.com/office/drawing/2014/main" id="{0247D165-2538-40E3-9495-038A3EB30B6D}"/>
              </a:ext>
            </a:extLst>
          </p:cNvPr>
          <p:cNvSpPr>
            <a:spLocks/>
          </p:cNvSpPr>
          <p:nvPr/>
        </p:nvSpPr>
        <p:spPr bwMode="auto">
          <a:xfrm rot="19589649">
            <a:off x="3425927" y="3380260"/>
            <a:ext cx="789620" cy="867195"/>
          </a:xfrm>
          <a:custGeom>
            <a:avLst/>
            <a:gdLst>
              <a:gd name="T0" fmla="*/ 318 w 354"/>
              <a:gd name="T1" fmla="*/ 113 h 374"/>
              <a:gd name="T2" fmla="*/ 318 w 354"/>
              <a:gd name="T3" fmla="*/ 114 h 374"/>
              <a:gd name="T4" fmla="*/ 318 w 354"/>
              <a:gd name="T5" fmla="*/ 114 h 374"/>
              <a:gd name="T6" fmla="*/ 319 w 354"/>
              <a:gd name="T7" fmla="*/ 116 h 374"/>
              <a:gd name="T8" fmla="*/ 319 w 354"/>
              <a:gd name="T9" fmla="*/ 117 h 374"/>
              <a:gd name="T10" fmla="*/ 319 w 354"/>
              <a:gd name="T11" fmla="*/ 117 h 374"/>
              <a:gd name="T12" fmla="*/ 319 w 354"/>
              <a:gd name="T13" fmla="*/ 118 h 374"/>
              <a:gd name="T14" fmla="*/ 319 w 354"/>
              <a:gd name="T15" fmla="*/ 118 h 374"/>
              <a:gd name="T16" fmla="*/ 319 w 354"/>
              <a:gd name="T17" fmla="*/ 119 h 374"/>
              <a:gd name="T18" fmla="*/ 319 w 354"/>
              <a:gd name="T19" fmla="*/ 120 h 374"/>
              <a:gd name="T20" fmla="*/ 319 w 354"/>
              <a:gd name="T21" fmla="*/ 120 h 374"/>
              <a:gd name="T22" fmla="*/ 320 w 354"/>
              <a:gd name="T23" fmla="*/ 121 h 374"/>
              <a:gd name="T24" fmla="*/ 320 w 354"/>
              <a:gd name="T25" fmla="*/ 121 h 374"/>
              <a:gd name="T26" fmla="*/ 320 w 354"/>
              <a:gd name="T27" fmla="*/ 122 h 374"/>
              <a:gd name="T28" fmla="*/ 320 w 354"/>
              <a:gd name="T29" fmla="*/ 122 h 374"/>
              <a:gd name="T30" fmla="*/ 320 w 354"/>
              <a:gd name="T31" fmla="*/ 123 h 374"/>
              <a:gd name="T32" fmla="*/ 320 w 354"/>
              <a:gd name="T33" fmla="*/ 123 h 374"/>
              <a:gd name="T34" fmla="*/ 320 w 354"/>
              <a:gd name="T35" fmla="*/ 124 h 374"/>
              <a:gd name="T36" fmla="*/ 320 w 354"/>
              <a:gd name="T37" fmla="*/ 124 h 374"/>
              <a:gd name="T38" fmla="*/ 320 w 354"/>
              <a:gd name="T39" fmla="*/ 125 h 374"/>
              <a:gd name="T40" fmla="*/ 320 w 354"/>
              <a:gd name="T41" fmla="*/ 125 h 374"/>
              <a:gd name="T42" fmla="*/ 320 w 354"/>
              <a:gd name="T43" fmla="*/ 125 h 374"/>
              <a:gd name="T44" fmla="*/ 321 w 354"/>
              <a:gd name="T45" fmla="*/ 126 h 374"/>
              <a:gd name="T46" fmla="*/ 321 w 354"/>
              <a:gd name="T47" fmla="*/ 126 h 374"/>
              <a:gd name="T48" fmla="*/ 321 w 354"/>
              <a:gd name="T49" fmla="*/ 127 h 374"/>
              <a:gd name="T50" fmla="*/ 321 w 354"/>
              <a:gd name="T51" fmla="*/ 127 h 374"/>
              <a:gd name="T52" fmla="*/ 321 w 354"/>
              <a:gd name="T53" fmla="*/ 128 h 374"/>
              <a:gd name="T54" fmla="*/ 321 w 354"/>
              <a:gd name="T55" fmla="*/ 128 h 374"/>
              <a:gd name="T56" fmla="*/ 321 w 354"/>
              <a:gd name="T57" fmla="*/ 129 h 374"/>
              <a:gd name="T58" fmla="*/ 321 w 354"/>
              <a:gd name="T59" fmla="*/ 130 h 374"/>
              <a:gd name="T60" fmla="*/ 321 w 354"/>
              <a:gd name="T61" fmla="*/ 130 h 374"/>
              <a:gd name="T62" fmla="*/ 321 w 354"/>
              <a:gd name="T63" fmla="*/ 131 h 374"/>
              <a:gd name="T64" fmla="*/ 321 w 354"/>
              <a:gd name="T65" fmla="*/ 131 h 374"/>
              <a:gd name="T66" fmla="*/ 321 w 354"/>
              <a:gd name="T67" fmla="*/ 132 h 374"/>
              <a:gd name="T68" fmla="*/ 321 w 354"/>
              <a:gd name="T69" fmla="*/ 132 h 374"/>
              <a:gd name="T70" fmla="*/ 322 w 354"/>
              <a:gd name="T71" fmla="*/ 132 h 374"/>
              <a:gd name="T72" fmla="*/ 323 w 354"/>
              <a:gd name="T73" fmla="*/ 160 h 374"/>
              <a:gd name="T74" fmla="*/ 93 w 354"/>
              <a:gd name="T75" fmla="*/ 359 h 374"/>
              <a:gd name="T76" fmla="*/ 93 w 354"/>
              <a:gd name="T77" fmla="*/ 359 h 374"/>
              <a:gd name="T78" fmla="*/ 92 w 354"/>
              <a:gd name="T79" fmla="*/ 359 h 374"/>
              <a:gd name="T80" fmla="*/ 92 w 354"/>
              <a:gd name="T81" fmla="*/ 359 h 374"/>
              <a:gd name="T82" fmla="*/ 91 w 354"/>
              <a:gd name="T83" fmla="*/ 359 h 374"/>
              <a:gd name="T84" fmla="*/ 0 w 354"/>
              <a:gd name="T85" fmla="*/ 320 h 374"/>
              <a:gd name="T86" fmla="*/ 339 w 354"/>
              <a:gd name="T87" fmla="*/ 14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4" h="374">
                <a:moveTo>
                  <a:pt x="244" y="0"/>
                </a:moveTo>
                <a:cubicBezTo>
                  <a:pt x="280" y="27"/>
                  <a:pt x="307" y="67"/>
                  <a:pt x="318" y="113"/>
                </a:cubicBezTo>
                <a:cubicBezTo>
                  <a:pt x="318" y="113"/>
                  <a:pt x="318" y="113"/>
                  <a:pt x="318" y="113"/>
                </a:cubicBezTo>
                <a:cubicBezTo>
                  <a:pt x="318" y="113"/>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5"/>
                  <a:pt x="318" y="116"/>
                  <a:pt x="319" y="116"/>
                </a:cubicBezTo>
                <a:cubicBezTo>
                  <a:pt x="319" y="116"/>
                  <a:pt x="319" y="116"/>
                  <a:pt x="319" y="116"/>
                </a:cubicBezTo>
                <a:cubicBezTo>
                  <a:pt x="319" y="116"/>
                  <a:pt x="319" y="116"/>
                  <a:pt x="319" y="116"/>
                </a:cubicBezTo>
                <a:cubicBezTo>
                  <a:pt x="319" y="116"/>
                  <a:pt x="319" y="116"/>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9"/>
                  <a:pt x="319" y="119"/>
                  <a:pt x="319" y="119"/>
                </a:cubicBezTo>
                <a:cubicBezTo>
                  <a:pt x="319" y="119"/>
                  <a:pt x="319" y="119"/>
                  <a:pt x="319" y="119"/>
                </a:cubicBezTo>
                <a:cubicBezTo>
                  <a:pt x="319" y="119"/>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20" y="120"/>
                  <a:pt x="320" y="120"/>
                </a:cubicBezTo>
                <a:cubicBezTo>
                  <a:pt x="320" y="120"/>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6"/>
                  <a:pt x="320" y="126"/>
                  <a:pt x="320" y="126"/>
                </a:cubicBezTo>
                <a:cubicBezTo>
                  <a:pt x="320" y="126"/>
                  <a:pt x="320" y="126"/>
                  <a:pt x="320" y="126"/>
                </a:cubicBezTo>
                <a:cubicBezTo>
                  <a:pt x="321" y="126"/>
                  <a:pt x="321" y="126"/>
                  <a:pt x="321" y="126"/>
                </a:cubicBezTo>
                <a:cubicBezTo>
                  <a:pt x="321" y="126"/>
                  <a:pt x="321" y="126"/>
                  <a:pt x="321" y="126"/>
                </a:cubicBezTo>
                <a:cubicBezTo>
                  <a:pt x="321" y="126"/>
                  <a:pt x="321" y="126"/>
                  <a:pt x="321" y="126"/>
                </a:cubicBezTo>
                <a:cubicBezTo>
                  <a:pt x="321" y="126"/>
                  <a:pt x="321" y="126"/>
                  <a:pt x="321" y="126"/>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9"/>
                </a:cubicBezTo>
                <a:cubicBezTo>
                  <a:pt x="321" y="129"/>
                  <a:pt x="321" y="129"/>
                  <a:pt x="321" y="129"/>
                </a:cubicBezTo>
                <a:cubicBezTo>
                  <a:pt x="321" y="129"/>
                  <a:pt x="321" y="129"/>
                  <a:pt x="321" y="129"/>
                </a:cubicBezTo>
                <a:cubicBezTo>
                  <a:pt x="321" y="129"/>
                  <a:pt x="321" y="129"/>
                  <a:pt x="321" y="129"/>
                </a:cubicBezTo>
                <a:cubicBezTo>
                  <a:pt x="321" y="129"/>
                  <a:pt x="321" y="129"/>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2"/>
                  <a:pt x="321" y="132"/>
                </a:cubicBezTo>
                <a:cubicBezTo>
                  <a:pt x="321" y="132"/>
                  <a:pt x="321" y="132"/>
                  <a:pt x="321" y="132"/>
                </a:cubicBezTo>
                <a:cubicBezTo>
                  <a:pt x="321" y="132"/>
                  <a:pt x="321" y="132"/>
                  <a:pt x="321" y="132"/>
                </a:cubicBezTo>
                <a:cubicBezTo>
                  <a:pt x="321" y="132"/>
                  <a:pt x="321" y="132"/>
                  <a:pt x="321" y="132"/>
                </a:cubicBezTo>
                <a:cubicBezTo>
                  <a:pt x="321" y="132"/>
                  <a:pt x="321" y="132"/>
                  <a:pt x="321" y="132"/>
                </a:cubicBezTo>
                <a:cubicBezTo>
                  <a:pt x="321" y="132"/>
                  <a:pt x="322" y="132"/>
                  <a:pt x="322" y="132"/>
                </a:cubicBezTo>
                <a:cubicBezTo>
                  <a:pt x="322" y="132"/>
                  <a:pt x="322" y="132"/>
                  <a:pt x="322" y="132"/>
                </a:cubicBezTo>
                <a:cubicBezTo>
                  <a:pt x="322" y="133"/>
                  <a:pt x="322" y="133"/>
                  <a:pt x="322" y="133"/>
                </a:cubicBezTo>
                <a:cubicBezTo>
                  <a:pt x="322" y="133"/>
                  <a:pt x="322" y="133"/>
                  <a:pt x="322" y="133"/>
                </a:cubicBezTo>
                <a:cubicBezTo>
                  <a:pt x="323" y="142"/>
                  <a:pt x="323" y="151"/>
                  <a:pt x="323" y="160"/>
                </a:cubicBezTo>
                <a:cubicBezTo>
                  <a:pt x="323" y="259"/>
                  <a:pt x="250" y="345"/>
                  <a:pt x="149" y="359"/>
                </a:cubicBezTo>
                <a:cubicBezTo>
                  <a:pt x="140" y="360"/>
                  <a:pt x="131" y="361"/>
                  <a:pt x="122" y="361"/>
                </a:cubicBezTo>
                <a:cubicBezTo>
                  <a:pt x="112" y="361"/>
                  <a:pt x="102" y="360"/>
                  <a:pt x="93" y="359"/>
                </a:cubicBezTo>
                <a:cubicBezTo>
                  <a:pt x="93" y="359"/>
                  <a:pt x="93" y="359"/>
                  <a:pt x="93" y="359"/>
                </a:cubicBezTo>
                <a:cubicBezTo>
                  <a:pt x="93" y="359"/>
                  <a:pt x="93" y="359"/>
                  <a:pt x="93" y="359"/>
                </a:cubicBezTo>
                <a:cubicBezTo>
                  <a:pt x="93" y="359"/>
                  <a:pt x="93" y="359"/>
                  <a:pt x="93"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1" y="359"/>
                  <a:pt x="91" y="359"/>
                </a:cubicBezTo>
                <a:cubicBezTo>
                  <a:pt x="91" y="359"/>
                  <a:pt x="91" y="359"/>
                  <a:pt x="91" y="359"/>
                </a:cubicBezTo>
                <a:cubicBezTo>
                  <a:pt x="91" y="359"/>
                  <a:pt x="91" y="359"/>
                  <a:pt x="91" y="359"/>
                </a:cubicBezTo>
                <a:cubicBezTo>
                  <a:pt x="91" y="359"/>
                  <a:pt x="91" y="359"/>
                  <a:pt x="91" y="359"/>
                </a:cubicBezTo>
                <a:cubicBezTo>
                  <a:pt x="58" y="353"/>
                  <a:pt x="27" y="340"/>
                  <a:pt x="0" y="320"/>
                </a:cubicBezTo>
                <a:cubicBezTo>
                  <a:pt x="37" y="354"/>
                  <a:pt x="86" y="374"/>
                  <a:pt x="138" y="374"/>
                </a:cubicBezTo>
                <a:cubicBezTo>
                  <a:pt x="147" y="374"/>
                  <a:pt x="156" y="374"/>
                  <a:pt x="165" y="372"/>
                </a:cubicBezTo>
                <a:cubicBezTo>
                  <a:pt x="276" y="357"/>
                  <a:pt x="354" y="256"/>
                  <a:pt x="339" y="145"/>
                </a:cubicBezTo>
                <a:cubicBezTo>
                  <a:pt x="330" y="82"/>
                  <a:pt x="294" y="30"/>
                  <a:pt x="244" y="0"/>
                </a:cubicBezTo>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33" name="Freeform 25">
            <a:extLst>
              <a:ext uri="{FF2B5EF4-FFF2-40B4-BE49-F238E27FC236}">
                <a16:creationId xmlns:a16="http://schemas.microsoft.com/office/drawing/2014/main" id="{6663A0E6-6EC7-4473-BD95-33136FA41273}"/>
              </a:ext>
            </a:extLst>
          </p:cNvPr>
          <p:cNvSpPr>
            <a:spLocks noEditPoints="1"/>
          </p:cNvSpPr>
          <p:nvPr/>
        </p:nvSpPr>
        <p:spPr bwMode="auto">
          <a:xfrm rot="19589649">
            <a:off x="3681774" y="3585587"/>
            <a:ext cx="517479" cy="575630"/>
          </a:xfrm>
          <a:custGeom>
            <a:avLst/>
            <a:gdLst>
              <a:gd name="T0" fmla="*/ 2 w 232"/>
              <a:gd name="T1" fmla="*/ 246 h 248"/>
              <a:gd name="T2" fmla="*/ 1 w 232"/>
              <a:gd name="T3" fmla="*/ 246 h 248"/>
              <a:gd name="T4" fmla="*/ 1 w 232"/>
              <a:gd name="T5" fmla="*/ 246 h 248"/>
              <a:gd name="T6" fmla="*/ 1 w 232"/>
              <a:gd name="T7" fmla="*/ 246 h 248"/>
              <a:gd name="T8" fmla="*/ 1 w 232"/>
              <a:gd name="T9" fmla="*/ 246 h 248"/>
              <a:gd name="T10" fmla="*/ 0 w 232"/>
              <a:gd name="T11" fmla="*/ 246 h 248"/>
              <a:gd name="T12" fmla="*/ 0 w 232"/>
              <a:gd name="T13" fmla="*/ 246 h 248"/>
              <a:gd name="T14" fmla="*/ 31 w 232"/>
              <a:gd name="T15" fmla="*/ 248 h 248"/>
              <a:gd name="T16" fmla="*/ 58 w 232"/>
              <a:gd name="T17" fmla="*/ 246 h 248"/>
              <a:gd name="T18" fmla="*/ 231 w 232"/>
              <a:gd name="T19" fmla="*/ 20 h 248"/>
              <a:gd name="T20" fmla="*/ 231 w 232"/>
              <a:gd name="T21" fmla="*/ 19 h 248"/>
              <a:gd name="T22" fmla="*/ 230 w 232"/>
              <a:gd name="T23" fmla="*/ 19 h 248"/>
              <a:gd name="T24" fmla="*/ 230 w 232"/>
              <a:gd name="T25" fmla="*/ 19 h 248"/>
              <a:gd name="T26" fmla="*/ 230 w 232"/>
              <a:gd name="T27" fmla="*/ 18 h 248"/>
              <a:gd name="T28" fmla="*/ 230 w 232"/>
              <a:gd name="T29" fmla="*/ 18 h 248"/>
              <a:gd name="T30" fmla="*/ 230 w 232"/>
              <a:gd name="T31" fmla="*/ 18 h 248"/>
              <a:gd name="T32" fmla="*/ 230 w 232"/>
              <a:gd name="T33" fmla="*/ 17 h 248"/>
              <a:gd name="T34" fmla="*/ 230 w 232"/>
              <a:gd name="T35" fmla="*/ 17 h 248"/>
              <a:gd name="T36" fmla="*/ 230 w 232"/>
              <a:gd name="T37" fmla="*/ 17 h 248"/>
              <a:gd name="T38" fmla="*/ 230 w 232"/>
              <a:gd name="T39" fmla="*/ 17 h 248"/>
              <a:gd name="T40" fmla="*/ 230 w 232"/>
              <a:gd name="T41" fmla="*/ 16 h 248"/>
              <a:gd name="T42" fmla="*/ 230 w 232"/>
              <a:gd name="T43" fmla="*/ 16 h 248"/>
              <a:gd name="T44" fmla="*/ 230 w 232"/>
              <a:gd name="T45" fmla="*/ 15 h 248"/>
              <a:gd name="T46" fmla="*/ 230 w 232"/>
              <a:gd name="T47" fmla="*/ 15 h 248"/>
              <a:gd name="T48" fmla="*/ 230 w 232"/>
              <a:gd name="T49" fmla="*/ 15 h 248"/>
              <a:gd name="T50" fmla="*/ 230 w 232"/>
              <a:gd name="T51" fmla="*/ 14 h 248"/>
              <a:gd name="T52" fmla="*/ 230 w 232"/>
              <a:gd name="T53" fmla="*/ 14 h 248"/>
              <a:gd name="T54" fmla="*/ 230 w 232"/>
              <a:gd name="T55" fmla="*/ 14 h 248"/>
              <a:gd name="T56" fmla="*/ 230 w 232"/>
              <a:gd name="T57" fmla="*/ 13 h 248"/>
              <a:gd name="T58" fmla="*/ 230 w 232"/>
              <a:gd name="T59" fmla="*/ 13 h 248"/>
              <a:gd name="T60" fmla="*/ 229 w 232"/>
              <a:gd name="T61" fmla="*/ 13 h 248"/>
              <a:gd name="T62" fmla="*/ 229 w 232"/>
              <a:gd name="T63" fmla="*/ 12 h 248"/>
              <a:gd name="T64" fmla="*/ 229 w 232"/>
              <a:gd name="T65" fmla="*/ 12 h 248"/>
              <a:gd name="T66" fmla="*/ 229 w 232"/>
              <a:gd name="T67" fmla="*/ 12 h 248"/>
              <a:gd name="T68" fmla="*/ 229 w 232"/>
              <a:gd name="T69" fmla="*/ 11 h 248"/>
              <a:gd name="T70" fmla="*/ 229 w 232"/>
              <a:gd name="T71" fmla="*/ 11 h 248"/>
              <a:gd name="T72" fmla="*/ 229 w 232"/>
              <a:gd name="T73" fmla="*/ 11 h 248"/>
              <a:gd name="T74" fmla="*/ 229 w 232"/>
              <a:gd name="T75" fmla="*/ 10 h 248"/>
              <a:gd name="T76" fmla="*/ 229 w 232"/>
              <a:gd name="T77" fmla="*/ 10 h 248"/>
              <a:gd name="T78" fmla="*/ 229 w 232"/>
              <a:gd name="T79" fmla="*/ 10 h 248"/>
              <a:gd name="T80" fmla="*/ 229 w 232"/>
              <a:gd name="T81" fmla="*/ 10 h 248"/>
              <a:gd name="T82" fmla="*/ 229 w 232"/>
              <a:gd name="T83" fmla="*/ 9 h 248"/>
              <a:gd name="T84" fmla="*/ 229 w 232"/>
              <a:gd name="T85" fmla="*/ 9 h 248"/>
              <a:gd name="T86" fmla="*/ 229 w 232"/>
              <a:gd name="T87" fmla="*/ 8 h 248"/>
              <a:gd name="T88" fmla="*/ 229 w 232"/>
              <a:gd name="T89" fmla="*/ 8 h 248"/>
              <a:gd name="T90" fmla="*/ 229 w 232"/>
              <a:gd name="T91" fmla="*/ 8 h 248"/>
              <a:gd name="T92" fmla="*/ 229 w 232"/>
              <a:gd name="T93" fmla="*/ 8 h 248"/>
              <a:gd name="T94" fmla="*/ 228 w 232"/>
              <a:gd name="T95" fmla="*/ 7 h 248"/>
              <a:gd name="T96" fmla="*/ 228 w 232"/>
              <a:gd name="T97" fmla="*/ 7 h 248"/>
              <a:gd name="T98" fmla="*/ 228 w 232"/>
              <a:gd name="T99" fmla="*/ 7 h 248"/>
              <a:gd name="T100" fmla="*/ 228 w 232"/>
              <a:gd name="T101" fmla="*/ 6 h 248"/>
              <a:gd name="T102" fmla="*/ 228 w 232"/>
              <a:gd name="T103" fmla="*/ 5 h 248"/>
              <a:gd name="T104" fmla="*/ 228 w 232"/>
              <a:gd name="T105" fmla="*/ 5 h 248"/>
              <a:gd name="T106" fmla="*/ 228 w 232"/>
              <a:gd name="T107" fmla="*/ 5 h 248"/>
              <a:gd name="T108" fmla="*/ 228 w 232"/>
              <a:gd name="T109" fmla="*/ 4 h 248"/>
              <a:gd name="T110" fmla="*/ 228 w 232"/>
              <a:gd name="T111" fmla="*/ 4 h 248"/>
              <a:gd name="T112" fmla="*/ 228 w 232"/>
              <a:gd name="T113" fmla="*/ 4 h 248"/>
              <a:gd name="T114" fmla="*/ 228 w 232"/>
              <a:gd name="T115" fmla="*/ 4 h 248"/>
              <a:gd name="T116" fmla="*/ 228 w 232"/>
              <a:gd name="T117" fmla="*/ 3 h 248"/>
              <a:gd name="T118" fmla="*/ 227 w 232"/>
              <a:gd name="T119" fmla="*/ 1 h 248"/>
              <a:gd name="T120" fmla="*/ 227 w 232"/>
              <a:gd name="T121" fmla="*/ 1 h 248"/>
              <a:gd name="T122" fmla="*/ 227 w 232"/>
              <a:gd name="T123" fmla="*/ 1 h 248"/>
              <a:gd name="T124" fmla="*/ 227 w 232"/>
              <a:gd name="T12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248">
                <a:moveTo>
                  <a:pt x="2" y="246"/>
                </a:moveTo>
                <a:cubicBezTo>
                  <a:pt x="2" y="246"/>
                  <a:pt x="2" y="246"/>
                  <a:pt x="2" y="246"/>
                </a:cubicBezTo>
                <a:cubicBezTo>
                  <a:pt x="2" y="246"/>
                  <a:pt x="2" y="246"/>
                  <a:pt x="2" y="246"/>
                </a:cubicBezTo>
                <a:moveTo>
                  <a:pt x="1" y="246"/>
                </a:moveTo>
                <a:cubicBezTo>
                  <a:pt x="1" y="246"/>
                  <a:pt x="1" y="246"/>
                  <a:pt x="2"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0" y="246"/>
                </a:moveTo>
                <a:cubicBezTo>
                  <a:pt x="0" y="246"/>
                  <a:pt x="0" y="246"/>
                  <a:pt x="0" y="246"/>
                </a:cubicBezTo>
                <a:cubicBezTo>
                  <a:pt x="0" y="246"/>
                  <a:pt x="0" y="246"/>
                  <a:pt x="0" y="246"/>
                </a:cubicBezTo>
                <a:moveTo>
                  <a:pt x="0" y="246"/>
                </a:moveTo>
                <a:cubicBezTo>
                  <a:pt x="0" y="246"/>
                  <a:pt x="0" y="246"/>
                  <a:pt x="0" y="246"/>
                </a:cubicBezTo>
                <a:cubicBezTo>
                  <a:pt x="0" y="246"/>
                  <a:pt x="0" y="246"/>
                  <a:pt x="0" y="246"/>
                </a:cubicBezTo>
                <a:moveTo>
                  <a:pt x="232" y="47"/>
                </a:moveTo>
                <a:cubicBezTo>
                  <a:pt x="232" y="146"/>
                  <a:pt x="159" y="232"/>
                  <a:pt x="58" y="246"/>
                </a:cubicBezTo>
                <a:cubicBezTo>
                  <a:pt x="49" y="247"/>
                  <a:pt x="40" y="248"/>
                  <a:pt x="31" y="248"/>
                </a:cubicBezTo>
                <a:cubicBezTo>
                  <a:pt x="21" y="248"/>
                  <a:pt x="11" y="247"/>
                  <a:pt x="2" y="246"/>
                </a:cubicBezTo>
                <a:cubicBezTo>
                  <a:pt x="11" y="247"/>
                  <a:pt x="21" y="248"/>
                  <a:pt x="31" y="248"/>
                </a:cubicBezTo>
                <a:cubicBezTo>
                  <a:pt x="40" y="248"/>
                  <a:pt x="49" y="247"/>
                  <a:pt x="58" y="246"/>
                </a:cubicBezTo>
                <a:cubicBezTo>
                  <a:pt x="159" y="232"/>
                  <a:pt x="232" y="146"/>
                  <a:pt x="232" y="47"/>
                </a:cubicBezTo>
                <a:moveTo>
                  <a:pt x="231" y="19"/>
                </a:moveTo>
                <a:cubicBezTo>
                  <a:pt x="231" y="20"/>
                  <a:pt x="231" y="20"/>
                  <a:pt x="231" y="20"/>
                </a:cubicBezTo>
                <a:cubicBezTo>
                  <a:pt x="231" y="20"/>
                  <a:pt x="231" y="20"/>
                  <a:pt x="231" y="19"/>
                </a:cubicBezTo>
                <a:moveTo>
                  <a:pt x="230" y="19"/>
                </a:moveTo>
                <a:cubicBezTo>
                  <a:pt x="230" y="19"/>
                  <a:pt x="231" y="19"/>
                  <a:pt x="231" y="19"/>
                </a:cubicBezTo>
                <a:cubicBezTo>
                  <a:pt x="231" y="19"/>
                  <a:pt x="230" y="19"/>
                  <a:pt x="230" y="19"/>
                </a:cubicBezTo>
                <a:moveTo>
                  <a:pt x="230" y="19"/>
                </a:moveTo>
                <a:cubicBezTo>
                  <a:pt x="230" y="19"/>
                  <a:pt x="230" y="19"/>
                  <a:pt x="230" y="19"/>
                </a:cubicBezTo>
                <a:cubicBezTo>
                  <a:pt x="230" y="19"/>
                  <a:pt x="230" y="19"/>
                  <a:pt x="230" y="19"/>
                </a:cubicBezTo>
                <a:moveTo>
                  <a:pt x="230" y="19"/>
                </a:moveTo>
                <a:cubicBezTo>
                  <a:pt x="230" y="19"/>
                  <a:pt x="230" y="19"/>
                  <a:pt x="230" y="19"/>
                </a:cubicBezTo>
                <a:cubicBezTo>
                  <a:pt x="230" y="19"/>
                  <a:pt x="230" y="19"/>
                  <a:pt x="230" y="19"/>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6"/>
                </a:moveTo>
                <a:cubicBezTo>
                  <a:pt x="230" y="16"/>
                  <a:pt x="230" y="16"/>
                  <a:pt x="230" y="17"/>
                </a:cubicBezTo>
                <a:cubicBezTo>
                  <a:pt x="230" y="16"/>
                  <a:pt x="230" y="16"/>
                  <a:pt x="230" y="16"/>
                </a:cubicBezTo>
                <a:moveTo>
                  <a:pt x="230" y="16"/>
                </a:moveTo>
                <a:cubicBezTo>
                  <a:pt x="230" y="16"/>
                  <a:pt x="230" y="16"/>
                  <a:pt x="230" y="16"/>
                </a:cubicBezTo>
                <a:cubicBezTo>
                  <a:pt x="230" y="16"/>
                  <a:pt x="230" y="16"/>
                  <a:pt x="230" y="16"/>
                </a:cubicBezTo>
                <a:moveTo>
                  <a:pt x="230" y="15"/>
                </a:moveTo>
                <a:cubicBezTo>
                  <a:pt x="230" y="15"/>
                  <a:pt x="230" y="15"/>
                  <a:pt x="230" y="16"/>
                </a:cubicBezTo>
                <a:cubicBezTo>
                  <a:pt x="230" y="15"/>
                  <a:pt x="230" y="15"/>
                  <a:pt x="230" y="15"/>
                </a:cubicBezTo>
                <a:moveTo>
                  <a:pt x="230" y="15"/>
                </a:moveTo>
                <a:cubicBezTo>
                  <a:pt x="230" y="15"/>
                  <a:pt x="230" y="15"/>
                  <a:pt x="230" y="15"/>
                </a:cubicBezTo>
                <a:cubicBezTo>
                  <a:pt x="230" y="15"/>
                  <a:pt x="230" y="15"/>
                  <a:pt x="230" y="15"/>
                </a:cubicBezTo>
                <a:moveTo>
                  <a:pt x="230" y="15"/>
                </a:moveTo>
                <a:cubicBezTo>
                  <a:pt x="230" y="15"/>
                  <a:pt x="230" y="15"/>
                  <a:pt x="230" y="15"/>
                </a:cubicBezTo>
                <a:cubicBezTo>
                  <a:pt x="230" y="15"/>
                  <a:pt x="230" y="15"/>
                  <a:pt x="230" y="15"/>
                </a:cubicBezTo>
                <a:moveTo>
                  <a:pt x="230" y="14"/>
                </a:moveTo>
                <a:cubicBezTo>
                  <a:pt x="230" y="14"/>
                  <a:pt x="230" y="15"/>
                  <a:pt x="230" y="15"/>
                </a:cubicBezTo>
                <a:cubicBezTo>
                  <a:pt x="230" y="15"/>
                  <a:pt x="230" y="14"/>
                  <a:pt x="230" y="14"/>
                </a:cubicBezTo>
                <a:moveTo>
                  <a:pt x="230" y="14"/>
                </a:moveTo>
                <a:cubicBezTo>
                  <a:pt x="230" y="14"/>
                  <a:pt x="230" y="14"/>
                  <a:pt x="230" y="14"/>
                </a:cubicBezTo>
                <a:cubicBezTo>
                  <a:pt x="230" y="14"/>
                  <a:pt x="230" y="14"/>
                  <a:pt x="230" y="14"/>
                </a:cubicBezTo>
                <a:moveTo>
                  <a:pt x="230" y="14"/>
                </a:moveTo>
                <a:cubicBezTo>
                  <a:pt x="230" y="14"/>
                  <a:pt x="230" y="14"/>
                  <a:pt x="230" y="14"/>
                </a:cubicBezTo>
                <a:cubicBezTo>
                  <a:pt x="230" y="14"/>
                  <a:pt x="230" y="14"/>
                  <a:pt x="230" y="14"/>
                </a:cubicBezTo>
                <a:moveTo>
                  <a:pt x="230" y="13"/>
                </a:moveTo>
                <a:cubicBezTo>
                  <a:pt x="230" y="14"/>
                  <a:pt x="230" y="14"/>
                  <a:pt x="230" y="14"/>
                </a:cubicBezTo>
                <a:cubicBezTo>
                  <a:pt x="230" y="14"/>
                  <a:pt x="230" y="14"/>
                  <a:pt x="230" y="13"/>
                </a:cubicBezTo>
                <a:moveTo>
                  <a:pt x="230" y="13"/>
                </a:moveTo>
                <a:cubicBezTo>
                  <a:pt x="230" y="13"/>
                  <a:pt x="230" y="13"/>
                  <a:pt x="230" y="13"/>
                </a:cubicBezTo>
                <a:cubicBezTo>
                  <a:pt x="230" y="13"/>
                  <a:pt x="230" y="13"/>
                  <a:pt x="230" y="13"/>
                </a:cubicBezTo>
                <a:moveTo>
                  <a:pt x="229" y="13"/>
                </a:moveTo>
                <a:cubicBezTo>
                  <a:pt x="230" y="13"/>
                  <a:pt x="230" y="13"/>
                  <a:pt x="230" y="13"/>
                </a:cubicBezTo>
                <a:cubicBezTo>
                  <a:pt x="230" y="13"/>
                  <a:pt x="230" y="13"/>
                  <a:pt x="229" y="13"/>
                </a:cubicBezTo>
                <a:moveTo>
                  <a:pt x="229" y="12"/>
                </a:moveTo>
                <a:cubicBezTo>
                  <a:pt x="229" y="13"/>
                  <a:pt x="229" y="13"/>
                  <a:pt x="229" y="13"/>
                </a:cubicBezTo>
                <a:cubicBezTo>
                  <a:pt x="229" y="13"/>
                  <a:pt x="229" y="13"/>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9"/>
                </a:moveTo>
                <a:cubicBezTo>
                  <a:pt x="229" y="9"/>
                  <a:pt x="229" y="10"/>
                  <a:pt x="229" y="10"/>
                </a:cubicBezTo>
                <a:cubicBezTo>
                  <a:pt x="229" y="10"/>
                  <a:pt x="229" y="9"/>
                  <a:pt x="229" y="9"/>
                </a:cubicBezTo>
                <a:moveTo>
                  <a:pt x="229" y="9"/>
                </a:moveTo>
                <a:cubicBezTo>
                  <a:pt x="229" y="9"/>
                  <a:pt x="229" y="9"/>
                  <a:pt x="229" y="9"/>
                </a:cubicBezTo>
                <a:cubicBezTo>
                  <a:pt x="229" y="9"/>
                  <a:pt x="229" y="9"/>
                  <a:pt x="229" y="9"/>
                </a:cubicBezTo>
                <a:moveTo>
                  <a:pt x="229" y="9"/>
                </a:moveTo>
                <a:cubicBezTo>
                  <a:pt x="229" y="9"/>
                  <a:pt x="229" y="9"/>
                  <a:pt x="229" y="9"/>
                </a:cubicBezTo>
                <a:cubicBezTo>
                  <a:pt x="229" y="9"/>
                  <a:pt x="229" y="9"/>
                  <a:pt x="229" y="9"/>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7"/>
                </a:moveTo>
                <a:cubicBezTo>
                  <a:pt x="229" y="7"/>
                  <a:pt x="229" y="8"/>
                  <a:pt x="229" y="8"/>
                </a:cubicBezTo>
                <a:cubicBezTo>
                  <a:pt x="229" y="8"/>
                  <a:pt x="229" y="7"/>
                  <a:pt x="229"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6"/>
                </a:moveTo>
                <a:cubicBezTo>
                  <a:pt x="228" y="6"/>
                  <a:pt x="228" y="6"/>
                  <a:pt x="228" y="6"/>
                </a:cubicBezTo>
                <a:cubicBezTo>
                  <a:pt x="228" y="6"/>
                  <a:pt x="228" y="6"/>
                  <a:pt x="228" y="6"/>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3"/>
                </a:moveTo>
                <a:cubicBezTo>
                  <a:pt x="228" y="3"/>
                  <a:pt x="228" y="3"/>
                  <a:pt x="228" y="4"/>
                </a:cubicBezTo>
                <a:cubicBezTo>
                  <a:pt x="228" y="3"/>
                  <a:pt x="228" y="3"/>
                  <a:pt x="228" y="3"/>
                </a:cubicBezTo>
                <a:moveTo>
                  <a:pt x="228" y="3"/>
                </a:moveTo>
                <a:cubicBezTo>
                  <a:pt x="228" y="3"/>
                  <a:pt x="228" y="3"/>
                  <a:pt x="228" y="3"/>
                </a:cubicBezTo>
                <a:cubicBezTo>
                  <a:pt x="228" y="3"/>
                  <a:pt x="228" y="3"/>
                  <a:pt x="228" y="3"/>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0"/>
                </a:moveTo>
                <a:cubicBezTo>
                  <a:pt x="227" y="0"/>
                  <a:pt x="227" y="0"/>
                  <a:pt x="227" y="0"/>
                </a:cubicBezTo>
                <a:cubicBezTo>
                  <a:pt x="227" y="0"/>
                  <a:pt x="227" y="0"/>
                  <a:pt x="227" y="0"/>
                </a:cubicBezTo>
              </a:path>
            </a:pathLst>
          </a:custGeom>
          <a:solidFill>
            <a:srgbClr val="D5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grpSp>
        <p:nvGrpSpPr>
          <p:cNvPr id="34" name="Group 33">
            <a:extLst>
              <a:ext uri="{FF2B5EF4-FFF2-40B4-BE49-F238E27FC236}">
                <a16:creationId xmlns:a16="http://schemas.microsoft.com/office/drawing/2014/main" id="{EA8F7323-8382-400A-8337-4182811F2AB3}"/>
              </a:ext>
            </a:extLst>
          </p:cNvPr>
          <p:cNvGrpSpPr/>
          <p:nvPr/>
        </p:nvGrpSpPr>
        <p:grpSpPr>
          <a:xfrm>
            <a:off x="3471906" y="1538772"/>
            <a:ext cx="424718" cy="405082"/>
            <a:chOff x="18769013" y="630238"/>
            <a:chExt cx="1201738" cy="1146176"/>
          </a:xfrm>
        </p:grpSpPr>
        <p:sp>
          <p:nvSpPr>
            <p:cNvPr id="35" name="Freeform 125">
              <a:extLst>
                <a:ext uri="{FF2B5EF4-FFF2-40B4-BE49-F238E27FC236}">
                  <a16:creationId xmlns:a16="http://schemas.microsoft.com/office/drawing/2014/main" id="{FA2E82FB-7780-4F71-8FE3-CE419FD92717}"/>
                </a:ext>
              </a:extLst>
            </p:cNvPr>
            <p:cNvSpPr>
              <a:spLocks noEditPoints="1"/>
            </p:cNvSpPr>
            <p:nvPr/>
          </p:nvSpPr>
          <p:spPr bwMode="auto">
            <a:xfrm>
              <a:off x="18769013" y="630238"/>
              <a:ext cx="1201738" cy="701675"/>
            </a:xfrm>
            <a:custGeom>
              <a:avLst/>
              <a:gdLst>
                <a:gd name="T0" fmla="*/ 328 w 1515"/>
                <a:gd name="T1" fmla="*/ 769 h 883"/>
                <a:gd name="T2" fmla="*/ 298 w 1515"/>
                <a:gd name="T3" fmla="*/ 753 h 883"/>
                <a:gd name="T4" fmla="*/ 282 w 1515"/>
                <a:gd name="T5" fmla="*/ 725 h 883"/>
                <a:gd name="T6" fmla="*/ 280 w 1515"/>
                <a:gd name="T7" fmla="*/ 171 h 883"/>
                <a:gd name="T8" fmla="*/ 291 w 1515"/>
                <a:gd name="T9" fmla="*/ 139 h 883"/>
                <a:gd name="T10" fmla="*/ 315 w 1515"/>
                <a:gd name="T11" fmla="*/ 118 h 883"/>
                <a:gd name="T12" fmla="*/ 1262 w 1515"/>
                <a:gd name="T13" fmla="*/ 113 h 883"/>
                <a:gd name="T14" fmla="*/ 1284 w 1515"/>
                <a:gd name="T15" fmla="*/ 118 h 883"/>
                <a:gd name="T16" fmla="*/ 1311 w 1515"/>
                <a:gd name="T17" fmla="*/ 139 h 883"/>
                <a:gd name="T18" fmla="*/ 1320 w 1515"/>
                <a:gd name="T19" fmla="*/ 171 h 883"/>
                <a:gd name="T20" fmla="*/ 1320 w 1515"/>
                <a:gd name="T21" fmla="*/ 725 h 883"/>
                <a:gd name="T22" fmla="*/ 1304 w 1515"/>
                <a:gd name="T23" fmla="*/ 753 h 883"/>
                <a:gd name="T24" fmla="*/ 1274 w 1515"/>
                <a:gd name="T25" fmla="*/ 769 h 883"/>
                <a:gd name="T26" fmla="*/ 1174 w 1515"/>
                <a:gd name="T27" fmla="*/ 883 h 883"/>
                <a:gd name="T28" fmla="*/ 1413 w 1515"/>
                <a:gd name="T29" fmla="*/ 883 h 883"/>
                <a:gd name="T30" fmla="*/ 1446 w 1515"/>
                <a:gd name="T31" fmla="*/ 874 h 883"/>
                <a:gd name="T32" fmla="*/ 1481 w 1515"/>
                <a:gd name="T33" fmla="*/ 850 h 883"/>
                <a:gd name="T34" fmla="*/ 1506 w 1515"/>
                <a:gd name="T35" fmla="*/ 814 h 883"/>
                <a:gd name="T36" fmla="*/ 1513 w 1515"/>
                <a:gd name="T37" fmla="*/ 783 h 883"/>
                <a:gd name="T38" fmla="*/ 1515 w 1515"/>
                <a:gd name="T39" fmla="*/ 113 h 883"/>
                <a:gd name="T40" fmla="*/ 1510 w 1515"/>
                <a:gd name="T41" fmla="*/ 79 h 883"/>
                <a:gd name="T42" fmla="*/ 1496 w 1515"/>
                <a:gd name="T43" fmla="*/ 49 h 883"/>
                <a:gd name="T44" fmla="*/ 1455 w 1515"/>
                <a:gd name="T45" fmla="*/ 14 h 883"/>
                <a:gd name="T46" fmla="*/ 1425 w 1515"/>
                <a:gd name="T47" fmla="*/ 2 h 883"/>
                <a:gd name="T48" fmla="*/ 113 w 1515"/>
                <a:gd name="T49" fmla="*/ 0 h 883"/>
                <a:gd name="T50" fmla="*/ 90 w 1515"/>
                <a:gd name="T51" fmla="*/ 2 h 883"/>
                <a:gd name="T52" fmla="*/ 58 w 1515"/>
                <a:gd name="T53" fmla="*/ 14 h 883"/>
                <a:gd name="T54" fmla="*/ 20 w 1515"/>
                <a:gd name="T55" fmla="*/ 49 h 883"/>
                <a:gd name="T56" fmla="*/ 6 w 1515"/>
                <a:gd name="T57" fmla="*/ 79 h 883"/>
                <a:gd name="T58" fmla="*/ 0 w 1515"/>
                <a:gd name="T59" fmla="*/ 113 h 883"/>
                <a:gd name="T60" fmla="*/ 0 w 1515"/>
                <a:gd name="T61" fmla="*/ 783 h 883"/>
                <a:gd name="T62" fmla="*/ 9 w 1515"/>
                <a:gd name="T63" fmla="*/ 814 h 883"/>
                <a:gd name="T64" fmla="*/ 32 w 1515"/>
                <a:gd name="T65" fmla="*/ 850 h 883"/>
                <a:gd name="T66" fmla="*/ 69 w 1515"/>
                <a:gd name="T67" fmla="*/ 874 h 883"/>
                <a:gd name="T68" fmla="*/ 101 w 1515"/>
                <a:gd name="T69" fmla="*/ 883 h 883"/>
                <a:gd name="T70" fmla="*/ 938 w 1515"/>
                <a:gd name="T71" fmla="*/ 770 h 883"/>
                <a:gd name="T72" fmla="*/ 1406 w 1515"/>
                <a:gd name="T73" fmla="*/ 346 h 883"/>
                <a:gd name="T74" fmla="*/ 1420 w 1515"/>
                <a:gd name="T75" fmla="*/ 327 h 883"/>
                <a:gd name="T76" fmla="*/ 1436 w 1515"/>
                <a:gd name="T77" fmla="*/ 327 h 883"/>
                <a:gd name="T78" fmla="*/ 1450 w 1515"/>
                <a:gd name="T79" fmla="*/ 346 h 883"/>
                <a:gd name="T80" fmla="*/ 1448 w 1515"/>
                <a:gd name="T81" fmla="*/ 545 h 883"/>
                <a:gd name="T82" fmla="*/ 1429 w 1515"/>
                <a:gd name="T83" fmla="*/ 559 h 883"/>
                <a:gd name="T84" fmla="*/ 1413 w 1515"/>
                <a:gd name="T85" fmla="*/ 552 h 883"/>
                <a:gd name="T86" fmla="*/ 1406 w 1515"/>
                <a:gd name="T87" fmla="*/ 346 h 883"/>
                <a:gd name="T88" fmla="*/ 127 w 1515"/>
                <a:gd name="T89" fmla="*/ 501 h 883"/>
                <a:gd name="T90" fmla="*/ 95 w 1515"/>
                <a:gd name="T91" fmla="*/ 484 h 883"/>
                <a:gd name="T92" fmla="*/ 80 w 1515"/>
                <a:gd name="T93" fmla="*/ 454 h 883"/>
                <a:gd name="T94" fmla="*/ 80 w 1515"/>
                <a:gd name="T95" fmla="*/ 429 h 883"/>
                <a:gd name="T96" fmla="*/ 95 w 1515"/>
                <a:gd name="T97" fmla="*/ 399 h 883"/>
                <a:gd name="T98" fmla="*/ 127 w 1515"/>
                <a:gd name="T99" fmla="*/ 383 h 883"/>
                <a:gd name="T100" fmla="*/ 152 w 1515"/>
                <a:gd name="T101" fmla="*/ 383 h 883"/>
                <a:gd name="T102" fmla="*/ 182 w 1515"/>
                <a:gd name="T103" fmla="*/ 399 h 883"/>
                <a:gd name="T104" fmla="*/ 197 w 1515"/>
                <a:gd name="T105" fmla="*/ 429 h 883"/>
                <a:gd name="T106" fmla="*/ 197 w 1515"/>
                <a:gd name="T107" fmla="*/ 454 h 883"/>
                <a:gd name="T108" fmla="*/ 182 w 1515"/>
                <a:gd name="T109" fmla="*/ 484 h 883"/>
                <a:gd name="T110" fmla="*/ 152 w 1515"/>
                <a:gd name="T111" fmla="*/ 501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15" h="883">
                  <a:moveTo>
                    <a:pt x="338" y="770"/>
                  </a:moveTo>
                  <a:lnTo>
                    <a:pt x="338" y="770"/>
                  </a:lnTo>
                  <a:lnTo>
                    <a:pt x="328" y="769"/>
                  </a:lnTo>
                  <a:lnTo>
                    <a:pt x="315" y="767"/>
                  </a:lnTo>
                  <a:lnTo>
                    <a:pt x="306" y="760"/>
                  </a:lnTo>
                  <a:lnTo>
                    <a:pt x="298" y="753"/>
                  </a:lnTo>
                  <a:lnTo>
                    <a:pt x="291" y="746"/>
                  </a:lnTo>
                  <a:lnTo>
                    <a:pt x="285" y="735"/>
                  </a:lnTo>
                  <a:lnTo>
                    <a:pt x="282" y="725"/>
                  </a:lnTo>
                  <a:lnTo>
                    <a:pt x="280" y="712"/>
                  </a:lnTo>
                  <a:lnTo>
                    <a:pt x="280" y="171"/>
                  </a:lnTo>
                  <a:lnTo>
                    <a:pt x="280" y="171"/>
                  </a:lnTo>
                  <a:lnTo>
                    <a:pt x="282" y="160"/>
                  </a:lnTo>
                  <a:lnTo>
                    <a:pt x="285" y="148"/>
                  </a:lnTo>
                  <a:lnTo>
                    <a:pt x="291" y="139"/>
                  </a:lnTo>
                  <a:lnTo>
                    <a:pt x="298" y="130"/>
                  </a:lnTo>
                  <a:lnTo>
                    <a:pt x="306" y="123"/>
                  </a:lnTo>
                  <a:lnTo>
                    <a:pt x="315" y="118"/>
                  </a:lnTo>
                  <a:lnTo>
                    <a:pt x="328" y="114"/>
                  </a:lnTo>
                  <a:lnTo>
                    <a:pt x="338" y="113"/>
                  </a:lnTo>
                  <a:lnTo>
                    <a:pt x="1262" y="113"/>
                  </a:lnTo>
                  <a:lnTo>
                    <a:pt x="1262" y="113"/>
                  </a:lnTo>
                  <a:lnTo>
                    <a:pt x="1274" y="114"/>
                  </a:lnTo>
                  <a:lnTo>
                    <a:pt x="1284" y="118"/>
                  </a:lnTo>
                  <a:lnTo>
                    <a:pt x="1295" y="123"/>
                  </a:lnTo>
                  <a:lnTo>
                    <a:pt x="1304" y="130"/>
                  </a:lnTo>
                  <a:lnTo>
                    <a:pt x="1311" y="139"/>
                  </a:lnTo>
                  <a:lnTo>
                    <a:pt x="1316" y="148"/>
                  </a:lnTo>
                  <a:lnTo>
                    <a:pt x="1320" y="160"/>
                  </a:lnTo>
                  <a:lnTo>
                    <a:pt x="1320" y="171"/>
                  </a:lnTo>
                  <a:lnTo>
                    <a:pt x="1320" y="712"/>
                  </a:lnTo>
                  <a:lnTo>
                    <a:pt x="1320" y="712"/>
                  </a:lnTo>
                  <a:lnTo>
                    <a:pt x="1320" y="725"/>
                  </a:lnTo>
                  <a:lnTo>
                    <a:pt x="1316" y="735"/>
                  </a:lnTo>
                  <a:lnTo>
                    <a:pt x="1311" y="746"/>
                  </a:lnTo>
                  <a:lnTo>
                    <a:pt x="1304" y="753"/>
                  </a:lnTo>
                  <a:lnTo>
                    <a:pt x="1295" y="760"/>
                  </a:lnTo>
                  <a:lnTo>
                    <a:pt x="1284" y="767"/>
                  </a:lnTo>
                  <a:lnTo>
                    <a:pt x="1274" y="769"/>
                  </a:lnTo>
                  <a:lnTo>
                    <a:pt x="1262" y="770"/>
                  </a:lnTo>
                  <a:lnTo>
                    <a:pt x="1167" y="770"/>
                  </a:lnTo>
                  <a:lnTo>
                    <a:pt x="1174" y="883"/>
                  </a:lnTo>
                  <a:lnTo>
                    <a:pt x="1402" y="883"/>
                  </a:lnTo>
                  <a:lnTo>
                    <a:pt x="1402" y="883"/>
                  </a:lnTo>
                  <a:lnTo>
                    <a:pt x="1413" y="883"/>
                  </a:lnTo>
                  <a:lnTo>
                    <a:pt x="1425" y="881"/>
                  </a:lnTo>
                  <a:lnTo>
                    <a:pt x="1436" y="878"/>
                  </a:lnTo>
                  <a:lnTo>
                    <a:pt x="1446" y="874"/>
                  </a:lnTo>
                  <a:lnTo>
                    <a:pt x="1455" y="869"/>
                  </a:lnTo>
                  <a:lnTo>
                    <a:pt x="1464" y="864"/>
                  </a:lnTo>
                  <a:lnTo>
                    <a:pt x="1481" y="850"/>
                  </a:lnTo>
                  <a:lnTo>
                    <a:pt x="1496" y="834"/>
                  </a:lnTo>
                  <a:lnTo>
                    <a:pt x="1501" y="825"/>
                  </a:lnTo>
                  <a:lnTo>
                    <a:pt x="1506" y="814"/>
                  </a:lnTo>
                  <a:lnTo>
                    <a:pt x="1510" y="804"/>
                  </a:lnTo>
                  <a:lnTo>
                    <a:pt x="1511" y="793"/>
                  </a:lnTo>
                  <a:lnTo>
                    <a:pt x="1513" y="783"/>
                  </a:lnTo>
                  <a:lnTo>
                    <a:pt x="1515" y="770"/>
                  </a:lnTo>
                  <a:lnTo>
                    <a:pt x="1515" y="113"/>
                  </a:lnTo>
                  <a:lnTo>
                    <a:pt x="1515" y="113"/>
                  </a:lnTo>
                  <a:lnTo>
                    <a:pt x="1513" y="102"/>
                  </a:lnTo>
                  <a:lnTo>
                    <a:pt x="1511" y="90"/>
                  </a:lnTo>
                  <a:lnTo>
                    <a:pt x="1510" y="79"/>
                  </a:lnTo>
                  <a:lnTo>
                    <a:pt x="1506" y="69"/>
                  </a:lnTo>
                  <a:lnTo>
                    <a:pt x="1501" y="60"/>
                  </a:lnTo>
                  <a:lnTo>
                    <a:pt x="1496" y="49"/>
                  </a:lnTo>
                  <a:lnTo>
                    <a:pt x="1481" y="33"/>
                  </a:lnTo>
                  <a:lnTo>
                    <a:pt x="1464" y="19"/>
                  </a:lnTo>
                  <a:lnTo>
                    <a:pt x="1455" y="14"/>
                  </a:lnTo>
                  <a:lnTo>
                    <a:pt x="1446" y="9"/>
                  </a:lnTo>
                  <a:lnTo>
                    <a:pt x="1436" y="5"/>
                  </a:lnTo>
                  <a:lnTo>
                    <a:pt x="1425" y="2"/>
                  </a:lnTo>
                  <a:lnTo>
                    <a:pt x="1413" y="0"/>
                  </a:lnTo>
                  <a:lnTo>
                    <a:pt x="1402" y="0"/>
                  </a:lnTo>
                  <a:lnTo>
                    <a:pt x="113" y="0"/>
                  </a:lnTo>
                  <a:lnTo>
                    <a:pt x="113" y="0"/>
                  </a:lnTo>
                  <a:lnTo>
                    <a:pt x="101" y="0"/>
                  </a:lnTo>
                  <a:lnTo>
                    <a:pt x="90" y="2"/>
                  </a:lnTo>
                  <a:lnTo>
                    <a:pt x="80" y="5"/>
                  </a:lnTo>
                  <a:lnTo>
                    <a:pt x="69" y="9"/>
                  </a:lnTo>
                  <a:lnTo>
                    <a:pt x="58" y="14"/>
                  </a:lnTo>
                  <a:lnTo>
                    <a:pt x="50" y="19"/>
                  </a:lnTo>
                  <a:lnTo>
                    <a:pt x="32" y="33"/>
                  </a:lnTo>
                  <a:lnTo>
                    <a:pt x="20" y="49"/>
                  </a:lnTo>
                  <a:lnTo>
                    <a:pt x="13" y="60"/>
                  </a:lnTo>
                  <a:lnTo>
                    <a:pt x="9" y="69"/>
                  </a:lnTo>
                  <a:lnTo>
                    <a:pt x="6" y="79"/>
                  </a:lnTo>
                  <a:lnTo>
                    <a:pt x="2" y="90"/>
                  </a:lnTo>
                  <a:lnTo>
                    <a:pt x="0" y="102"/>
                  </a:lnTo>
                  <a:lnTo>
                    <a:pt x="0" y="113"/>
                  </a:lnTo>
                  <a:lnTo>
                    <a:pt x="0" y="770"/>
                  </a:lnTo>
                  <a:lnTo>
                    <a:pt x="0" y="770"/>
                  </a:lnTo>
                  <a:lnTo>
                    <a:pt x="0" y="783"/>
                  </a:lnTo>
                  <a:lnTo>
                    <a:pt x="2" y="793"/>
                  </a:lnTo>
                  <a:lnTo>
                    <a:pt x="6" y="804"/>
                  </a:lnTo>
                  <a:lnTo>
                    <a:pt x="9" y="814"/>
                  </a:lnTo>
                  <a:lnTo>
                    <a:pt x="13" y="825"/>
                  </a:lnTo>
                  <a:lnTo>
                    <a:pt x="20" y="834"/>
                  </a:lnTo>
                  <a:lnTo>
                    <a:pt x="32" y="850"/>
                  </a:lnTo>
                  <a:lnTo>
                    <a:pt x="50" y="864"/>
                  </a:lnTo>
                  <a:lnTo>
                    <a:pt x="58" y="869"/>
                  </a:lnTo>
                  <a:lnTo>
                    <a:pt x="69" y="874"/>
                  </a:lnTo>
                  <a:lnTo>
                    <a:pt x="80" y="878"/>
                  </a:lnTo>
                  <a:lnTo>
                    <a:pt x="90" y="881"/>
                  </a:lnTo>
                  <a:lnTo>
                    <a:pt x="101" y="883"/>
                  </a:lnTo>
                  <a:lnTo>
                    <a:pt x="113" y="883"/>
                  </a:lnTo>
                  <a:lnTo>
                    <a:pt x="931" y="883"/>
                  </a:lnTo>
                  <a:lnTo>
                    <a:pt x="938" y="770"/>
                  </a:lnTo>
                  <a:lnTo>
                    <a:pt x="338" y="770"/>
                  </a:lnTo>
                  <a:close/>
                  <a:moveTo>
                    <a:pt x="1406" y="346"/>
                  </a:moveTo>
                  <a:lnTo>
                    <a:pt x="1406" y="346"/>
                  </a:lnTo>
                  <a:lnTo>
                    <a:pt x="1408" y="338"/>
                  </a:lnTo>
                  <a:lnTo>
                    <a:pt x="1413" y="331"/>
                  </a:lnTo>
                  <a:lnTo>
                    <a:pt x="1420" y="327"/>
                  </a:lnTo>
                  <a:lnTo>
                    <a:pt x="1429" y="325"/>
                  </a:lnTo>
                  <a:lnTo>
                    <a:pt x="1429" y="325"/>
                  </a:lnTo>
                  <a:lnTo>
                    <a:pt x="1436" y="327"/>
                  </a:lnTo>
                  <a:lnTo>
                    <a:pt x="1443" y="331"/>
                  </a:lnTo>
                  <a:lnTo>
                    <a:pt x="1448" y="338"/>
                  </a:lnTo>
                  <a:lnTo>
                    <a:pt x="1450" y="346"/>
                  </a:lnTo>
                  <a:lnTo>
                    <a:pt x="1450" y="536"/>
                  </a:lnTo>
                  <a:lnTo>
                    <a:pt x="1450" y="536"/>
                  </a:lnTo>
                  <a:lnTo>
                    <a:pt x="1448" y="545"/>
                  </a:lnTo>
                  <a:lnTo>
                    <a:pt x="1443" y="552"/>
                  </a:lnTo>
                  <a:lnTo>
                    <a:pt x="1436" y="558"/>
                  </a:lnTo>
                  <a:lnTo>
                    <a:pt x="1429" y="559"/>
                  </a:lnTo>
                  <a:lnTo>
                    <a:pt x="1429" y="559"/>
                  </a:lnTo>
                  <a:lnTo>
                    <a:pt x="1420" y="558"/>
                  </a:lnTo>
                  <a:lnTo>
                    <a:pt x="1413" y="552"/>
                  </a:lnTo>
                  <a:lnTo>
                    <a:pt x="1408" y="545"/>
                  </a:lnTo>
                  <a:lnTo>
                    <a:pt x="1406" y="536"/>
                  </a:lnTo>
                  <a:lnTo>
                    <a:pt x="1406" y="346"/>
                  </a:lnTo>
                  <a:close/>
                  <a:moveTo>
                    <a:pt x="139" y="501"/>
                  </a:moveTo>
                  <a:lnTo>
                    <a:pt x="139" y="501"/>
                  </a:lnTo>
                  <a:lnTo>
                    <a:pt x="127" y="501"/>
                  </a:lnTo>
                  <a:lnTo>
                    <a:pt x="115" y="498"/>
                  </a:lnTo>
                  <a:lnTo>
                    <a:pt x="106" y="492"/>
                  </a:lnTo>
                  <a:lnTo>
                    <a:pt x="95" y="484"/>
                  </a:lnTo>
                  <a:lnTo>
                    <a:pt x="88" y="475"/>
                  </a:lnTo>
                  <a:lnTo>
                    <a:pt x="83" y="466"/>
                  </a:lnTo>
                  <a:lnTo>
                    <a:pt x="80" y="454"/>
                  </a:lnTo>
                  <a:lnTo>
                    <a:pt x="78" y="441"/>
                  </a:lnTo>
                  <a:lnTo>
                    <a:pt x="78" y="441"/>
                  </a:lnTo>
                  <a:lnTo>
                    <a:pt x="80" y="429"/>
                  </a:lnTo>
                  <a:lnTo>
                    <a:pt x="83" y="419"/>
                  </a:lnTo>
                  <a:lnTo>
                    <a:pt x="88" y="408"/>
                  </a:lnTo>
                  <a:lnTo>
                    <a:pt x="95" y="399"/>
                  </a:lnTo>
                  <a:lnTo>
                    <a:pt x="106" y="392"/>
                  </a:lnTo>
                  <a:lnTo>
                    <a:pt x="115" y="387"/>
                  </a:lnTo>
                  <a:lnTo>
                    <a:pt x="127" y="383"/>
                  </a:lnTo>
                  <a:lnTo>
                    <a:pt x="139" y="382"/>
                  </a:lnTo>
                  <a:lnTo>
                    <a:pt x="139" y="382"/>
                  </a:lnTo>
                  <a:lnTo>
                    <a:pt x="152" y="383"/>
                  </a:lnTo>
                  <a:lnTo>
                    <a:pt x="162" y="387"/>
                  </a:lnTo>
                  <a:lnTo>
                    <a:pt x="173" y="392"/>
                  </a:lnTo>
                  <a:lnTo>
                    <a:pt x="182" y="399"/>
                  </a:lnTo>
                  <a:lnTo>
                    <a:pt x="189" y="408"/>
                  </a:lnTo>
                  <a:lnTo>
                    <a:pt x="194" y="419"/>
                  </a:lnTo>
                  <a:lnTo>
                    <a:pt x="197" y="429"/>
                  </a:lnTo>
                  <a:lnTo>
                    <a:pt x="199" y="441"/>
                  </a:lnTo>
                  <a:lnTo>
                    <a:pt x="199" y="441"/>
                  </a:lnTo>
                  <a:lnTo>
                    <a:pt x="197" y="454"/>
                  </a:lnTo>
                  <a:lnTo>
                    <a:pt x="194" y="466"/>
                  </a:lnTo>
                  <a:lnTo>
                    <a:pt x="189" y="475"/>
                  </a:lnTo>
                  <a:lnTo>
                    <a:pt x="182" y="484"/>
                  </a:lnTo>
                  <a:lnTo>
                    <a:pt x="173" y="492"/>
                  </a:lnTo>
                  <a:lnTo>
                    <a:pt x="162" y="498"/>
                  </a:lnTo>
                  <a:lnTo>
                    <a:pt x="152" y="501"/>
                  </a:lnTo>
                  <a:lnTo>
                    <a:pt x="139" y="501"/>
                  </a:lnTo>
                  <a:lnTo>
                    <a:pt x="139" y="50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26">
              <a:extLst>
                <a:ext uri="{FF2B5EF4-FFF2-40B4-BE49-F238E27FC236}">
                  <a16:creationId xmlns:a16="http://schemas.microsoft.com/office/drawing/2014/main" id="{4FE10EE8-7328-44EC-9425-A64D654ADACA}"/>
                </a:ext>
              </a:extLst>
            </p:cNvPr>
            <p:cNvSpPr>
              <a:spLocks/>
            </p:cNvSpPr>
            <p:nvPr/>
          </p:nvSpPr>
          <p:spPr bwMode="auto">
            <a:xfrm>
              <a:off x="19332576" y="1116013"/>
              <a:ext cx="25400" cy="25400"/>
            </a:xfrm>
            <a:custGeom>
              <a:avLst/>
              <a:gdLst>
                <a:gd name="T0" fmla="*/ 16 w 34"/>
                <a:gd name="T1" fmla="*/ 0 h 34"/>
                <a:gd name="T2" fmla="*/ 16 w 34"/>
                <a:gd name="T3" fmla="*/ 0 h 34"/>
                <a:gd name="T4" fmla="*/ 11 w 34"/>
                <a:gd name="T5" fmla="*/ 2 h 34"/>
                <a:gd name="T6" fmla="*/ 6 w 34"/>
                <a:gd name="T7" fmla="*/ 6 h 34"/>
                <a:gd name="T8" fmla="*/ 2 w 34"/>
                <a:gd name="T9" fmla="*/ 11 h 34"/>
                <a:gd name="T10" fmla="*/ 0 w 34"/>
                <a:gd name="T11" fmla="*/ 16 h 34"/>
                <a:gd name="T12" fmla="*/ 0 w 34"/>
                <a:gd name="T13" fmla="*/ 16 h 34"/>
                <a:gd name="T14" fmla="*/ 2 w 34"/>
                <a:gd name="T15" fmla="*/ 23 h 34"/>
                <a:gd name="T16" fmla="*/ 6 w 34"/>
                <a:gd name="T17" fmla="*/ 28 h 34"/>
                <a:gd name="T18" fmla="*/ 11 w 34"/>
                <a:gd name="T19" fmla="*/ 32 h 34"/>
                <a:gd name="T20" fmla="*/ 16 w 34"/>
                <a:gd name="T21" fmla="*/ 34 h 34"/>
                <a:gd name="T22" fmla="*/ 16 w 34"/>
                <a:gd name="T23" fmla="*/ 34 h 34"/>
                <a:gd name="T24" fmla="*/ 23 w 34"/>
                <a:gd name="T25" fmla="*/ 32 h 34"/>
                <a:gd name="T26" fmla="*/ 28 w 34"/>
                <a:gd name="T27" fmla="*/ 28 h 34"/>
                <a:gd name="T28" fmla="*/ 32 w 34"/>
                <a:gd name="T29" fmla="*/ 23 h 34"/>
                <a:gd name="T30" fmla="*/ 34 w 34"/>
                <a:gd name="T31" fmla="*/ 16 h 34"/>
                <a:gd name="T32" fmla="*/ 34 w 34"/>
                <a:gd name="T33" fmla="*/ 16 h 34"/>
                <a:gd name="T34" fmla="*/ 32 w 34"/>
                <a:gd name="T35" fmla="*/ 11 h 34"/>
                <a:gd name="T36" fmla="*/ 28 w 34"/>
                <a:gd name="T37" fmla="*/ 6 h 34"/>
                <a:gd name="T38" fmla="*/ 23 w 34"/>
                <a:gd name="T39" fmla="*/ 2 h 34"/>
                <a:gd name="T40" fmla="*/ 16 w 34"/>
                <a:gd name="T41" fmla="*/ 0 h 34"/>
                <a:gd name="T42" fmla="*/ 16 w 34"/>
                <a:gd name="T4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16" y="0"/>
                  </a:moveTo>
                  <a:lnTo>
                    <a:pt x="16" y="0"/>
                  </a:lnTo>
                  <a:lnTo>
                    <a:pt x="11" y="2"/>
                  </a:lnTo>
                  <a:lnTo>
                    <a:pt x="6" y="6"/>
                  </a:lnTo>
                  <a:lnTo>
                    <a:pt x="2" y="11"/>
                  </a:lnTo>
                  <a:lnTo>
                    <a:pt x="0" y="16"/>
                  </a:lnTo>
                  <a:lnTo>
                    <a:pt x="0" y="16"/>
                  </a:lnTo>
                  <a:lnTo>
                    <a:pt x="2" y="23"/>
                  </a:lnTo>
                  <a:lnTo>
                    <a:pt x="6" y="28"/>
                  </a:lnTo>
                  <a:lnTo>
                    <a:pt x="11" y="32"/>
                  </a:lnTo>
                  <a:lnTo>
                    <a:pt x="16" y="34"/>
                  </a:lnTo>
                  <a:lnTo>
                    <a:pt x="16" y="34"/>
                  </a:lnTo>
                  <a:lnTo>
                    <a:pt x="23" y="32"/>
                  </a:lnTo>
                  <a:lnTo>
                    <a:pt x="28" y="28"/>
                  </a:lnTo>
                  <a:lnTo>
                    <a:pt x="32" y="23"/>
                  </a:lnTo>
                  <a:lnTo>
                    <a:pt x="34" y="16"/>
                  </a:lnTo>
                  <a:lnTo>
                    <a:pt x="34" y="16"/>
                  </a:lnTo>
                  <a:lnTo>
                    <a:pt x="32" y="11"/>
                  </a:lnTo>
                  <a:lnTo>
                    <a:pt x="28" y="6"/>
                  </a:lnTo>
                  <a:lnTo>
                    <a:pt x="23" y="2"/>
                  </a:lnTo>
                  <a:lnTo>
                    <a:pt x="16" y="0"/>
                  </a:lnTo>
                  <a:lnTo>
                    <a:pt x="16" y="0"/>
                  </a:lnTo>
                  <a:close/>
                </a:path>
              </a:pathLst>
            </a:cu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27">
              <a:extLst>
                <a:ext uri="{FF2B5EF4-FFF2-40B4-BE49-F238E27FC236}">
                  <a16:creationId xmlns:a16="http://schemas.microsoft.com/office/drawing/2014/main" id="{CB1DA8AD-CC4D-440B-A00F-4D8DD5DB1ACD}"/>
                </a:ext>
              </a:extLst>
            </p:cNvPr>
            <p:cNvSpPr>
              <a:spLocks/>
            </p:cNvSpPr>
            <p:nvPr/>
          </p:nvSpPr>
          <p:spPr bwMode="auto">
            <a:xfrm>
              <a:off x="19448463" y="1116013"/>
              <a:ext cx="25400" cy="25400"/>
            </a:xfrm>
            <a:custGeom>
              <a:avLst/>
              <a:gdLst>
                <a:gd name="T0" fmla="*/ 18 w 34"/>
                <a:gd name="T1" fmla="*/ 0 h 34"/>
                <a:gd name="T2" fmla="*/ 18 w 34"/>
                <a:gd name="T3" fmla="*/ 0 h 34"/>
                <a:gd name="T4" fmla="*/ 11 w 34"/>
                <a:gd name="T5" fmla="*/ 2 h 34"/>
                <a:gd name="T6" fmla="*/ 6 w 34"/>
                <a:gd name="T7" fmla="*/ 6 h 34"/>
                <a:gd name="T8" fmla="*/ 2 w 34"/>
                <a:gd name="T9" fmla="*/ 11 h 34"/>
                <a:gd name="T10" fmla="*/ 0 w 34"/>
                <a:gd name="T11" fmla="*/ 16 h 34"/>
                <a:gd name="T12" fmla="*/ 0 w 34"/>
                <a:gd name="T13" fmla="*/ 16 h 34"/>
                <a:gd name="T14" fmla="*/ 2 w 34"/>
                <a:gd name="T15" fmla="*/ 23 h 34"/>
                <a:gd name="T16" fmla="*/ 6 w 34"/>
                <a:gd name="T17" fmla="*/ 28 h 34"/>
                <a:gd name="T18" fmla="*/ 11 w 34"/>
                <a:gd name="T19" fmla="*/ 32 h 34"/>
                <a:gd name="T20" fmla="*/ 18 w 34"/>
                <a:gd name="T21" fmla="*/ 34 h 34"/>
                <a:gd name="T22" fmla="*/ 18 w 34"/>
                <a:gd name="T23" fmla="*/ 34 h 34"/>
                <a:gd name="T24" fmla="*/ 23 w 34"/>
                <a:gd name="T25" fmla="*/ 32 h 34"/>
                <a:gd name="T26" fmla="*/ 28 w 34"/>
                <a:gd name="T27" fmla="*/ 28 h 34"/>
                <a:gd name="T28" fmla="*/ 32 w 34"/>
                <a:gd name="T29" fmla="*/ 23 h 34"/>
                <a:gd name="T30" fmla="*/ 34 w 34"/>
                <a:gd name="T31" fmla="*/ 16 h 34"/>
                <a:gd name="T32" fmla="*/ 34 w 34"/>
                <a:gd name="T33" fmla="*/ 16 h 34"/>
                <a:gd name="T34" fmla="*/ 32 w 34"/>
                <a:gd name="T35" fmla="*/ 11 h 34"/>
                <a:gd name="T36" fmla="*/ 28 w 34"/>
                <a:gd name="T37" fmla="*/ 6 h 34"/>
                <a:gd name="T38" fmla="*/ 23 w 34"/>
                <a:gd name="T39" fmla="*/ 2 h 34"/>
                <a:gd name="T40" fmla="*/ 18 w 34"/>
                <a:gd name="T41" fmla="*/ 0 h 34"/>
                <a:gd name="T42" fmla="*/ 18 w 34"/>
                <a:gd name="T4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18" y="0"/>
                  </a:moveTo>
                  <a:lnTo>
                    <a:pt x="18" y="0"/>
                  </a:lnTo>
                  <a:lnTo>
                    <a:pt x="11" y="2"/>
                  </a:lnTo>
                  <a:lnTo>
                    <a:pt x="6" y="6"/>
                  </a:lnTo>
                  <a:lnTo>
                    <a:pt x="2" y="11"/>
                  </a:lnTo>
                  <a:lnTo>
                    <a:pt x="0" y="16"/>
                  </a:lnTo>
                  <a:lnTo>
                    <a:pt x="0" y="16"/>
                  </a:lnTo>
                  <a:lnTo>
                    <a:pt x="2" y="23"/>
                  </a:lnTo>
                  <a:lnTo>
                    <a:pt x="6" y="28"/>
                  </a:lnTo>
                  <a:lnTo>
                    <a:pt x="11" y="32"/>
                  </a:lnTo>
                  <a:lnTo>
                    <a:pt x="18" y="34"/>
                  </a:lnTo>
                  <a:lnTo>
                    <a:pt x="18" y="34"/>
                  </a:lnTo>
                  <a:lnTo>
                    <a:pt x="23" y="32"/>
                  </a:lnTo>
                  <a:lnTo>
                    <a:pt x="28" y="28"/>
                  </a:lnTo>
                  <a:lnTo>
                    <a:pt x="32" y="23"/>
                  </a:lnTo>
                  <a:lnTo>
                    <a:pt x="34" y="16"/>
                  </a:lnTo>
                  <a:lnTo>
                    <a:pt x="34" y="16"/>
                  </a:lnTo>
                  <a:lnTo>
                    <a:pt x="32" y="11"/>
                  </a:lnTo>
                  <a:lnTo>
                    <a:pt x="28" y="6"/>
                  </a:lnTo>
                  <a:lnTo>
                    <a:pt x="23" y="2"/>
                  </a:lnTo>
                  <a:lnTo>
                    <a:pt x="18" y="0"/>
                  </a:lnTo>
                  <a:lnTo>
                    <a:pt x="18" y="0"/>
                  </a:lnTo>
                  <a:close/>
                </a:path>
              </a:pathLst>
            </a:custGeom>
            <a:solidFill>
              <a:srgbClr val="0054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28">
              <a:extLst>
                <a:ext uri="{FF2B5EF4-FFF2-40B4-BE49-F238E27FC236}">
                  <a16:creationId xmlns:a16="http://schemas.microsoft.com/office/drawing/2014/main" id="{306329EB-6E6E-4882-926B-98FB24065975}"/>
                </a:ext>
              </a:extLst>
            </p:cNvPr>
            <p:cNvSpPr>
              <a:spLocks/>
            </p:cNvSpPr>
            <p:nvPr/>
          </p:nvSpPr>
          <p:spPr bwMode="auto">
            <a:xfrm>
              <a:off x="18830926" y="933451"/>
              <a:ext cx="96838" cy="95250"/>
            </a:xfrm>
            <a:custGeom>
              <a:avLst/>
              <a:gdLst>
                <a:gd name="T0" fmla="*/ 61 w 121"/>
                <a:gd name="T1" fmla="*/ 0 h 119"/>
                <a:gd name="T2" fmla="*/ 61 w 121"/>
                <a:gd name="T3" fmla="*/ 0 h 119"/>
                <a:gd name="T4" fmla="*/ 49 w 121"/>
                <a:gd name="T5" fmla="*/ 1 h 119"/>
                <a:gd name="T6" fmla="*/ 37 w 121"/>
                <a:gd name="T7" fmla="*/ 5 h 119"/>
                <a:gd name="T8" fmla="*/ 28 w 121"/>
                <a:gd name="T9" fmla="*/ 10 h 119"/>
                <a:gd name="T10" fmla="*/ 17 w 121"/>
                <a:gd name="T11" fmla="*/ 17 h 119"/>
                <a:gd name="T12" fmla="*/ 10 w 121"/>
                <a:gd name="T13" fmla="*/ 26 h 119"/>
                <a:gd name="T14" fmla="*/ 5 w 121"/>
                <a:gd name="T15" fmla="*/ 37 h 119"/>
                <a:gd name="T16" fmla="*/ 2 w 121"/>
                <a:gd name="T17" fmla="*/ 47 h 119"/>
                <a:gd name="T18" fmla="*/ 0 w 121"/>
                <a:gd name="T19" fmla="*/ 59 h 119"/>
                <a:gd name="T20" fmla="*/ 0 w 121"/>
                <a:gd name="T21" fmla="*/ 59 h 119"/>
                <a:gd name="T22" fmla="*/ 2 w 121"/>
                <a:gd name="T23" fmla="*/ 72 h 119"/>
                <a:gd name="T24" fmla="*/ 5 w 121"/>
                <a:gd name="T25" fmla="*/ 84 h 119"/>
                <a:gd name="T26" fmla="*/ 10 w 121"/>
                <a:gd name="T27" fmla="*/ 93 h 119"/>
                <a:gd name="T28" fmla="*/ 17 w 121"/>
                <a:gd name="T29" fmla="*/ 102 h 119"/>
                <a:gd name="T30" fmla="*/ 28 w 121"/>
                <a:gd name="T31" fmla="*/ 110 h 119"/>
                <a:gd name="T32" fmla="*/ 37 w 121"/>
                <a:gd name="T33" fmla="*/ 116 h 119"/>
                <a:gd name="T34" fmla="*/ 49 w 121"/>
                <a:gd name="T35" fmla="*/ 119 h 119"/>
                <a:gd name="T36" fmla="*/ 61 w 121"/>
                <a:gd name="T37" fmla="*/ 119 h 119"/>
                <a:gd name="T38" fmla="*/ 61 w 121"/>
                <a:gd name="T39" fmla="*/ 119 h 119"/>
                <a:gd name="T40" fmla="*/ 74 w 121"/>
                <a:gd name="T41" fmla="*/ 119 h 119"/>
                <a:gd name="T42" fmla="*/ 84 w 121"/>
                <a:gd name="T43" fmla="*/ 116 h 119"/>
                <a:gd name="T44" fmla="*/ 95 w 121"/>
                <a:gd name="T45" fmla="*/ 110 h 119"/>
                <a:gd name="T46" fmla="*/ 104 w 121"/>
                <a:gd name="T47" fmla="*/ 102 h 119"/>
                <a:gd name="T48" fmla="*/ 111 w 121"/>
                <a:gd name="T49" fmla="*/ 93 h 119"/>
                <a:gd name="T50" fmla="*/ 116 w 121"/>
                <a:gd name="T51" fmla="*/ 84 h 119"/>
                <a:gd name="T52" fmla="*/ 119 w 121"/>
                <a:gd name="T53" fmla="*/ 72 h 119"/>
                <a:gd name="T54" fmla="*/ 121 w 121"/>
                <a:gd name="T55" fmla="*/ 59 h 119"/>
                <a:gd name="T56" fmla="*/ 121 w 121"/>
                <a:gd name="T57" fmla="*/ 59 h 119"/>
                <a:gd name="T58" fmla="*/ 119 w 121"/>
                <a:gd name="T59" fmla="*/ 47 h 119"/>
                <a:gd name="T60" fmla="*/ 116 w 121"/>
                <a:gd name="T61" fmla="*/ 37 h 119"/>
                <a:gd name="T62" fmla="*/ 111 w 121"/>
                <a:gd name="T63" fmla="*/ 26 h 119"/>
                <a:gd name="T64" fmla="*/ 104 w 121"/>
                <a:gd name="T65" fmla="*/ 17 h 119"/>
                <a:gd name="T66" fmla="*/ 95 w 121"/>
                <a:gd name="T67" fmla="*/ 10 h 119"/>
                <a:gd name="T68" fmla="*/ 84 w 121"/>
                <a:gd name="T69" fmla="*/ 5 h 119"/>
                <a:gd name="T70" fmla="*/ 74 w 121"/>
                <a:gd name="T71" fmla="*/ 1 h 119"/>
                <a:gd name="T72" fmla="*/ 61 w 121"/>
                <a:gd name="T73" fmla="*/ 0 h 119"/>
                <a:gd name="T74" fmla="*/ 61 w 121"/>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1" h="119">
                  <a:moveTo>
                    <a:pt x="61" y="0"/>
                  </a:moveTo>
                  <a:lnTo>
                    <a:pt x="61" y="0"/>
                  </a:lnTo>
                  <a:lnTo>
                    <a:pt x="49" y="1"/>
                  </a:lnTo>
                  <a:lnTo>
                    <a:pt x="37" y="5"/>
                  </a:lnTo>
                  <a:lnTo>
                    <a:pt x="28" y="10"/>
                  </a:lnTo>
                  <a:lnTo>
                    <a:pt x="17" y="17"/>
                  </a:lnTo>
                  <a:lnTo>
                    <a:pt x="10" y="26"/>
                  </a:lnTo>
                  <a:lnTo>
                    <a:pt x="5" y="37"/>
                  </a:lnTo>
                  <a:lnTo>
                    <a:pt x="2" y="47"/>
                  </a:lnTo>
                  <a:lnTo>
                    <a:pt x="0" y="59"/>
                  </a:lnTo>
                  <a:lnTo>
                    <a:pt x="0" y="59"/>
                  </a:lnTo>
                  <a:lnTo>
                    <a:pt x="2" y="72"/>
                  </a:lnTo>
                  <a:lnTo>
                    <a:pt x="5" y="84"/>
                  </a:lnTo>
                  <a:lnTo>
                    <a:pt x="10" y="93"/>
                  </a:lnTo>
                  <a:lnTo>
                    <a:pt x="17" y="102"/>
                  </a:lnTo>
                  <a:lnTo>
                    <a:pt x="28" y="110"/>
                  </a:lnTo>
                  <a:lnTo>
                    <a:pt x="37" y="116"/>
                  </a:lnTo>
                  <a:lnTo>
                    <a:pt x="49" y="119"/>
                  </a:lnTo>
                  <a:lnTo>
                    <a:pt x="61" y="119"/>
                  </a:lnTo>
                  <a:lnTo>
                    <a:pt x="61" y="119"/>
                  </a:lnTo>
                  <a:lnTo>
                    <a:pt x="74" y="119"/>
                  </a:lnTo>
                  <a:lnTo>
                    <a:pt x="84" y="116"/>
                  </a:lnTo>
                  <a:lnTo>
                    <a:pt x="95" y="110"/>
                  </a:lnTo>
                  <a:lnTo>
                    <a:pt x="104" y="102"/>
                  </a:lnTo>
                  <a:lnTo>
                    <a:pt x="111" y="93"/>
                  </a:lnTo>
                  <a:lnTo>
                    <a:pt x="116" y="84"/>
                  </a:lnTo>
                  <a:lnTo>
                    <a:pt x="119" y="72"/>
                  </a:lnTo>
                  <a:lnTo>
                    <a:pt x="121" y="59"/>
                  </a:lnTo>
                  <a:lnTo>
                    <a:pt x="121" y="59"/>
                  </a:lnTo>
                  <a:lnTo>
                    <a:pt x="119" y="47"/>
                  </a:lnTo>
                  <a:lnTo>
                    <a:pt x="116" y="37"/>
                  </a:lnTo>
                  <a:lnTo>
                    <a:pt x="111" y="26"/>
                  </a:lnTo>
                  <a:lnTo>
                    <a:pt x="104" y="17"/>
                  </a:lnTo>
                  <a:lnTo>
                    <a:pt x="95" y="10"/>
                  </a:lnTo>
                  <a:lnTo>
                    <a:pt x="84" y="5"/>
                  </a:lnTo>
                  <a:lnTo>
                    <a:pt x="74" y="1"/>
                  </a:lnTo>
                  <a:lnTo>
                    <a:pt x="61" y="0"/>
                  </a:lnTo>
                  <a:lnTo>
                    <a:pt x="61" y="0"/>
                  </a:lnTo>
                  <a:close/>
                </a:path>
              </a:pathLst>
            </a:custGeom>
            <a:solidFill>
              <a:schemeClr val="bg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129">
              <a:extLst>
                <a:ext uri="{FF2B5EF4-FFF2-40B4-BE49-F238E27FC236}">
                  <a16:creationId xmlns:a16="http://schemas.microsoft.com/office/drawing/2014/main" id="{D0BA72A1-D0EF-4970-B033-149E4DEAB532}"/>
                </a:ext>
              </a:extLst>
            </p:cNvPr>
            <p:cNvSpPr>
              <a:spLocks/>
            </p:cNvSpPr>
            <p:nvPr/>
          </p:nvSpPr>
          <p:spPr bwMode="auto">
            <a:xfrm>
              <a:off x="19885026" y="889001"/>
              <a:ext cx="34925" cy="185738"/>
            </a:xfrm>
            <a:custGeom>
              <a:avLst/>
              <a:gdLst>
                <a:gd name="T0" fmla="*/ 23 w 44"/>
                <a:gd name="T1" fmla="*/ 234 h 234"/>
                <a:gd name="T2" fmla="*/ 23 w 44"/>
                <a:gd name="T3" fmla="*/ 234 h 234"/>
                <a:gd name="T4" fmla="*/ 30 w 44"/>
                <a:gd name="T5" fmla="*/ 233 h 234"/>
                <a:gd name="T6" fmla="*/ 37 w 44"/>
                <a:gd name="T7" fmla="*/ 227 h 234"/>
                <a:gd name="T8" fmla="*/ 42 w 44"/>
                <a:gd name="T9" fmla="*/ 220 h 234"/>
                <a:gd name="T10" fmla="*/ 44 w 44"/>
                <a:gd name="T11" fmla="*/ 211 h 234"/>
                <a:gd name="T12" fmla="*/ 44 w 44"/>
                <a:gd name="T13" fmla="*/ 21 h 234"/>
                <a:gd name="T14" fmla="*/ 44 w 44"/>
                <a:gd name="T15" fmla="*/ 21 h 234"/>
                <a:gd name="T16" fmla="*/ 42 w 44"/>
                <a:gd name="T17" fmla="*/ 13 h 234"/>
                <a:gd name="T18" fmla="*/ 37 w 44"/>
                <a:gd name="T19" fmla="*/ 6 h 234"/>
                <a:gd name="T20" fmla="*/ 30 w 44"/>
                <a:gd name="T21" fmla="*/ 2 h 234"/>
                <a:gd name="T22" fmla="*/ 23 w 44"/>
                <a:gd name="T23" fmla="*/ 0 h 234"/>
                <a:gd name="T24" fmla="*/ 23 w 44"/>
                <a:gd name="T25" fmla="*/ 0 h 234"/>
                <a:gd name="T26" fmla="*/ 14 w 44"/>
                <a:gd name="T27" fmla="*/ 2 h 234"/>
                <a:gd name="T28" fmla="*/ 7 w 44"/>
                <a:gd name="T29" fmla="*/ 6 h 234"/>
                <a:gd name="T30" fmla="*/ 2 w 44"/>
                <a:gd name="T31" fmla="*/ 13 h 234"/>
                <a:gd name="T32" fmla="*/ 0 w 44"/>
                <a:gd name="T33" fmla="*/ 21 h 234"/>
                <a:gd name="T34" fmla="*/ 0 w 44"/>
                <a:gd name="T35" fmla="*/ 211 h 234"/>
                <a:gd name="T36" fmla="*/ 0 w 44"/>
                <a:gd name="T37" fmla="*/ 211 h 234"/>
                <a:gd name="T38" fmla="*/ 2 w 44"/>
                <a:gd name="T39" fmla="*/ 220 h 234"/>
                <a:gd name="T40" fmla="*/ 7 w 44"/>
                <a:gd name="T41" fmla="*/ 227 h 234"/>
                <a:gd name="T42" fmla="*/ 14 w 44"/>
                <a:gd name="T43" fmla="*/ 233 h 234"/>
                <a:gd name="T44" fmla="*/ 23 w 44"/>
                <a:gd name="T45" fmla="*/ 234 h 234"/>
                <a:gd name="T46" fmla="*/ 23 w 44"/>
                <a:gd name="T4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234">
                  <a:moveTo>
                    <a:pt x="23" y="234"/>
                  </a:moveTo>
                  <a:lnTo>
                    <a:pt x="23" y="234"/>
                  </a:lnTo>
                  <a:lnTo>
                    <a:pt x="30" y="233"/>
                  </a:lnTo>
                  <a:lnTo>
                    <a:pt x="37" y="227"/>
                  </a:lnTo>
                  <a:lnTo>
                    <a:pt x="42" y="220"/>
                  </a:lnTo>
                  <a:lnTo>
                    <a:pt x="44" y="211"/>
                  </a:lnTo>
                  <a:lnTo>
                    <a:pt x="44" y="21"/>
                  </a:lnTo>
                  <a:lnTo>
                    <a:pt x="44" y="21"/>
                  </a:lnTo>
                  <a:lnTo>
                    <a:pt x="42" y="13"/>
                  </a:lnTo>
                  <a:lnTo>
                    <a:pt x="37" y="6"/>
                  </a:lnTo>
                  <a:lnTo>
                    <a:pt x="30" y="2"/>
                  </a:lnTo>
                  <a:lnTo>
                    <a:pt x="23" y="0"/>
                  </a:lnTo>
                  <a:lnTo>
                    <a:pt x="23" y="0"/>
                  </a:lnTo>
                  <a:lnTo>
                    <a:pt x="14" y="2"/>
                  </a:lnTo>
                  <a:lnTo>
                    <a:pt x="7" y="6"/>
                  </a:lnTo>
                  <a:lnTo>
                    <a:pt x="2" y="13"/>
                  </a:lnTo>
                  <a:lnTo>
                    <a:pt x="0" y="21"/>
                  </a:lnTo>
                  <a:lnTo>
                    <a:pt x="0" y="211"/>
                  </a:lnTo>
                  <a:lnTo>
                    <a:pt x="0" y="211"/>
                  </a:lnTo>
                  <a:lnTo>
                    <a:pt x="2" y="220"/>
                  </a:lnTo>
                  <a:lnTo>
                    <a:pt x="7" y="227"/>
                  </a:lnTo>
                  <a:lnTo>
                    <a:pt x="14" y="233"/>
                  </a:lnTo>
                  <a:lnTo>
                    <a:pt x="23" y="234"/>
                  </a:lnTo>
                  <a:lnTo>
                    <a:pt x="23" y="234"/>
                  </a:lnTo>
                  <a:close/>
                </a:path>
              </a:pathLst>
            </a:custGeom>
            <a:solidFill>
              <a:schemeClr val="bg1">
                <a:lumMod val="95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130">
              <a:extLst>
                <a:ext uri="{FF2B5EF4-FFF2-40B4-BE49-F238E27FC236}">
                  <a16:creationId xmlns:a16="http://schemas.microsoft.com/office/drawing/2014/main" id="{A362837C-AC65-4C73-8256-4D035E33BD33}"/>
                </a:ext>
              </a:extLst>
            </p:cNvPr>
            <p:cNvSpPr>
              <a:spLocks/>
            </p:cNvSpPr>
            <p:nvPr/>
          </p:nvSpPr>
          <p:spPr bwMode="auto">
            <a:xfrm>
              <a:off x="19369088" y="1104901"/>
              <a:ext cx="561975" cy="671513"/>
            </a:xfrm>
            <a:custGeom>
              <a:avLst/>
              <a:gdLst>
                <a:gd name="T0" fmla="*/ 369 w 707"/>
                <a:gd name="T1" fmla="*/ 394 h 844"/>
                <a:gd name="T2" fmla="*/ 352 w 707"/>
                <a:gd name="T3" fmla="*/ 55 h 844"/>
                <a:gd name="T4" fmla="*/ 345 w 707"/>
                <a:gd name="T5" fmla="*/ 28 h 844"/>
                <a:gd name="T6" fmla="*/ 325 w 707"/>
                <a:gd name="T7" fmla="*/ 9 h 844"/>
                <a:gd name="T8" fmla="*/ 311 w 707"/>
                <a:gd name="T9" fmla="*/ 2 h 844"/>
                <a:gd name="T10" fmla="*/ 295 w 707"/>
                <a:gd name="T11" fmla="*/ 0 h 844"/>
                <a:gd name="T12" fmla="*/ 295 w 707"/>
                <a:gd name="T13" fmla="*/ 0 h 844"/>
                <a:gd name="T14" fmla="*/ 274 w 707"/>
                <a:gd name="T15" fmla="*/ 5 h 844"/>
                <a:gd name="T16" fmla="*/ 258 w 707"/>
                <a:gd name="T17" fmla="*/ 16 h 844"/>
                <a:gd name="T18" fmla="*/ 246 w 707"/>
                <a:gd name="T19" fmla="*/ 32 h 844"/>
                <a:gd name="T20" fmla="*/ 241 w 707"/>
                <a:gd name="T21" fmla="*/ 53 h 844"/>
                <a:gd name="T22" fmla="*/ 84 w 707"/>
                <a:gd name="T23" fmla="*/ 412 h 844"/>
                <a:gd name="T24" fmla="*/ 72 w 707"/>
                <a:gd name="T25" fmla="*/ 406 h 844"/>
                <a:gd name="T26" fmla="*/ 60 w 707"/>
                <a:gd name="T27" fmla="*/ 406 h 844"/>
                <a:gd name="T28" fmla="*/ 60 w 707"/>
                <a:gd name="T29" fmla="*/ 406 h 844"/>
                <a:gd name="T30" fmla="*/ 38 w 707"/>
                <a:gd name="T31" fmla="*/ 410 h 844"/>
                <a:gd name="T32" fmla="*/ 21 w 707"/>
                <a:gd name="T33" fmla="*/ 420 h 844"/>
                <a:gd name="T34" fmla="*/ 12 w 707"/>
                <a:gd name="T35" fmla="*/ 429 h 844"/>
                <a:gd name="T36" fmla="*/ 2 w 707"/>
                <a:gd name="T37" fmla="*/ 449 h 844"/>
                <a:gd name="T38" fmla="*/ 0 w 707"/>
                <a:gd name="T39" fmla="*/ 471 h 844"/>
                <a:gd name="T40" fmla="*/ 7 w 707"/>
                <a:gd name="T41" fmla="*/ 493 h 844"/>
                <a:gd name="T42" fmla="*/ 251 w 707"/>
                <a:gd name="T43" fmla="*/ 777 h 844"/>
                <a:gd name="T44" fmla="*/ 679 w 707"/>
                <a:gd name="T45" fmla="*/ 844 h 844"/>
                <a:gd name="T46" fmla="*/ 707 w 707"/>
                <a:gd name="T47" fmla="*/ 512 h 844"/>
                <a:gd name="T48" fmla="*/ 707 w 707"/>
                <a:gd name="T49" fmla="*/ 489 h 844"/>
                <a:gd name="T50" fmla="*/ 702 w 707"/>
                <a:gd name="T51" fmla="*/ 468 h 844"/>
                <a:gd name="T52" fmla="*/ 693 w 707"/>
                <a:gd name="T53" fmla="*/ 447 h 844"/>
                <a:gd name="T54" fmla="*/ 679 w 707"/>
                <a:gd name="T55" fmla="*/ 429 h 844"/>
                <a:gd name="T56" fmla="*/ 670 w 707"/>
                <a:gd name="T57" fmla="*/ 422 h 844"/>
                <a:gd name="T58" fmla="*/ 652 w 707"/>
                <a:gd name="T59" fmla="*/ 408 h 844"/>
                <a:gd name="T60" fmla="*/ 633 w 707"/>
                <a:gd name="T61" fmla="*/ 399 h 844"/>
                <a:gd name="T62" fmla="*/ 610 w 707"/>
                <a:gd name="T63" fmla="*/ 396 h 844"/>
                <a:gd name="T64" fmla="*/ 600 w 707"/>
                <a:gd name="T65" fmla="*/ 394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7" h="844">
                  <a:moveTo>
                    <a:pt x="600" y="394"/>
                  </a:moveTo>
                  <a:lnTo>
                    <a:pt x="369" y="394"/>
                  </a:lnTo>
                  <a:lnTo>
                    <a:pt x="352" y="55"/>
                  </a:lnTo>
                  <a:lnTo>
                    <a:pt x="352" y="55"/>
                  </a:lnTo>
                  <a:lnTo>
                    <a:pt x="350" y="40"/>
                  </a:lnTo>
                  <a:lnTo>
                    <a:pt x="345" y="28"/>
                  </a:lnTo>
                  <a:lnTo>
                    <a:pt x="336" y="18"/>
                  </a:lnTo>
                  <a:lnTo>
                    <a:pt x="325" y="9"/>
                  </a:lnTo>
                  <a:lnTo>
                    <a:pt x="325" y="9"/>
                  </a:lnTo>
                  <a:lnTo>
                    <a:pt x="311" y="2"/>
                  </a:lnTo>
                  <a:lnTo>
                    <a:pt x="295" y="0"/>
                  </a:lnTo>
                  <a:lnTo>
                    <a:pt x="295" y="0"/>
                  </a:lnTo>
                  <a:lnTo>
                    <a:pt x="295" y="0"/>
                  </a:lnTo>
                  <a:lnTo>
                    <a:pt x="295" y="0"/>
                  </a:lnTo>
                  <a:lnTo>
                    <a:pt x="285" y="2"/>
                  </a:lnTo>
                  <a:lnTo>
                    <a:pt x="274" y="5"/>
                  </a:lnTo>
                  <a:lnTo>
                    <a:pt x="265" y="9"/>
                  </a:lnTo>
                  <a:lnTo>
                    <a:pt x="258" y="16"/>
                  </a:lnTo>
                  <a:lnTo>
                    <a:pt x="251" y="23"/>
                  </a:lnTo>
                  <a:lnTo>
                    <a:pt x="246" y="32"/>
                  </a:lnTo>
                  <a:lnTo>
                    <a:pt x="243" y="42"/>
                  </a:lnTo>
                  <a:lnTo>
                    <a:pt x="241" y="53"/>
                  </a:lnTo>
                  <a:lnTo>
                    <a:pt x="214" y="475"/>
                  </a:lnTo>
                  <a:lnTo>
                    <a:pt x="84" y="412"/>
                  </a:lnTo>
                  <a:lnTo>
                    <a:pt x="84" y="412"/>
                  </a:lnTo>
                  <a:lnTo>
                    <a:pt x="72" y="406"/>
                  </a:lnTo>
                  <a:lnTo>
                    <a:pt x="60" y="406"/>
                  </a:lnTo>
                  <a:lnTo>
                    <a:pt x="60" y="406"/>
                  </a:lnTo>
                  <a:lnTo>
                    <a:pt x="60" y="406"/>
                  </a:lnTo>
                  <a:lnTo>
                    <a:pt x="60" y="406"/>
                  </a:lnTo>
                  <a:lnTo>
                    <a:pt x="49" y="406"/>
                  </a:lnTo>
                  <a:lnTo>
                    <a:pt x="38" y="410"/>
                  </a:lnTo>
                  <a:lnTo>
                    <a:pt x="30" y="413"/>
                  </a:lnTo>
                  <a:lnTo>
                    <a:pt x="21" y="420"/>
                  </a:lnTo>
                  <a:lnTo>
                    <a:pt x="21" y="420"/>
                  </a:lnTo>
                  <a:lnTo>
                    <a:pt x="12" y="429"/>
                  </a:lnTo>
                  <a:lnTo>
                    <a:pt x="7" y="438"/>
                  </a:lnTo>
                  <a:lnTo>
                    <a:pt x="2" y="449"/>
                  </a:lnTo>
                  <a:lnTo>
                    <a:pt x="0" y="461"/>
                  </a:lnTo>
                  <a:lnTo>
                    <a:pt x="0" y="471"/>
                  </a:lnTo>
                  <a:lnTo>
                    <a:pt x="3" y="482"/>
                  </a:lnTo>
                  <a:lnTo>
                    <a:pt x="7" y="493"/>
                  </a:lnTo>
                  <a:lnTo>
                    <a:pt x="14" y="503"/>
                  </a:lnTo>
                  <a:lnTo>
                    <a:pt x="251" y="777"/>
                  </a:lnTo>
                  <a:lnTo>
                    <a:pt x="257" y="844"/>
                  </a:lnTo>
                  <a:lnTo>
                    <a:pt x="679" y="844"/>
                  </a:lnTo>
                  <a:lnTo>
                    <a:pt x="707" y="512"/>
                  </a:lnTo>
                  <a:lnTo>
                    <a:pt x="707" y="512"/>
                  </a:lnTo>
                  <a:lnTo>
                    <a:pt x="707" y="500"/>
                  </a:lnTo>
                  <a:lnTo>
                    <a:pt x="707" y="489"/>
                  </a:lnTo>
                  <a:lnTo>
                    <a:pt x="705" y="478"/>
                  </a:lnTo>
                  <a:lnTo>
                    <a:pt x="702" y="468"/>
                  </a:lnTo>
                  <a:lnTo>
                    <a:pt x="696" y="457"/>
                  </a:lnTo>
                  <a:lnTo>
                    <a:pt x="693" y="447"/>
                  </a:lnTo>
                  <a:lnTo>
                    <a:pt x="686" y="438"/>
                  </a:lnTo>
                  <a:lnTo>
                    <a:pt x="679" y="429"/>
                  </a:lnTo>
                  <a:lnTo>
                    <a:pt x="679" y="429"/>
                  </a:lnTo>
                  <a:lnTo>
                    <a:pt x="670" y="422"/>
                  </a:lnTo>
                  <a:lnTo>
                    <a:pt x="661" y="415"/>
                  </a:lnTo>
                  <a:lnTo>
                    <a:pt x="652" y="408"/>
                  </a:lnTo>
                  <a:lnTo>
                    <a:pt x="642" y="405"/>
                  </a:lnTo>
                  <a:lnTo>
                    <a:pt x="633" y="399"/>
                  </a:lnTo>
                  <a:lnTo>
                    <a:pt x="621" y="398"/>
                  </a:lnTo>
                  <a:lnTo>
                    <a:pt x="610" y="396"/>
                  </a:lnTo>
                  <a:lnTo>
                    <a:pt x="600" y="394"/>
                  </a:lnTo>
                  <a:lnTo>
                    <a:pt x="600" y="3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31">
              <a:extLst>
                <a:ext uri="{FF2B5EF4-FFF2-40B4-BE49-F238E27FC236}">
                  <a16:creationId xmlns:a16="http://schemas.microsoft.com/office/drawing/2014/main" id="{109B7503-AA8F-4731-ABAB-70C78AA28325}"/>
                </a:ext>
              </a:extLst>
            </p:cNvPr>
            <p:cNvSpPr>
              <a:spLocks/>
            </p:cNvSpPr>
            <p:nvPr/>
          </p:nvSpPr>
          <p:spPr bwMode="auto">
            <a:xfrm>
              <a:off x="19208751" y="781051"/>
              <a:ext cx="471488" cy="287338"/>
            </a:xfrm>
            <a:custGeom>
              <a:avLst/>
              <a:gdLst>
                <a:gd name="T0" fmla="*/ 437 w 593"/>
                <a:gd name="T1" fmla="*/ 0 h 361"/>
                <a:gd name="T2" fmla="*/ 426 w 593"/>
                <a:gd name="T3" fmla="*/ 2 h 361"/>
                <a:gd name="T4" fmla="*/ 409 w 593"/>
                <a:gd name="T5" fmla="*/ 14 h 361"/>
                <a:gd name="T6" fmla="*/ 389 w 593"/>
                <a:gd name="T7" fmla="*/ 91 h 361"/>
                <a:gd name="T8" fmla="*/ 34 w 593"/>
                <a:gd name="T9" fmla="*/ 91 h 361"/>
                <a:gd name="T10" fmla="*/ 20 w 593"/>
                <a:gd name="T11" fmla="*/ 95 h 361"/>
                <a:gd name="T12" fmla="*/ 11 w 593"/>
                <a:gd name="T13" fmla="*/ 102 h 361"/>
                <a:gd name="T14" fmla="*/ 4 w 593"/>
                <a:gd name="T15" fmla="*/ 111 h 361"/>
                <a:gd name="T16" fmla="*/ 0 w 593"/>
                <a:gd name="T17" fmla="*/ 125 h 361"/>
                <a:gd name="T18" fmla="*/ 2 w 593"/>
                <a:gd name="T19" fmla="*/ 130 h 361"/>
                <a:gd name="T20" fmla="*/ 6 w 593"/>
                <a:gd name="T21" fmla="*/ 142 h 361"/>
                <a:gd name="T22" fmla="*/ 15 w 593"/>
                <a:gd name="T23" fmla="*/ 151 h 361"/>
                <a:gd name="T24" fmla="*/ 27 w 593"/>
                <a:gd name="T25" fmla="*/ 156 h 361"/>
                <a:gd name="T26" fmla="*/ 373 w 593"/>
                <a:gd name="T27" fmla="*/ 156 h 361"/>
                <a:gd name="T28" fmla="*/ 74 w 593"/>
                <a:gd name="T29" fmla="*/ 192 h 361"/>
                <a:gd name="T30" fmla="*/ 67 w 593"/>
                <a:gd name="T31" fmla="*/ 193 h 361"/>
                <a:gd name="T32" fmla="*/ 57 w 593"/>
                <a:gd name="T33" fmla="*/ 197 h 361"/>
                <a:gd name="T34" fmla="*/ 48 w 593"/>
                <a:gd name="T35" fmla="*/ 206 h 361"/>
                <a:gd name="T36" fmla="*/ 43 w 593"/>
                <a:gd name="T37" fmla="*/ 218 h 361"/>
                <a:gd name="T38" fmla="*/ 41 w 593"/>
                <a:gd name="T39" fmla="*/ 225 h 361"/>
                <a:gd name="T40" fmla="*/ 44 w 593"/>
                <a:gd name="T41" fmla="*/ 237 h 361"/>
                <a:gd name="T42" fmla="*/ 51 w 593"/>
                <a:gd name="T43" fmla="*/ 248 h 361"/>
                <a:gd name="T44" fmla="*/ 62 w 593"/>
                <a:gd name="T45" fmla="*/ 255 h 361"/>
                <a:gd name="T46" fmla="*/ 74 w 593"/>
                <a:gd name="T47" fmla="*/ 257 h 361"/>
                <a:gd name="T48" fmla="*/ 340 w 593"/>
                <a:gd name="T49" fmla="*/ 295 h 361"/>
                <a:gd name="T50" fmla="*/ 120 w 593"/>
                <a:gd name="T51" fmla="*/ 295 h 361"/>
                <a:gd name="T52" fmla="*/ 108 w 593"/>
                <a:gd name="T53" fmla="*/ 299 h 361"/>
                <a:gd name="T54" fmla="*/ 97 w 593"/>
                <a:gd name="T55" fmla="*/ 306 h 361"/>
                <a:gd name="T56" fmla="*/ 90 w 593"/>
                <a:gd name="T57" fmla="*/ 317 h 361"/>
                <a:gd name="T58" fmla="*/ 88 w 593"/>
                <a:gd name="T59" fmla="*/ 329 h 361"/>
                <a:gd name="T60" fmla="*/ 88 w 593"/>
                <a:gd name="T61" fmla="*/ 334 h 361"/>
                <a:gd name="T62" fmla="*/ 94 w 593"/>
                <a:gd name="T63" fmla="*/ 346 h 361"/>
                <a:gd name="T64" fmla="*/ 103 w 593"/>
                <a:gd name="T65" fmla="*/ 355 h 361"/>
                <a:gd name="T66" fmla="*/ 115 w 593"/>
                <a:gd name="T67" fmla="*/ 361 h 361"/>
                <a:gd name="T68" fmla="*/ 366 w 593"/>
                <a:gd name="T69" fmla="*/ 361 h 361"/>
                <a:gd name="T70" fmla="*/ 377 w 593"/>
                <a:gd name="T71" fmla="*/ 359 h 361"/>
                <a:gd name="T72" fmla="*/ 393 w 593"/>
                <a:gd name="T73" fmla="*/ 346 h 361"/>
                <a:gd name="T74" fmla="*/ 461 w 593"/>
                <a:gd name="T75" fmla="*/ 63 h 361"/>
                <a:gd name="T76" fmla="*/ 560 w 593"/>
                <a:gd name="T77" fmla="*/ 63 h 361"/>
                <a:gd name="T78" fmla="*/ 572 w 593"/>
                <a:gd name="T79" fmla="*/ 61 h 361"/>
                <a:gd name="T80" fmla="*/ 583 w 593"/>
                <a:gd name="T81" fmla="*/ 54 h 361"/>
                <a:gd name="T82" fmla="*/ 590 w 593"/>
                <a:gd name="T83" fmla="*/ 44 h 361"/>
                <a:gd name="T84" fmla="*/ 593 w 593"/>
                <a:gd name="T85" fmla="*/ 32 h 361"/>
                <a:gd name="T86" fmla="*/ 592 w 593"/>
                <a:gd name="T87" fmla="*/ 25 h 361"/>
                <a:gd name="T88" fmla="*/ 588 w 593"/>
                <a:gd name="T89" fmla="*/ 14 h 361"/>
                <a:gd name="T90" fmla="*/ 579 w 593"/>
                <a:gd name="T91" fmla="*/ 5 h 361"/>
                <a:gd name="T92" fmla="*/ 567 w 593"/>
                <a:gd name="T93" fmla="*/ 0 h 361"/>
                <a:gd name="T94" fmla="*/ 560 w 593"/>
                <a:gd name="T95"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3" h="361">
                  <a:moveTo>
                    <a:pt x="560" y="0"/>
                  </a:moveTo>
                  <a:lnTo>
                    <a:pt x="437" y="0"/>
                  </a:lnTo>
                  <a:lnTo>
                    <a:pt x="437" y="0"/>
                  </a:lnTo>
                  <a:lnTo>
                    <a:pt x="426" y="2"/>
                  </a:lnTo>
                  <a:lnTo>
                    <a:pt x="416" y="7"/>
                  </a:lnTo>
                  <a:lnTo>
                    <a:pt x="409" y="14"/>
                  </a:lnTo>
                  <a:lnTo>
                    <a:pt x="405" y="25"/>
                  </a:lnTo>
                  <a:lnTo>
                    <a:pt x="389" y="91"/>
                  </a:lnTo>
                  <a:lnTo>
                    <a:pt x="34" y="91"/>
                  </a:lnTo>
                  <a:lnTo>
                    <a:pt x="34" y="91"/>
                  </a:lnTo>
                  <a:lnTo>
                    <a:pt x="27" y="93"/>
                  </a:lnTo>
                  <a:lnTo>
                    <a:pt x="20" y="95"/>
                  </a:lnTo>
                  <a:lnTo>
                    <a:pt x="15" y="97"/>
                  </a:lnTo>
                  <a:lnTo>
                    <a:pt x="11" y="102"/>
                  </a:lnTo>
                  <a:lnTo>
                    <a:pt x="6" y="105"/>
                  </a:lnTo>
                  <a:lnTo>
                    <a:pt x="4" y="111"/>
                  </a:lnTo>
                  <a:lnTo>
                    <a:pt x="2" y="118"/>
                  </a:lnTo>
                  <a:lnTo>
                    <a:pt x="0" y="125"/>
                  </a:lnTo>
                  <a:lnTo>
                    <a:pt x="0" y="125"/>
                  </a:lnTo>
                  <a:lnTo>
                    <a:pt x="2" y="130"/>
                  </a:lnTo>
                  <a:lnTo>
                    <a:pt x="4" y="137"/>
                  </a:lnTo>
                  <a:lnTo>
                    <a:pt x="6" y="142"/>
                  </a:lnTo>
                  <a:lnTo>
                    <a:pt x="11" y="148"/>
                  </a:lnTo>
                  <a:lnTo>
                    <a:pt x="15" y="151"/>
                  </a:lnTo>
                  <a:lnTo>
                    <a:pt x="20" y="155"/>
                  </a:lnTo>
                  <a:lnTo>
                    <a:pt x="27" y="156"/>
                  </a:lnTo>
                  <a:lnTo>
                    <a:pt x="34" y="156"/>
                  </a:lnTo>
                  <a:lnTo>
                    <a:pt x="373" y="156"/>
                  </a:lnTo>
                  <a:lnTo>
                    <a:pt x="365" y="192"/>
                  </a:lnTo>
                  <a:lnTo>
                    <a:pt x="74" y="192"/>
                  </a:lnTo>
                  <a:lnTo>
                    <a:pt x="74" y="192"/>
                  </a:lnTo>
                  <a:lnTo>
                    <a:pt x="67" y="193"/>
                  </a:lnTo>
                  <a:lnTo>
                    <a:pt x="62" y="195"/>
                  </a:lnTo>
                  <a:lnTo>
                    <a:pt x="57" y="197"/>
                  </a:lnTo>
                  <a:lnTo>
                    <a:pt x="51" y="202"/>
                  </a:lnTo>
                  <a:lnTo>
                    <a:pt x="48" y="206"/>
                  </a:lnTo>
                  <a:lnTo>
                    <a:pt x="44" y="213"/>
                  </a:lnTo>
                  <a:lnTo>
                    <a:pt x="43" y="218"/>
                  </a:lnTo>
                  <a:lnTo>
                    <a:pt x="41" y="225"/>
                  </a:lnTo>
                  <a:lnTo>
                    <a:pt x="41" y="225"/>
                  </a:lnTo>
                  <a:lnTo>
                    <a:pt x="43" y="230"/>
                  </a:lnTo>
                  <a:lnTo>
                    <a:pt x="44" y="237"/>
                  </a:lnTo>
                  <a:lnTo>
                    <a:pt x="48" y="243"/>
                  </a:lnTo>
                  <a:lnTo>
                    <a:pt x="51" y="248"/>
                  </a:lnTo>
                  <a:lnTo>
                    <a:pt x="57" y="251"/>
                  </a:lnTo>
                  <a:lnTo>
                    <a:pt x="62" y="255"/>
                  </a:lnTo>
                  <a:lnTo>
                    <a:pt x="67" y="257"/>
                  </a:lnTo>
                  <a:lnTo>
                    <a:pt x="74" y="257"/>
                  </a:lnTo>
                  <a:lnTo>
                    <a:pt x="351" y="257"/>
                  </a:lnTo>
                  <a:lnTo>
                    <a:pt x="340" y="295"/>
                  </a:lnTo>
                  <a:lnTo>
                    <a:pt x="120" y="295"/>
                  </a:lnTo>
                  <a:lnTo>
                    <a:pt x="120" y="295"/>
                  </a:lnTo>
                  <a:lnTo>
                    <a:pt x="115" y="297"/>
                  </a:lnTo>
                  <a:lnTo>
                    <a:pt x="108" y="299"/>
                  </a:lnTo>
                  <a:lnTo>
                    <a:pt x="103" y="301"/>
                  </a:lnTo>
                  <a:lnTo>
                    <a:pt x="97" y="306"/>
                  </a:lnTo>
                  <a:lnTo>
                    <a:pt x="94" y="309"/>
                  </a:lnTo>
                  <a:lnTo>
                    <a:pt x="90" y="317"/>
                  </a:lnTo>
                  <a:lnTo>
                    <a:pt x="88" y="322"/>
                  </a:lnTo>
                  <a:lnTo>
                    <a:pt x="88" y="329"/>
                  </a:lnTo>
                  <a:lnTo>
                    <a:pt x="88" y="329"/>
                  </a:lnTo>
                  <a:lnTo>
                    <a:pt x="88" y="334"/>
                  </a:lnTo>
                  <a:lnTo>
                    <a:pt x="90" y="341"/>
                  </a:lnTo>
                  <a:lnTo>
                    <a:pt x="94" y="346"/>
                  </a:lnTo>
                  <a:lnTo>
                    <a:pt x="97" y="352"/>
                  </a:lnTo>
                  <a:lnTo>
                    <a:pt x="103" y="355"/>
                  </a:lnTo>
                  <a:lnTo>
                    <a:pt x="108" y="359"/>
                  </a:lnTo>
                  <a:lnTo>
                    <a:pt x="115" y="361"/>
                  </a:lnTo>
                  <a:lnTo>
                    <a:pt x="120" y="361"/>
                  </a:lnTo>
                  <a:lnTo>
                    <a:pt x="366" y="361"/>
                  </a:lnTo>
                  <a:lnTo>
                    <a:pt x="366" y="361"/>
                  </a:lnTo>
                  <a:lnTo>
                    <a:pt x="377" y="359"/>
                  </a:lnTo>
                  <a:lnTo>
                    <a:pt x="386" y="353"/>
                  </a:lnTo>
                  <a:lnTo>
                    <a:pt x="393" y="346"/>
                  </a:lnTo>
                  <a:lnTo>
                    <a:pt x="398" y="336"/>
                  </a:lnTo>
                  <a:lnTo>
                    <a:pt x="461" y="63"/>
                  </a:lnTo>
                  <a:lnTo>
                    <a:pt x="560" y="63"/>
                  </a:lnTo>
                  <a:lnTo>
                    <a:pt x="560" y="63"/>
                  </a:lnTo>
                  <a:lnTo>
                    <a:pt x="567" y="63"/>
                  </a:lnTo>
                  <a:lnTo>
                    <a:pt x="572" y="61"/>
                  </a:lnTo>
                  <a:lnTo>
                    <a:pt x="579" y="58"/>
                  </a:lnTo>
                  <a:lnTo>
                    <a:pt x="583" y="54"/>
                  </a:lnTo>
                  <a:lnTo>
                    <a:pt x="588" y="49"/>
                  </a:lnTo>
                  <a:lnTo>
                    <a:pt x="590" y="44"/>
                  </a:lnTo>
                  <a:lnTo>
                    <a:pt x="592" y="39"/>
                  </a:lnTo>
                  <a:lnTo>
                    <a:pt x="593" y="32"/>
                  </a:lnTo>
                  <a:lnTo>
                    <a:pt x="593" y="32"/>
                  </a:lnTo>
                  <a:lnTo>
                    <a:pt x="592" y="25"/>
                  </a:lnTo>
                  <a:lnTo>
                    <a:pt x="590" y="19"/>
                  </a:lnTo>
                  <a:lnTo>
                    <a:pt x="588" y="14"/>
                  </a:lnTo>
                  <a:lnTo>
                    <a:pt x="583" y="9"/>
                  </a:lnTo>
                  <a:lnTo>
                    <a:pt x="579" y="5"/>
                  </a:lnTo>
                  <a:lnTo>
                    <a:pt x="572" y="2"/>
                  </a:lnTo>
                  <a:lnTo>
                    <a:pt x="567" y="0"/>
                  </a:lnTo>
                  <a:lnTo>
                    <a:pt x="560" y="0"/>
                  </a:lnTo>
                  <a:lnTo>
                    <a:pt x="560" y="0"/>
                  </a:lnTo>
                  <a:close/>
                </a:path>
              </a:pathLst>
            </a:custGeom>
            <a:solidFill>
              <a:srgbClr val="0054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32">
              <a:extLst>
                <a:ext uri="{FF2B5EF4-FFF2-40B4-BE49-F238E27FC236}">
                  <a16:creationId xmlns:a16="http://schemas.microsoft.com/office/drawing/2014/main" id="{FB91D569-FD2D-42A5-8023-EA30CDDB358E}"/>
                </a:ext>
              </a:extLst>
            </p:cNvPr>
            <p:cNvSpPr>
              <a:spLocks noEditPoints="1"/>
            </p:cNvSpPr>
            <p:nvPr/>
          </p:nvSpPr>
          <p:spPr bwMode="auto">
            <a:xfrm>
              <a:off x="19299238" y="1082676"/>
              <a:ext cx="92075" cy="92075"/>
            </a:xfrm>
            <a:custGeom>
              <a:avLst/>
              <a:gdLst>
                <a:gd name="T0" fmla="*/ 56 w 114"/>
                <a:gd name="T1" fmla="*/ 0 h 114"/>
                <a:gd name="T2" fmla="*/ 56 w 114"/>
                <a:gd name="T3" fmla="*/ 0 h 114"/>
                <a:gd name="T4" fmla="*/ 46 w 114"/>
                <a:gd name="T5" fmla="*/ 2 h 114"/>
                <a:gd name="T6" fmla="*/ 35 w 114"/>
                <a:gd name="T7" fmla="*/ 3 h 114"/>
                <a:gd name="T8" fmla="*/ 24 w 114"/>
                <a:gd name="T9" fmla="*/ 9 h 114"/>
                <a:gd name="T10" fmla="*/ 17 w 114"/>
                <a:gd name="T11" fmla="*/ 16 h 114"/>
                <a:gd name="T12" fmla="*/ 10 w 114"/>
                <a:gd name="T13" fmla="*/ 24 h 114"/>
                <a:gd name="T14" fmla="*/ 5 w 114"/>
                <a:gd name="T15" fmla="*/ 35 h 114"/>
                <a:gd name="T16" fmla="*/ 2 w 114"/>
                <a:gd name="T17" fmla="*/ 46 h 114"/>
                <a:gd name="T18" fmla="*/ 0 w 114"/>
                <a:gd name="T19" fmla="*/ 56 h 114"/>
                <a:gd name="T20" fmla="*/ 0 w 114"/>
                <a:gd name="T21" fmla="*/ 56 h 114"/>
                <a:gd name="T22" fmla="*/ 2 w 114"/>
                <a:gd name="T23" fmla="*/ 68 h 114"/>
                <a:gd name="T24" fmla="*/ 5 w 114"/>
                <a:gd name="T25" fmla="*/ 79 h 114"/>
                <a:gd name="T26" fmla="*/ 10 w 114"/>
                <a:gd name="T27" fmla="*/ 88 h 114"/>
                <a:gd name="T28" fmla="*/ 17 w 114"/>
                <a:gd name="T29" fmla="*/ 97 h 114"/>
                <a:gd name="T30" fmla="*/ 24 w 114"/>
                <a:gd name="T31" fmla="*/ 104 h 114"/>
                <a:gd name="T32" fmla="*/ 35 w 114"/>
                <a:gd name="T33" fmla="*/ 109 h 114"/>
                <a:gd name="T34" fmla="*/ 46 w 114"/>
                <a:gd name="T35" fmla="*/ 112 h 114"/>
                <a:gd name="T36" fmla="*/ 56 w 114"/>
                <a:gd name="T37" fmla="*/ 114 h 114"/>
                <a:gd name="T38" fmla="*/ 56 w 114"/>
                <a:gd name="T39" fmla="*/ 114 h 114"/>
                <a:gd name="T40" fmla="*/ 68 w 114"/>
                <a:gd name="T41" fmla="*/ 112 h 114"/>
                <a:gd name="T42" fmla="*/ 79 w 114"/>
                <a:gd name="T43" fmla="*/ 109 h 114"/>
                <a:gd name="T44" fmla="*/ 90 w 114"/>
                <a:gd name="T45" fmla="*/ 104 h 114"/>
                <a:gd name="T46" fmla="*/ 97 w 114"/>
                <a:gd name="T47" fmla="*/ 97 h 114"/>
                <a:gd name="T48" fmla="*/ 104 w 114"/>
                <a:gd name="T49" fmla="*/ 88 h 114"/>
                <a:gd name="T50" fmla="*/ 109 w 114"/>
                <a:gd name="T51" fmla="*/ 79 h 114"/>
                <a:gd name="T52" fmla="*/ 112 w 114"/>
                <a:gd name="T53" fmla="*/ 68 h 114"/>
                <a:gd name="T54" fmla="*/ 114 w 114"/>
                <a:gd name="T55" fmla="*/ 56 h 114"/>
                <a:gd name="T56" fmla="*/ 114 w 114"/>
                <a:gd name="T57" fmla="*/ 56 h 114"/>
                <a:gd name="T58" fmla="*/ 112 w 114"/>
                <a:gd name="T59" fmla="*/ 46 h 114"/>
                <a:gd name="T60" fmla="*/ 109 w 114"/>
                <a:gd name="T61" fmla="*/ 35 h 114"/>
                <a:gd name="T62" fmla="*/ 104 w 114"/>
                <a:gd name="T63" fmla="*/ 24 h 114"/>
                <a:gd name="T64" fmla="*/ 97 w 114"/>
                <a:gd name="T65" fmla="*/ 16 h 114"/>
                <a:gd name="T66" fmla="*/ 90 w 114"/>
                <a:gd name="T67" fmla="*/ 9 h 114"/>
                <a:gd name="T68" fmla="*/ 79 w 114"/>
                <a:gd name="T69" fmla="*/ 3 h 114"/>
                <a:gd name="T70" fmla="*/ 68 w 114"/>
                <a:gd name="T71" fmla="*/ 2 h 114"/>
                <a:gd name="T72" fmla="*/ 56 w 114"/>
                <a:gd name="T73" fmla="*/ 0 h 114"/>
                <a:gd name="T74" fmla="*/ 56 w 114"/>
                <a:gd name="T75" fmla="*/ 0 h 114"/>
                <a:gd name="T76" fmla="*/ 56 w 114"/>
                <a:gd name="T77" fmla="*/ 74 h 114"/>
                <a:gd name="T78" fmla="*/ 56 w 114"/>
                <a:gd name="T79" fmla="*/ 74 h 114"/>
                <a:gd name="T80" fmla="*/ 51 w 114"/>
                <a:gd name="T81" fmla="*/ 72 h 114"/>
                <a:gd name="T82" fmla="*/ 46 w 114"/>
                <a:gd name="T83" fmla="*/ 68 h 114"/>
                <a:gd name="T84" fmla="*/ 42 w 114"/>
                <a:gd name="T85" fmla="*/ 63 h 114"/>
                <a:gd name="T86" fmla="*/ 40 w 114"/>
                <a:gd name="T87" fmla="*/ 56 h 114"/>
                <a:gd name="T88" fmla="*/ 40 w 114"/>
                <a:gd name="T89" fmla="*/ 56 h 114"/>
                <a:gd name="T90" fmla="*/ 42 w 114"/>
                <a:gd name="T91" fmla="*/ 51 h 114"/>
                <a:gd name="T92" fmla="*/ 46 w 114"/>
                <a:gd name="T93" fmla="*/ 46 h 114"/>
                <a:gd name="T94" fmla="*/ 51 w 114"/>
                <a:gd name="T95" fmla="*/ 42 h 114"/>
                <a:gd name="T96" fmla="*/ 56 w 114"/>
                <a:gd name="T97" fmla="*/ 40 h 114"/>
                <a:gd name="T98" fmla="*/ 56 w 114"/>
                <a:gd name="T99" fmla="*/ 40 h 114"/>
                <a:gd name="T100" fmla="*/ 63 w 114"/>
                <a:gd name="T101" fmla="*/ 42 h 114"/>
                <a:gd name="T102" fmla="*/ 68 w 114"/>
                <a:gd name="T103" fmla="*/ 46 h 114"/>
                <a:gd name="T104" fmla="*/ 72 w 114"/>
                <a:gd name="T105" fmla="*/ 51 h 114"/>
                <a:gd name="T106" fmla="*/ 74 w 114"/>
                <a:gd name="T107" fmla="*/ 56 h 114"/>
                <a:gd name="T108" fmla="*/ 74 w 114"/>
                <a:gd name="T109" fmla="*/ 56 h 114"/>
                <a:gd name="T110" fmla="*/ 72 w 114"/>
                <a:gd name="T111" fmla="*/ 63 h 114"/>
                <a:gd name="T112" fmla="*/ 68 w 114"/>
                <a:gd name="T113" fmla="*/ 68 h 114"/>
                <a:gd name="T114" fmla="*/ 63 w 114"/>
                <a:gd name="T115" fmla="*/ 72 h 114"/>
                <a:gd name="T116" fmla="*/ 56 w 114"/>
                <a:gd name="T117" fmla="*/ 74 h 114"/>
                <a:gd name="T118" fmla="*/ 56 w 114"/>
                <a:gd name="T119" fmla="*/ 7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4" h="114">
                  <a:moveTo>
                    <a:pt x="56" y="0"/>
                  </a:moveTo>
                  <a:lnTo>
                    <a:pt x="56" y="0"/>
                  </a:lnTo>
                  <a:lnTo>
                    <a:pt x="46" y="2"/>
                  </a:lnTo>
                  <a:lnTo>
                    <a:pt x="35" y="3"/>
                  </a:lnTo>
                  <a:lnTo>
                    <a:pt x="24" y="9"/>
                  </a:lnTo>
                  <a:lnTo>
                    <a:pt x="17" y="16"/>
                  </a:lnTo>
                  <a:lnTo>
                    <a:pt x="10" y="24"/>
                  </a:lnTo>
                  <a:lnTo>
                    <a:pt x="5" y="35"/>
                  </a:lnTo>
                  <a:lnTo>
                    <a:pt x="2" y="46"/>
                  </a:lnTo>
                  <a:lnTo>
                    <a:pt x="0" y="56"/>
                  </a:lnTo>
                  <a:lnTo>
                    <a:pt x="0" y="56"/>
                  </a:lnTo>
                  <a:lnTo>
                    <a:pt x="2" y="68"/>
                  </a:lnTo>
                  <a:lnTo>
                    <a:pt x="5" y="79"/>
                  </a:lnTo>
                  <a:lnTo>
                    <a:pt x="10" y="88"/>
                  </a:lnTo>
                  <a:lnTo>
                    <a:pt x="17" y="97"/>
                  </a:lnTo>
                  <a:lnTo>
                    <a:pt x="24" y="104"/>
                  </a:lnTo>
                  <a:lnTo>
                    <a:pt x="35" y="109"/>
                  </a:lnTo>
                  <a:lnTo>
                    <a:pt x="46" y="112"/>
                  </a:lnTo>
                  <a:lnTo>
                    <a:pt x="56" y="114"/>
                  </a:lnTo>
                  <a:lnTo>
                    <a:pt x="56" y="114"/>
                  </a:lnTo>
                  <a:lnTo>
                    <a:pt x="68" y="112"/>
                  </a:lnTo>
                  <a:lnTo>
                    <a:pt x="79" y="109"/>
                  </a:lnTo>
                  <a:lnTo>
                    <a:pt x="90" y="104"/>
                  </a:lnTo>
                  <a:lnTo>
                    <a:pt x="97" y="97"/>
                  </a:lnTo>
                  <a:lnTo>
                    <a:pt x="104" y="88"/>
                  </a:lnTo>
                  <a:lnTo>
                    <a:pt x="109" y="79"/>
                  </a:lnTo>
                  <a:lnTo>
                    <a:pt x="112" y="68"/>
                  </a:lnTo>
                  <a:lnTo>
                    <a:pt x="114" y="56"/>
                  </a:lnTo>
                  <a:lnTo>
                    <a:pt x="114" y="56"/>
                  </a:lnTo>
                  <a:lnTo>
                    <a:pt x="112" y="46"/>
                  </a:lnTo>
                  <a:lnTo>
                    <a:pt x="109" y="35"/>
                  </a:lnTo>
                  <a:lnTo>
                    <a:pt x="104" y="24"/>
                  </a:lnTo>
                  <a:lnTo>
                    <a:pt x="97" y="16"/>
                  </a:lnTo>
                  <a:lnTo>
                    <a:pt x="90" y="9"/>
                  </a:lnTo>
                  <a:lnTo>
                    <a:pt x="79" y="3"/>
                  </a:lnTo>
                  <a:lnTo>
                    <a:pt x="68" y="2"/>
                  </a:lnTo>
                  <a:lnTo>
                    <a:pt x="56" y="0"/>
                  </a:lnTo>
                  <a:lnTo>
                    <a:pt x="56" y="0"/>
                  </a:lnTo>
                  <a:close/>
                  <a:moveTo>
                    <a:pt x="56" y="74"/>
                  </a:moveTo>
                  <a:lnTo>
                    <a:pt x="56" y="74"/>
                  </a:lnTo>
                  <a:lnTo>
                    <a:pt x="51" y="72"/>
                  </a:lnTo>
                  <a:lnTo>
                    <a:pt x="46" y="68"/>
                  </a:lnTo>
                  <a:lnTo>
                    <a:pt x="42" y="63"/>
                  </a:lnTo>
                  <a:lnTo>
                    <a:pt x="40" y="56"/>
                  </a:lnTo>
                  <a:lnTo>
                    <a:pt x="40" y="56"/>
                  </a:lnTo>
                  <a:lnTo>
                    <a:pt x="42" y="51"/>
                  </a:lnTo>
                  <a:lnTo>
                    <a:pt x="46" y="46"/>
                  </a:lnTo>
                  <a:lnTo>
                    <a:pt x="51" y="42"/>
                  </a:lnTo>
                  <a:lnTo>
                    <a:pt x="56" y="40"/>
                  </a:lnTo>
                  <a:lnTo>
                    <a:pt x="56" y="40"/>
                  </a:lnTo>
                  <a:lnTo>
                    <a:pt x="63" y="42"/>
                  </a:lnTo>
                  <a:lnTo>
                    <a:pt x="68" y="46"/>
                  </a:lnTo>
                  <a:lnTo>
                    <a:pt x="72" y="51"/>
                  </a:lnTo>
                  <a:lnTo>
                    <a:pt x="74" y="56"/>
                  </a:lnTo>
                  <a:lnTo>
                    <a:pt x="74" y="56"/>
                  </a:lnTo>
                  <a:lnTo>
                    <a:pt x="72" y="63"/>
                  </a:lnTo>
                  <a:lnTo>
                    <a:pt x="68" y="68"/>
                  </a:lnTo>
                  <a:lnTo>
                    <a:pt x="63" y="72"/>
                  </a:lnTo>
                  <a:lnTo>
                    <a:pt x="56" y="74"/>
                  </a:lnTo>
                  <a:lnTo>
                    <a:pt x="56" y="74"/>
                  </a:lnTo>
                  <a:close/>
                </a:path>
              </a:pathLst>
            </a:custGeom>
            <a:solidFill>
              <a:srgbClr val="0054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33">
              <a:extLst>
                <a:ext uri="{FF2B5EF4-FFF2-40B4-BE49-F238E27FC236}">
                  <a16:creationId xmlns:a16="http://schemas.microsoft.com/office/drawing/2014/main" id="{D4E3D890-BC93-4B81-94C9-3C2DF0360FC5}"/>
                </a:ext>
              </a:extLst>
            </p:cNvPr>
            <p:cNvSpPr>
              <a:spLocks noEditPoints="1"/>
            </p:cNvSpPr>
            <p:nvPr/>
          </p:nvSpPr>
          <p:spPr bwMode="auto">
            <a:xfrm>
              <a:off x="19415126" y="1082676"/>
              <a:ext cx="92075" cy="92075"/>
            </a:xfrm>
            <a:custGeom>
              <a:avLst/>
              <a:gdLst>
                <a:gd name="T0" fmla="*/ 58 w 114"/>
                <a:gd name="T1" fmla="*/ 0 h 114"/>
                <a:gd name="T2" fmla="*/ 58 w 114"/>
                <a:gd name="T3" fmla="*/ 0 h 114"/>
                <a:gd name="T4" fmla="*/ 46 w 114"/>
                <a:gd name="T5" fmla="*/ 2 h 114"/>
                <a:gd name="T6" fmla="*/ 35 w 114"/>
                <a:gd name="T7" fmla="*/ 3 h 114"/>
                <a:gd name="T8" fmla="*/ 24 w 114"/>
                <a:gd name="T9" fmla="*/ 9 h 114"/>
                <a:gd name="T10" fmla="*/ 17 w 114"/>
                <a:gd name="T11" fmla="*/ 16 h 114"/>
                <a:gd name="T12" fmla="*/ 10 w 114"/>
                <a:gd name="T13" fmla="*/ 24 h 114"/>
                <a:gd name="T14" fmla="*/ 5 w 114"/>
                <a:gd name="T15" fmla="*/ 35 h 114"/>
                <a:gd name="T16" fmla="*/ 2 w 114"/>
                <a:gd name="T17" fmla="*/ 46 h 114"/>
                <a:gd name="T18" fmla="*/ 0 w 114"/>
                <a:gd name="T19" fmla="*/ 56 h 114"/>
                <a:gd name="T20" fmla="*/ 0 w 114"/>
                <a:gd name="T21" fmla="*/ 56 h 114"/>
                <a:gd name="T22" fmla="*/ 2 w 114"/>
                <a:gd name="T23" fmla="*/ 68 h 114"/>
                <a:gd name="T24" fmla="*/ 5 w 114"/>
                <a:gd name="T25" fmla="*/ 79 h 114"/>
                <a:gd name="T26" fmla="*/ 10 w 114"/>
                <a:gd name="T27" fmla="*/ 88 h 114"/>
                <a:gd name="T28" fmla="*/ 17 w 114"/>
                <a:gd name="T29" fmla="*/ 97 h 114"/>
                <a:gd name="T30" fmla="*/ 24 w 114"/>
                <a:gd name="T31" fmla="*/ 104 h 114"/>
                <a:gd name="T32" fmla="*/ 35 w 114"/>
                <a:gd name="T33" fmla="*/ 109 h 114"/>
                <a:gd name="T34" fmla="*/ 46 w 114"/>
                <a:gd name="T35" fmla="*/ 112 h 114"/>
                <a:gd name="T36" fmla="*/ 58 w 114"/>
                <a:gd name="T37" fmla="*/ 114 h 114"/>
                <a:gd name="T38" fmla="*/ 58 w 114"/>
                <a:gd name="T39" fmla="*/ 114 h 114"/>
                <a:gd name="T40" fmla="*/ 68 w 114"/>
                <a:gd name="T41" fmla="*/ 112 h 114"/>
                <a:gd name="T42" fmla="*/ 79 w 114"/>
                <a:gd name="T43" fmla="*/ 109 h 114"/>
                <a:gd name="T44" fmla="*/ 90 w 114"/>
                <a:gd name="T45" fmla="*/ 104 h 114"/>
                <a:gd name="T46" fmla="*/ 97 w 114"/>
                <a:gd name="T47" fmla="*/ 97 h 114"/>
                <a:gd name="T48" fmla="*/ 104 w 114"/>
                <a:gd name="T49" fmla="*/ 88 h 114"/>
                <a:gd name="T50" fmla="*/ 109 w 114"/>
                <a:gd name="T51" fmla="*/ 79 h 114"/>
                <a:gd name="T52" fmla="*/ 112 w 114"/>
                <a:gd name="T53" fmla="*/ 68 h 114"/>
                <a:gd name="T54" fmla="*/ 114 w 114"/>
                <a:gd name="T55" fmla="*/ 56 h 114"/>
                <a:gd name="T56" fmla="*/ 114 w 114"/>
                <a:gd name="T57" fmla="*/ 56 h 114"/>
                <a:gd name="T58" fmla="*/ 112 w 114"/>
                <a:gd name="T59" fmla="*/ 46 h 114"/>
                <a:gd name="T60" fmla="*/ 109 w 114"/>
                <a:gd name="T61" fmla="*/ 35 h 114"/>
                <a:gd name="T62" fmla="*/ 104 w 114"/>
                <a:gd name="T63" fmla="*/ 24 h 114"/>
                <a:gd name="T64" fmla="*/ 97 w 114"/>
                <a:gd name="T65" fmla="*/ 16 h 114"/>
                <a:gd name="T66" fmla="*/ 90 w 114"/>
                <a:gd name="T67" fmla="*/ 9 h 114"/>
                <a:gd name="T68" fmla="*/ 79 w 114"/>
                <a:gd name="T69" fmla="*/ 3 h 114"/>
                <a:gd name="T70" fmla="*/ 68 w 114"/>
                <a:gd name="T71" fmla="*/ 2 h 114"/>
                <a:gd name="T72" fmla="*/ 58 w 114"/>
                <a:gd name="T73" fmla="*/ 0 h 114"/>
                <a:gd name="T74" fmla="*/ 58 w 114"/>
                <a:gd name="T75" fmla="*/ 0 h 114"/>
                <a:gd name="T76" fmla="*/ 58 w 114"/>
                <a:gd name="T77" fmla="*/ 74 h 114"/>
                <a:gd name="T78" fmla="*/ 58 w 114"/>
                <a:gd name="T79" fmla="*/ 74 h 114"/>
                <a:gd name="T80" fmla="*/ 51 w 114"/>
                <a:gd name="T81" fmla="*/ 72 h 114"/>
                <a:gd name="T82" fmla="*/ 46 w 114"/>
                <a:gd name="T83" fmla="*/ 68 h 114"/>
                <a:gd name="T84" fmla="*/ 42 w 114"/>
                <a:gd name="T85" fmla="*/ 63 h 114"/>
                <a:gd name="T86" fmla="*/ 40 w 114"/>
                <a:gd name="T87" fmla="*/ 56 h 114"/>
                <a:gd name="T88" fmla="*/ 40 w 114"/>
                <a:gd name="T89" fmla="*/ 56 h 114"/>
                <a:gd name="T90" fmla="*/ 42 w 114"/>
                <a:gd name="T91" fmla="*/ 51 h 114"/>
                <a:gd name="T92" fmla="*/ 46 w 114"/>
                <a:gd name="T93" fmla="*/ 46 h 114"/>
                <a:gd name="T94" fmla="*/ 51 w 114"/>
                <a:gd name="T95" fmla="*/ 42 h 114"/>
                <a:gd name="T96" fmla="*/ 58 w 114"/>
                <a:gd name="T97" fmla="*/ 40 h 114"/>
                <a:gd name="T98" fmla="*/ 58 w 114"/>
                <a:gd name="T99" fmla="*/ 40 h 114"/>
                <a:gd name="T100" fmla="*/ 63 w 114"/>
                <a:gd name="T101" fmla="*/ 42 h 114"/>
                <a:gd name="T102" fmla="*/ 68 w 114"/>
                <a:gd name="T103" fmla="*/ 46 h 114"/>
                <a:gd name="T104" fmla="*/ 72 w 114"/>
                <a:gd name="T105" fmla="*/ 51 h 114"/>
                <a:gd name="T106" fmla="*/ 74 w 114"/>
                <a:gd name="T107" fmla="*/ 56 h 114"/>
                <a:gd name="T108" fmla="*/ 74 w 114"/>
                <a:gd name="T109" fmla="*/ 56 h 114"/>
                <a:gd name="T110" fmla="*/ 72 w 114"/>
                <a:gd name="T111" fmla="*/ 63 h 114"/>
                <a:gd name="T112" fmla="*/ 68 w 114"/>
                <a:gd name="T113" fmla="*/ 68 h 114"/>
                <a:gd name="T114" fmla="*/ 63 w 114"/>
                <a:gd name="T115" fmla="*/ 72 h 114"/>
                <a:gd name="T116" fmla="*/ 58 w 114"/>
                <a:gd name="T117" fmla="*/ 74 h 114"/>
                <a:gd name="T118" fmla="*/ 58 w 114"/>
                <a:gd name="T119" fmla="*/ 7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4" h="114">
                  <a:moveTo>
                    <a:pt x="58" y="0"/>
                  </a:moveTo>
                  <a:lnTo>
                    <a:pt x="58" y="0"/>
                  </a:lnTo>
                  <a:lnTo>
                    <a:pt x="46" y="2"/>
                  </a:lnTo>
                  <a:lnTo>
                    <a:pt x="35" y="3"/>
                  </a:lnTo>
                  <a:lnTo>
                    <a:pt x="24" y="9"/>
                  </a:lnTo>
                  <a:lnTo>
                    <a:pt x="17" y="16"/>
                  </a:lnTo>
                  <a:lnTo>
                    <a:pt x="10" y="24"/>
                  </a:lnTo>
                  <a:lnTo>
                    <a:pt x="5" y="35"/>
                  </a:lnTo>
                  <a:lnTo>
                    <a:pt x="2" y="46"/>
                  </a:lnTo>
                  <a:lnTo>
                    <a:pt x="0" y="56"/>
                  </a:lnTo>
                  <a:lnTo>
                    <a:pt x="0" y="56"/>
                  </a:lnTo>
                  <a:lnTo>
                    <a:pt x="2" y="68"/>
                  </a:lnTo>
                  <a:lnTo>
                    <a:pt x="5" y="79"/>
                  </a:lnTo>
                  <a:lnTo>
                    <a:pt x="10" y="88"/>
                  </a:lnTo>
                  <a:lnTo>
                    <a:pt x="17" y="97"/>
                  </a:lnTo>
                  <a:lnTo>
                    <a:pt x="24" y="104"/>
                  </a:lnTo>
                  <a:lnTo>
                    <a:pt x="35" y="109"/>
                  </a:lnTo>
                  <a:lnTo>
                    <a:pt x="46" y="112"/>
                  </a:lnTo>
                  <a:lnTo>
                    <a:pt x="58" y="114"/>
                  </a:lnTo>
                  <a:lnTo>
                    <a:pt x="58" y="114"/>
                  </a:lnTo>
                  <a:lnTo>
                    <a:pt x="68" y="112"/>
                  </a:lnTo>
                  <a:lnTo>
                    <a:pt x="79" y="109"/>
                  </a:lnTo>
                  <a:lnTo>
                    <a:pt x="90" y="104"/>
                  </a:lnTo>
                  <a:lnTo>
                    <a:pt x="97" y="97"/>
                  </a:lnTo>
                  <a:lnTo>
                    <a:pt x="104" y="88"/>
                  </a:lnTo>
                  <a:lnTo>
                    <a:pt x="109" y="79"/>
                  </a:lnTo>
                  <a:lnTo>
                    <a:pt x="112" y="68"/>
                  </a:lnTo>
                  <a:lnTo>
                    <a:pt x="114" y="56"/>
                  </a:lnTo>
                  <a:lnTo>
                    <a:pt x="114" y="56"/>
                  </a:lnTo>
                  <a:lnTo>
                    <a:pt x="112" y="46"/>
                  </a:lnTo>
                  <a:lnTo>
                    <a:pt x="109" y="35"/>
                  </a:lnTo>
                  <a:lnTo>
                    <a:pt x="104" y="24"/>
                  </a:lnTo>
                  <a:lnTo>
                    <a:pt x="97" y="16"/>
                  </a:lnTo>
                  <a:lnTo>
                    <a:pt x="90" y="9"/>
                  </a:lnTo>
                  <a:lnTo>
                    <a:pt x="79" y="3"/>
                  </a:lnTo>
                  <a:lnTo>
                    <a:pt x="68" y="2"/>
                  </a:lnTo>
                  <a:lnTo>
                    <a:pt x="58" y="0"/>
                  </a:lnTo>
                  <a:lnTo>
                    <a:pt x="58" y="0"/>
                  </a:lnTo>
                  <a:close/>
                  <a:moveTo>
                    <a:pt x="58" y="74"/>
                  </a:moveTo>
                  <a:lnTo>
                    <a:pt x="58" y="74"/>
                  </a:lnTo>
                  <a:lnTo>
                    <a:pt x="51" y="72"/>
                  </a:lnTo>
                  <a:lnTo>
                    <a:pt x="46" y="68"/>
                  </a:lnTo>
                  <a:lnTo>
                    <a:pt x="42" y="63"/>
                  </a:lnTo>
                  <a:lnTo>
                    <a:pt x="40" y="56"/>
                  </a:lnTo>
                  <a:lnTo>
                    <a:pt x="40" y="56"/>
                  </a:lnTo>
                  <a:lnTo>
                    <a:pt x="42" y="51"/>
                  </a:lnTo>
                  <a:lnTo>
                    <a:pt x="46" y="46"/>
                  </a:lnTo>
                  <a:lnTo>
                    <a:pt x="51" y="42"/>
                  </a:lnTo>
                  <a:lnTo>
                    <a:pt x="58" y="40"/>
                  </a:lnTo>
                  <a:lnTo>
                    <a:pt x="58" y="40"/>
                  </a:lnTo>
                  <a:lnTo>
                    <a:pt x="63" y="42"/>
                  </a:lnTo>
                  <a:lnTo>
                    <a:pt x="68" y="46"/>
                  </a:lnTo>
                  <a:lnTo>
                    <a:pt x="72" y="51"/>
                  </a:lnTo>
                  <a:lnTo>
                    <a:pt x="74" y="56"/>
                  </a:lnTo>
                  <a:lnTo>
                    <a:pt x="74" y="56"/>
                  </a:lnTo>
                  <a:lnTo>
                    <a:pt x="72" y="63"/>
                  </a:lnTo>
                  <a:lnTo>
                    <a:pt x="68" y="68"/>
                  </a:lnTo>
                  <a:lnTo>
                    <a:pt x="63" y="72"/>
                  </a:lnTo>
                  <a:lnTo>
                    <a:pt x="58" y="74"/>
                  </a:lnTo>
                  <a:lnTo>
                    <a:pt x="58" y="7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 name="Group 43">
            <a:extLst>
              <a:ext uri="{FF2B5EF4-FFF2-40B4-BE49-F238E27FC236}">
                <a16:creationId xmlns:a16="http://schemas.microsoft.com/office/drawing/2014/main" id="{EE6514BD-1C36-4E76-8A99-DDC3CE92F76C}"/>
              </a:ext>
            </a:extLst>
          </p:cNvPr>
          <p:cNvGrpSpPr/>
          <p:nvPr/>
        </p:nvGrpSpPr>
        <p:grpSpPr>
          <a:xfrm>
            <a:off x="3474719" y="2521178"/>
            <a:ext cx="419093" cy="435147"/>
            <a:chOff x="-5051425" y="1952625"/>
            <a:chExt cx="4724400" cy="4905375"/>
          </a:xfrm>
        </p:grpSpPr>
        <p:sp>
          <p:nvSpPr>
            <p:cNvPr id="45" name="Freeform 56">
              <a:extLst>
                <a:ext uri="{FF2B5EF4-FFF2-40B4-BE49-F238E27FC236}">
                  <a16:creationId xmlns:a16="http://schemas.microsoft.com/office/drawing/2014/main" id="{E39BBCF4-7D0C-4C15-B0BC-7FD70217052C}"/>
                </a:ext>
              </a:extLst>
            </p:cNvPr>
            <p:cNvSpPr>
              <a:spLocks noEditPoints="1"/>
            </p:cNvSpPr>
            <p:nvPr/>
          </p:nvSpPr>
          <p:spPr bwMode="auto">
            <a:xfrm>
              <a:off x="-2994025" y="4213225"/>
              <a:ext cx="631825" cy="1797050"/>
            </a:xfrm>
            <a:custGeom>
              <a:avLst/>
              <a:gdLst>
                <a:gd name="T0" fmla="*/ 308 w 398"/>
                <a:gd name="T1" fmla="*/ 1132 h 1132"/>
                <a:gd name="T2" fmla="*/ 308 w 398"/>
                <a:gd name="T3" fmla="*/ 1132 h 1132"/>
                <a:gd name="T4" fmla="*/ 294 w 398"/>
                <a:gd name="T5" fmla="*/ 1132 h 1132"/>
                <a:gd name="T6" fmla="*/ 280 w 398"/>
                <a:gd name="T7" fmla="*/ 1128 h 1132"/>
                <a:gd name="T8" fmla="*/ 266 w 398"/>
                <a:gd name="T9" fmla="*/ 1122 h 1132"/>
                <a:gd name="T10" fmla="*/ 254 w 398"/>
                <a:gd name="T11" fmla="*/ 1114 h 1132"/>
                <a:gd name="T12" fmla="*/ 242 w 398"/>
                <a:gd name="T13" fmla="*/ 1104 h 1132"/>
                <a:gd name="T14" fmla="*/ 234 w 398"/>
                <a:gd name="T15" fmla="*/ 1092 h 1132"/>
                <a:gd name="T16" fmla="*/ 226 w 398"/>
                <a:gd name="T17" fmla="*/ 1078 h 1132"/>
                <a:gd name="T18" fmla="*/ 222 w 398"/>
                <a:gd name="T19" fmla="*/ 1064 h 1132"/>
                <a:gd name="T20" fmla="*/ 2 w 398"/>
                <a:gd name="T21" fmla="*/ 110 h 1132"/>
                <a:gd name="T22" fmla="*/ 2 w 398"/>
                <a:gd name="T23" fmla="*/ 110 h 1132"/>
                <a:gd name="T24" fmla="*/ 0 w 398"/>
                <a:gd name="T25" fmla="*/ 92 h 1132"/>
                <a:gd name="T26" fmla="*/ 0 w 398"/>
                <a:gd name="T27" fmla="*/ 74 h 1132"/>
                <a:gd name="T28" fmla="*/ 6 w 398"/>
                <a:gd name="T29" fmla="*/ 58 h 1132"/>
                <a:gd name="T30" fmla="*/ 12 w 398"/>
                <a:gd name="T31" fmla="*/ 42 h 1132"/>
                <a:gd name="T32" fmla="*/ 24 w 398"/>
                <a:gd name="T33" fmla="*/ 28 h 1132"/>
                <a:gd name="T34" fmla="*/ 36 w 398"/>
                <a:gd name="T35" fmla="*/ 18 h 1132"/>
                <a:gd name="T36" fmla="*/ 52 w 398"/>
                <a:gd name="T37" fmla="*/ 8 h 1132"/>
                <a:gd name="T38" fmla="*/ 68 w 398"/>
                <a:gd name="T39" fmla="*/ 2 h 1132"/>
                <a:gd name="T40" fmla="*/ 68 w 398"/>
                <a:gd name="T41" fmla="*/ 2 h 1132"/>
                <a:gd name="T42" fmla="*/ 86 w 398"/>
                <a:gd name="T43" fmla="*/ 0 h 1132"/>
                <a:gd name="T44" fmla="*/ 104 w 398"/>
                <a:gd name="T45" fmla="*/ 2 h 1132"/>
                <a:gd name="T46" fmla="*/ 120 w 398"/>
                <a:gd name="T47" fmla="*/ 6 h 1132"/>
                <a:gd name="T48" fmla="*/ 136 w 398"/>
                <a:gd name="T49" fmla="*/ 14 h 1132"/>
                <a:gd name="T50" fmla="*/ 150 w 398"/>
                <a:gd name="T51" fmla="*/ 24 h 1132"/>
                <a:gd name="T52" fmla="*/ 162 w 398"/>
                <a:gd name="T53" fmla="*/ 38 h 1132"/>
                <a:gd name="T54" fmla="*/ 170 w 398"/>
                <a:gd name="T55" fmla="*/ 52 h 1132"/>
                <a:gd name="T56" fmla="*/ 176 w 398"/>
                <a:gd name="T57" fmla="*/ 70 h 1132"/>
                <a:gd name="T58" fmla="*/ 396 w 398"/>
                <a:gd name="T59" fmla="*/ 1024 h 1132"/>
                <a:gd name="T60" fmla="*/ 396 w 398"/>
                <a:gd name="T61" fmla="*/ 1024 h 1132"/>
                <a:gd name="T62" fmla="*/ 398 w 398"/>
                <a:gd name="T63" fmla="*/ 1042 h 1132"/>
                <a:gd name="T64" fmla="*/ 398 w 398"/>
                <a:gd name="T65" fmla="*/ 1058 h 1132"/>
                <a:gd name="T66" fmla="*/ 392 w 398"/>
                <a:gd name="T67" fmla="*/ 1076 h 1132"/>
                <a:gd name="T68" fmla="*/ 384 w 398"/>
                <a:gd name="T69" fmla="*/ 1090 h 1132"/>
                <a:gd name="T70" fmla="*/ 374 w 398"/>
                <a:gd name="T71" fmla="*/ 1104 h 1132"/>
                <a:gd name="T72" fmla="*/ 362 w 398"/>
                <a:gd name="T73" fmla="*/ 1116 h 1132"/>
                <a:gd name="T74" fmla="*/ 346 w 398"/>
                <a:gd name="T75" fmla="*/ 1124 h 1132"/>
                <a:gd name="T76" fmla="*/ 330 w 398"/>
                <a:gd name="T77" fmla="*/ 1130 h 1132"/>
                <a:gd name="T78" fmla="*/ 330 w 398"/>
                <a:gd name="T79" fmla="*/ 1130 h 1132"/>
                <a:gd name="T80" fmla="*/ 308 w 398"/>
                <a:gd name="T81" fmla="*/ 1132 h 1132"/>
                <a:gd name="T82" fmla="*/ 308 w 398"/>
                <a:gd name="T83" fmla="*/ 1132 h 1132"/>
                <a:gd name="T84" fmla="*/ 308 w 398"/>
                <a:gd name="T85" fmla="*/ 1132 h 1132"/>
                <a:gd name="T86" fmla="*/ 308 w 398"/>
                <a:gd name="T87" fmla="*/ 1132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1132">
                  <a:moveTo>
                    <a:pt x="308" y="1132"/>
                  </a:moveTo>
                  <a:lnTo>
                    <a:pt x="308" y="1132"/>
                  </a:lnTo>
                  <a:lnTo>
                    <a:pt x="294" y="1132"/>
                  </a:lnTo>
                  <a:lnTo>
                    <a:pt x="280" y="1128"/>
                  </a:lnTo>
                  <a:lnTo>
                    <a:pt x="266" y="1122"/>
                  </a:lnTo>
                  <a:lnTo>
                    <a:pt x="254" y="1114"/>
                  </a:lnTo>
                  <a:lnTo>
                    <a:pt x="242" y="1104"/>
                  </a:lnTo>
                  <a:lnTo>
                    <a:pt x="234" y="1092"/>
                  </a:lnTo>
                  <a:lnTo>
                    <a:pt x="226" y="1078"/>
                  </a:lnTo>
                  <a:lnTo>
                    <a:pt x="222" y="1064"/>
                  </a:lnTo>
                  <a:lnTo>
                    <a:pt x="2" y="110"/>
                  </a:lnTo>
                  <a:lnTo>
                    <a:pt x="2" y="110"/>
                  </a:lnTo>
                  <a:lnTo>
                    <a:pt x="0" y="92"/>
                  </a:lnTo>
                  <a:lnTo>
                    <a:pt x="0" y="74"/>
                  </a:lnTo>
                  <a:lnTo>
                    <a:pt x="6" y="58"/>
                  </a:lnTo>
                  <a:lnTo>
                    <a:pt x="12" y="42"/>
                  </a:lnTo>
                  <a:lnTo>
                    <a:pt x="24" y="28"/>
                  </a:lnTo>
                  <a:lnTo>
                    <a:pt x="36" y="18"/>
                  </a:lnTo>
                  <a:lnTo>
                    <a:pt x="52" y="8"/>
                  </a:lnTo>
                  <a:lnTo>
                    <a:pt x="68" y="2"/>
                  </a:lnTo>
                  <a:lnTo>
                    <a:pt x="68" y="2"/>
                  </a:lnTo>
                  <a:lnTo>
                    <a:pt x="86" y="0"/>
                  </a:lnTo>
                  <a:lnTo>
                    <a:pt x="104" y="2"/>
                  </a:lnTo>
                  <a:lnTo>
                    <a:pt x="120" y="6"/>
                  </a:lnTo>
                  <a:lnTo>
                    <a:pt x="136" y="14"/>
                  </a:lnTo>
                  <a:lnTo>
                    <a:pt x="150" y="24"/>
                  </a:lnTo>
                  <a:lnTo>
                    <a:pt x="162" y="38"/>
                  </a:lnTo>
                  <a:lnTo>
                    <a:pt x="170" y="52"/>
                  </a:lnTo>
                  <a:lnTo>
                    <a:pt x="176" y="70"/>
                  </a:lnTo>
                  <a:lnTo>
                    <a:pt x="396" y="1024"/>
                  </a:lnTo>
                  <a:lnTo>
                    <a:pt x="396" y="1024"/>
                  </a:lnTo>
                  <a:lnTo>
                    <a:pt x="398" y="1042"/>
                  </a:lnTo>
                  <a:lnTo>
                    <a:pt x="398" y="1058"/>
                  </a:lnTo>
                  <a:lnTo>
                    <a:pt x="392" y="1076"/>
                  </a:lnTo>
                  <a:lnTo>
                    <a:pt x="384" y="1090"/>
                  </a:lnTo>
                  <a:lnTo>
                    <a:pt x="374" y="1104"/>
                  </a:lnTo>
                  <a:lnTo>
                    <a:pt x="362" y="1116"/>
                  </a:lnTo>
                  <a:lnTo>
                    <a:pt x="346" y="1124"/>
                  </a:lnTo>
                  <a:lnTo>
                    <a:pt x="330" y="1130"/>
                  </a:lnTo>
                  <a:lnTo>
                    <a:pt x="330" y="1130"/>
                  </a:lnTo>
                  <a:lnTo>
                    <a:pt x="308" y="1132"/>
                  </a:lnTo>
                  <a:lnTo>
                    <a:pt x="308" y="1132"/>
                  </a:lnTo>
                  <a:close/>
                  <a:moveTo>
                    <a:pt x="308" y="1132"/>
                  </a:moveTo>
                  <a:lnTo>
                    <a:pt x="308" y="11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6" name="Freeform 57">
              <a:extLst>
                <a:ext uri="{FF2B5EF4-FFF2-40B4-BE49-F238E27FC236}">
                  <a16:creationId xmlns:a16="http://schemas.microsoft.com/office/drawing/2014/main" id="{E435CF0E-A4A9-4682-BDB0-EDDEB2CE8825}"/>
                </a:ext>
              </a:extLst>
            </p:cNvPr>
            <p:cNvSpPr>
              <a:spLocks/>
            </p:cNvSpPr>
            <p:nvPr/>
          </p:nvSpPr>
          <p:spPr bwMode="auto">
            <a:xfrm>
              <a:off x="-2994025" y="4213225"/>
              <a:ext cx="631825" cy="1797050"/>
            </a:xfrm>
            <a:custGeom>
              <a:avLst/>
              <a:gdLst>
                <a:gd name="T0" fmla="*/ 308 w 398"/>
                <a:gd name="T1" fmla="*/ 1132 h 1132"/>
                <a:gd name="T2" fmla="*/ 308 w 398"/>
                <a:gd name="T3" fmla="*/ 1132 h 1132"/>
                <a:gd name="T4" fmla="*/ 294 w 398"/>
                <a:gd name="T5" fmla="*/ 1132 h 1132"/>
                <a:gd name="T6" fmla="*/ 280 w 398"/>
                <a:gd name="T7" fmla="*/ 1128 h 1132"/>
                <a:gd name="T8" fmla="*/ 266 w 398"/>
                <a:gd name="T9" fmla="*/ 1122 h 1132"/>
                <a:gd name="T10" fmla="*/ 254 w 398"/>
                <a:gd name="T11" fmla="*/ 1114 h 1132"/>
                <a:gd name="T12" fmla="*/ 242 w 398"/>
                <a:gd name="T13" fmla="*/ 1104 h 1132"/>
                <a:gd name="T14" fmla="*/ 234 w 398"/>
                <a:gd name="T15" fmla="*/ 1092 h 1132"/>
                <a:gd name="T16" fmla="*/ 226 w 398"/>
                <a:gd name="T17" fmla="*/ 1078 h 1132"/>
                <a:gd name="T18" fmla="*/ 222 w 398"/>
                <a:gd name="T19" fmla="*/ 1064 h 1132"/>
                <a:gd name="T20" fmla="*/ 2 w 398"/>
                <a:gd name="T21" fmla="*/ 110 h 1132"/>
                <a:gd name="T22" fmla="*/ 2 w 398"/>
                <a:gd name="T23" fmla="*/ 110 h 1132"/>
                <a:gd name="T24" fmla="*/ 0 w 398"/>
                <a:gd name="T25" fmla="*/ 92 h 1132"/>
                <a:gd name="T26" fmla="*/ 0 w 398"/>
                <a:gd name="T27" fmla="*/ 74 h 1132"/>
                <a:gd name="T28" fmla="*/ 6 w 398"/>
                <a:gd name="T29" fmla="*/ 58 h 1132"/>
                <a:gd name="T30" fmla="*/ 12 w 398"/>
                <a:gd name="T31" fmla="*/ 42 h 1132"/>
                <a:gd name="T32" fmla="*/ 24 w 398"/>
                <a:gd name="T33" fmla="*/ 28 h 1132"/>
                <a:gd name="T34" fmla="*/ 36 w 398"/>
                <a:gd name="T35" fmla="*/ 18 h 1132"/>
                <a:gd name="T36" fmla="*/ 52 w 398"/>
                <a:gd name="T37" fmla="*/ 8 h 1132"/>
                <a:gd name="T38" fmla="*/ 68 w 398"/>
                <a:gd name="T39" fmla="*/ 2 h 1132"/>
                <a:gd name="T40" fmla="*/ 68 w 398"/>
                <a:gd name="T41" fmla="*/ 2 h 1132"/>
                <a:gd name="T42" fmla="*/ 86 w 398"/>
                <a:gd name="T43" fmla="*/ 0 h 1132"/>
                <a:gd name="T44" fmla="*/ 104 w 398"/>
                <a:gd name="T45" fmla="*/ 2 h 1132"/>
                <a:gd name="T46" fmla="*/ 120 w 398"/>
                <a:gd name="T47" fmla="*/ 6 h 1132"/>
                <a:gd name="T48" fmla="*/ 136 w 398"/>
                <a:gd name="T49" fmla="*/ 14 h 1132"/>
                <a:gd name="T50" fmla="*/ 150 w 398"/>
                <a:gd name="T51" fmla="*/ 24 h 1132"/>
                <a:gd name="T52" fmla="*/ 162 w 398"/>
                <a:gd name="T53" fmla="*/ 38 h 1132"/>
                <a:gd name="T54" fmla="*/ 170 w 398"/>
                <a:gd name="T55" fmla="*/ 52 h 1132"/>
                <a:gd name="T56" fmla="*/ 176 w 398"/>
                <a:gd name="T57" fmla="*/ 70 h 1132"/>
                <a:gd name="T58" fmla="*/ 396 w 398"/>
                <a:gd name="T59" fmla="*/ 1024 h 1132"/>
                <a:gd name="T60" fmla="*/ 396 w 398"/>
                <a:gd name="T61" fmla="*/ 1024 h 1132"/>
                <a:gd name="T62" fmla="*/ 398 w 398"/>
                <a:gd name="T63" fmla="*/ 1042 h 1132"/>
                <a:gd name="T64" fmla="*/ 398 w 398"/>
                <a:gd name="T65" fmla="*/ 1058 h 1132"/>
                <a:gd name="T66" fmla="*/ 392 w 398"/>
                <a:gd name="T67" fmla="*/ 1076 h 1132"/>
                <a:gd name="T68" fmla="*/ 384 w 398"/>
                <a:gd name="T69" fmla="*/ 1090 h 1132"/>
                <a:gd name="T70" fmla="*/ 374 w 398"/>
                <a:gd name="T71" fmla="*/ 1104 h 1132"/>
                <a:gd name="T72" fmla="*/ 362 w 398"/>
                <a:gd name="T73" fmla="*/ 1116 h 1132"/>
                <a:gd name="T74" fmla="*/ 346 w 398"/>
                <a:gd name="T75" fmla="*/ 1124 h 1132"/>
                <a:gd name="T76" fmla="*/ 330 w 398"/>
                <a:gd name="T77" fmla="*/ 1130 h 1132"/>
                <a:gd name="T78" fmla="*/ 330 w 398"/>
                <a:gd name="T79" fmla="*/ 1130 h 1132"/>
                <a:gd name="T80" fmla="*/ 308 w 398"/>
                <a:gd name="T81" fmla="*/ 1132 h 1132"/>
                <a:gd name="T82" fmla="*/ 308 w 398"/>
                <a:gd name="T83" fmla="*/ 1132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8" h="1132">
                  <a:moveTo>
                    <a:pt x="308" y="1132"/>
                  </a:moveTo>
                  <a:lnTo>
                    <a:pt x="308" y="1132"/>
                  </a:lnTo>
                  <a:lnTo>
                    <a:pt x="294" y="1132"/>
                  </a:lnTo>
                  <a:lnTo>
                    <a:pt x="280" y="1128"/>
                  </a:lnTo>
                  <a:lnTo>
                    <a:pt x="266" y="1122"/>
                  </a:lnTo>
                  <a:lnTo>
                    <a:pt x="254" y="1114"/>
                  </a:lnTo>
                  <a:lnTo>
                    <a:pt x="242" y="1104"/>
                  </a:lnTo>
                  <a:lnTo>
                    <a:pt x="234" y="1092"/>
                  </a:lnTo>
                  <a:lnTo>
                    <a:pt x="226" y="1078"/>
                  </a:lnTo>
                  <a:lnTo>
                    <a:pt x="222" y="1064"/>
                  </a:lnTo>
                  <a:lnTo>
                    <a:pt x="2" y="110"/>
                  </a:lnTo>
                  <a:lnTo>
                    <a:pt x="2" y="110"/>
                  </a:lnTo>
                  <a:lnTo>
                    <a:pt x="0" y="92"/>
                  </a:lnTo>
                  <a:lnTo>
                    <a:pt x="0" y="74"/>
                  </a:lnTo>
                  <a:lnTo>
                    <a:pt x="6" y="58"/>
                  </a:lnTo>
                  <a:lnTo>
                    <a:pt x="12" y="42"/>
                  </a:lnTo>
                  <a:lnTo>
                    <a:pt x="24" y="28"/>
                  </a:lnTo>
                  <a:lnTo>
                    <a:pt x="36" y="18"/>
                  </a:lnTo>
                  <a:lnTo>
                    <a:pt x="52" y="8"/>
                  </a:lnTo>
                  <a:lnTo>
                    <a:pt x="68" y="2"/>
                  </a:lnTo>
                  <a:lnTo>
                    <a:pt x="68" y="2"/>
                  </a:lnTo>
                  <a:lnTo>
                    <a:pt x="86" y="0"/>
                  </a:lnTo>
                  <a:lnTo>
                    <a:pt x="104" y="2"/>
                  </a:lnTo>
                  <a:lnTo>
                    <a:pt x="120" y="6"/>
                  </a:lnTo>
                  <a:lnTo>
                    <a:pt x="136" y="14"/>
                  </a:lnTo>
                  <a:lnTo>
                    <a:pt x="150" y="24"/>
                  </a:lnTo>
                  <a:lnTo>
                    <a:pt x="162" y="38"/>
                  </a:lnTo>
                  <a:lnTo>
                    <a:pt x="170" y="52"/>
                  </a:lnTo>
                  <a:lnTo>
                    <a:pt x="176" y="70"/>
                  </a:lnTo>
                  <a:lnTo>
                    <a:pt x="396" y="1024"/>
                  </a:lnTo>
                  <a:lnTo>
                    <a:pt x="396" y="1024"/>
                  </a:lnTo>
                  <a:lnTo>
                    <a:pt x="398" y="1042"/>
                  </a:lnTo>
                  <a:lnTo>
                    <a:pt x="398" y="1058"/>
                  </a:lnTo>
                  <a:lnTo>
                    <a:pt x="392" y="1076"/>
                  </a:lnTo>
                  <a:lnTo>
                    <a:pt x="384" y="1090"/>
                  </a:lnTo>
                  <a:lnTo>
                    <a:pt x="374" y="1104"/>
                  </a:lnTo>
                  <a:lnTo>
                    <a:pt x="362" y="1116"/>
                  </a:lnTo>
                  <a:lnTo>
                    <a:pt x="346" y="1124"/>
                  </a:lnTo>
                  <a:lnTo>
                    <a:pt x="330" y="1130"/>
                  </a:lnTo>
                  <a:lnTo>
                    <a:pt x="330" y="1130"/>
                  </a:lnTo>
                  <a:lnTo>
                    <a:pt x="308" y="1132"/>
                  </a:lnTo>
                  <a:lnTo>
                    <a:pt x="308" y="11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Line 58">
              <a:extLst>
                <a:ext uri="{FF2B5EF4-FFF2-40B4-BE49-F238E27FC236}">
                  <a16:creationId xmlns:a16="http://schemas.microsoft.com/office/drawing/2014/main" id="{58298A64-6342-49AD-B57D-876D228CAA63}"/>
                </a:ext>
              </a:extLst>
            </p:cNvPr>
            <p:cNvSpPr>
              <a:spLocks noChangeShapeType="1"/>
            </p:cNvSpPr>
            <p:nvPr/>
          </p:nvSpPr>
          <p:spPr bwMode="auto">
            <a:xfrm>
              <a:off x="-2505075" y="601027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Line 61">
              <a:extLst>
                <a:ext uri="{FF2B5EF4-FFF2-40B4-BE49-F238E27FC236}">
                  <a16:creationId xmlns:a16="http://schemas.microsoft.com/office/drawing/2014/main" id="{74F3478B-F410-41AC-9DE3-53671FCC75C2}"/>
                </a:ext>
              </a:extLst>
            </p:cNvPr>
            <p:cNvSpPr>
              <a:spLocks noChangeShapeType="1"/>
            </p:cNvSpPr>
            <p:nvPr/>
          </p:nvSpPr>
          <p:spPr bwMode="auto">
            <a:xfrm>
              <a:off x="-4235450" y="52959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62">
              <a:extLst>
                <a:ext uri="{FF2B5EF4-FFF2-40B4-BE49-F238E27FC236}">
                  <a16:creationId xmlns:a16="http://schemas.microsoft.com/office/drawing/2014/main" id="{469F8BA7-E66C-47B2-B488-A4DD94A8CE65}"/>
                </a:ext>
              </a:extLst>
            </p:cNvPr>
            <p:cNvSpPr>
              <a:spLocks noEditPoints="1"/>
            </p:cNvSpPr>
            <p:nvPr/>
          </p:nvSpPr>
          <p:spPr bwMode="auto">
            <a:xfrm>
              <a:off x="-4171950" y="2943225"/>
              <a:ext cx="2546350" cy="2254250"/>
            </a:xfrm>
            <a:custGeom>
              <a:avLst/>
              <a:gdLst>
                <a:gd name="T0" fmla="*/ 88 w 1604"/>
                <a:gd name="T1" fmla="*/ 1420 h 1420"/>
                <a:gd name="T2" fmla="*/ 88 w 1604"/>
                <a:gd name="T3" fmla="*/ 1420 h 1420"/>
                <a:gd name="T4" fmla="*/ 70 w 1604"/>
                <a:gd name="T5" fmla="*/ 1418 h 1420"/>
                <a:gd name="T6" fmla="*/ 52 w 1604"/>
                <a:gd name="T7" fmla="*/ 1412 h 1420"/>
                <a:gd name="T8" fmla="*/ 36 w 1604"/>
                <a:gd name="T9" fmla="*/ 1404 h 1420"/>
                <a:gd name="T10" fmla="*/ 22 w 1604"/>
                <a:gd name="T11" fmla="*/ 1390 h 1420"/>
                <a:gd name="T12" fmla="*/ 22 w 1604"/>
                <a:gd name="T13" fmla="*/ 1390 h 1420"/>
                <a:gd name="T14" fmla="*/ 10 w 1604"/>
                <a:gd name="T15" fmla="*/ 1376 h 1420"/>
                <a:gd name="T16" fmla="*/ 4 w 1604"/>
                <a:gd name="T17" fmla="*/ 1358 h 1420"/>
                <a:gd name="T18" fmla="*/ 0 w 1604"/>
                <a:gd name="T19" fmla="*/ 1342 h 1420"/>
                <a:gd name="T20" fmla="*/ 0 w 1604"/>
                <a:gd name="T21" fmla="*/ 1324 h 1420"/>
                <a:gd name="T22" fmla="*/ 2 w 1604"/>
                <a:gd name="T23" fmla="*/ 1308 h 1420"/>
                <a:gd name="T24" fmla="*/ 8 w 1604"/>
                <a:gd name="T25" fmla="*/ 1292 h 1420"/>
                <a:gd name="T26" fmla="*/ 18 w 1604"/>
                <a:gd name="T27" fmla="*/ 1276 h 1420"/>
                <a:gd name="T28" fmla="*/ 30 w 1604"/>
                <a:gd name="T29" fmla="*/ 1264 h 1420"/>
                <a:gd name="T30" fmla="*/ 1456 w 1604"/>
                <a:gd name="T31" fmla="*/ 22 h 1420"/>
                <a:gd name="T32" fmla="*/ 1456 w 1604"/>
                <a:gd name="T33" fmla="*/ 22 h 1420"/>
                <a:gd name="T34" fmla="*/ 1470 w 1604"/>
                <a:gd name="T35" fmla="*/ 12 h 1420"/>
                <a:gd name="T36" fmla="*/ 1486 w 1604"/>
                <a:gd name="T37" fmla="*/ 4 h 1420"/>
                <a:gd name="T38" fmla="*/ 1504 w 1604"/>
                <a:gd name="T39" fmla="*/ 0 h 1420"/>
                <a:gd name="T40" fmla="*/ 1520 w 1604"/>
                <a:gd name="T41" fmla="*/ 0 h 1420"/>
                <a:gd name="T42" fmla="*/ 1538 w 1604"/>
                <a:gd name="T43" fmla="*/ 2 h 1420"/>
                <a:gd name="T44" fmla="*/ 1554 w 1604"/>
                <a:gd name="T45" fmla="*/ 8 h 1420"/>
                <a:gd name="T46" fmla="*/ 1570 w 1604"/>
                <a:gd name="T47" fmla="*/ 18 h 1420"/>
                <a:gd name="T48" fmla="*/ 1582 w 1604"/>
                <a:gd name="T49" fmla="*/ 30 h 1420"/>
                <a:gd name="T50" fmla="*/ 1582 w 1604"/>
                <a:gd name="T51" fmla="*/ 30 h 1420"/>
                <a:gd name="T52" fmla="*/ 1592 w 1604"/>
                <a:gd name="T53" fmla="*/ 46 h 1420"/>
                <a:gd name="T54" fmla="*/ 1600 w 1604"/>
                <a:gd name="T55" fmla="*/ 62 h 1420"/>
                <a:gd name="T56" fmla="*/ 1604 w 1604"/>
                <a:gd name="T57" fmla="*/ 78 h 1420"/>
                <a:gd name="T58" fmla="*/ 1604 w 1604"/>
                <a:gd name="T59" fmla="*/ 96 h 1420"/>
                <a:gd name="T60" fmla="*/ 1602 w 1604"/>
                <a:gd name="T61" fmla="*/ 112 h 1420"/>
                <a:gd name="T62" fmla="*/ 1596 w 1604"/>
                <a:gd name="T63" fmla="*/ 128 h 1420"/>
                <a:gd name="T64" fmla="*/ 1586 w 1604"/>
                <a:gd name="T65" fmla="*/ 144 h 1420"/>
                <a:gd name="T66" fmla="*/ 1574 w 1604"/>
                <a:gd name="T67" fmla="*/ 156 h 1420"/>
                <a:gd name="T68" fmla="*/ 148 w 1604"/>
                <a:gd name="T69" fmla="*/ 1398 h 1420"/>
                <a:gd name="T70" fmla="*/ 148 w 1604"/>
                <a:gd name="T71" fmla="*/ 1398 h 1420"/>
                <a:gd name="T72" fmla="*/ 134 w 1604"/>
                <a:gd name="T73" fmla="*/ 1408 h 1420"/>
                <a:gd name="T74" fmla="*/ 120 w 1604"/>
                <a:gd name="T75" fmla="*/ 1416 h 1420"/>
                <a:gd name="T76" fmla="*/ 104 w 1604"/>
                <a:gd name="T77" fmla="*/ 1420 h 1420"/>
                <a:gd name="T78" fmla="*/ 88 w 1604"/>
                <a:gd name="T79" fmla="*/ 1420 h 1420"/>
                <a:gd name="T80" fmla="*/ 88 w 1604"/>
                <a:gd name="T81" fmla="*/ 1420 h 1420"/>
                <a:gd name="T82" fmla="*/ 88 w 1604"/>
                <a:gd name="T83" fmla="*/ 1420 h 1420"/>
                <a:gd name="T84" fmla="*/ 88 w 1604"/>
                <a:gd name="T85" fmla="*/ 1420 h 1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4" h="1420">
                  <a:moveTo>
                    <a:pt x="88" y="1420"/>
                  </a:moveTo>
                  <a:lnTo>
                    <a:pt x="88" y="1420"/>
                  </a:lnTo>
                  <a:lnTo>
                    <a:pt x="70" y="1418"/>
                  </a:lnTo>
                  <a:lnTo>
                    <a:pt x="52" y="1412"/>
                  </a:lnTo>
                  <a:lnTo>
                    <a:pt x="36" y="1404"/>
                  </a:lnTo>
                  <a:lnTo>
                    <a:pt x="22" y="1390"/>
                  </a:lnTo>
                  <a:lnTo>
                    <a:pt x="22" y="1390"/>
                  </a:lnTo>
                  <a:lnTo>
                    <a:pt x="10" y="1376"/>
                  </a:lnTo>
                  <a:lnTo>
                    <a:pt x="4" y="1358"/>
                  </a:lnTo>
                  <a:lnTo>
                    <a:pt x="0" y="1342"/>
                  </a:lnTo>
                  <a:lnTo>
                    <a:pt x="0" y="1324"/>
                  </a:lnTo>
                  <a:lnTo>
                    <a:pt x="2" y="1308"/>
                  </a:lnTo>
                  <a:lnTo>
                    <a:pt x="8" y="1292"/>
                  </a:lnTo>
                  <a:lnTo>
                    <a:pt x="18" y="1276"/>
                  </a:lnTo>
                  <a:lnTo>
                    <a:pt x="30" y="1264"/>
                  </a:lnTo>
                  <a:lnTo>
                    <a:pt x="1456" y="22"/>
                  </a:lnTo>
                  <a:lnTo>
                    <a:pt x="1456" y="22"/>
                  </a:lnTo>
                  <a:lnTo>
                    <a:pt x="1470" y="12"/>
                  </a:lnTo>
                  <a:lnTo>
                    <a:pt x="1486" y="4"/>
                  </a:lnTo>
                  <a:lnTo>
                    <a:pt x="1504" y="0"/>
                  </a:lnTo>
                  <a:lnTo>
                    <a:pt x="1520" y="0"/>
                  </a:lnTo>
                  <a:lnTo>
                    <a:pt x="1538" y="2"/>
                  </a:lnTo>
                  <a:lnTo>
                    <a:pt x="1554" y="8"/>
                  </a:lnTo>
                  <a:lnTo>
                    <a:pt x="1570" y="18"/>
                  </a:lnTo>
                  <a:lnTo>
                    <a:pt x="1582" y="30"/>
                  </a:lnTo>
                  <a:lnTo>
                    <a:pt x="1582" y="30"/>
                  </a:lnTo>
                  <a:lnTo>
                    <a:pt x="1592" y="46"/>
                  </a:lnTo>
                  <a:lnTo>
                    <a:pt x="1600" y="62"/>
                  </a:lnTo>
                  <a:lnTo>
                    <a:pt x="1604" y="78"/>
                  </a:lnTo>
                  <a:lnTo>
                    <a:pt x="1604" y="96"/>
                  </a:lnTo>
                  <a:lnTo>
                    <a:pt x="1602" y="112"/>
                  </a:lnTo>
                  <a:lnTo>
                    <a:pt x="1596" y="128"/>
                  </a:lnTo>
                  <a:lnTo>
                    <a:pt x="1586" y="144"/>
                  </a:lnTo>
                  <a:lnTo>
                    <a:pt x="1574" y="156"/>
                  </a:lnTo>
                  <a:lnTo>
                    <a:pt x="148" y="1398"/>
                  </a:lnTo>
                  <a:lnTo>
                    <a:pt x="148" y="1398"/>
                  </a:lnTo>
                  <a:lnTo>
                    <a:pt x="134" y="1408"/>
                  </a:lnTo>
                  <a:lnTo>
                    <a:pt x="120" y="1416"/>
                  </a:lnTo>
                  <a:lnTo>
                    <a:pt x="104" y="1420"/>
                  </a:lnTo>
                  <a:lnTo>
                    <a:pt x="88" y="1420"/>
                  </a:lnTo>
                  <a:lnTo>
                    <a:pt x="88" y="1420"/>
                  </a:lnTo>
                  <a:close/>
                  <a:moveTo>
                    <a:pt x="88" y="1420"/>
                  </a:moveTo>
                  <a:lnTo>
                    <a:pt x="88" y="142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 name="Freeform 63">
              <a:extLst>
                <a:ext uri="{FF2B5EF4-FFF2-40B4-BE49-F238E27FC236}">
                  <a16:creationId xmlns:a16="http://schemas.microsoft.com/office/drawing/2014/main" id="{F4549643-F246-4812-9FC0-B08606C2CD2E}"/>
                </a:ext>
              </a:extLst>
            </p:cNvPr>
            <p:cNvSpPr>
              <a:spLocks/>
            </p:cNvSpPr>
            <p:nvPr/>
          </p:nvSpPr>
          <p:spPr bwMode="auto">
            <a:xfrm>
              <a:off x="-4171950" y="2943225"/>
              <a:ext cx="2546350" cy="2254250"/>
            </a:xfrm>
            <a:custGeom>
              <a:avLst/>
              <a:gdLst>
                <a:gd name="T0" fmla="*/ 88 w 1604"/>
                <a:gd name="T1" fmla="*/ 1420 h 1420"/>
                <a:gd name="T2" fmla="*/ 88 w 1604"/>
                <a:gd name="T3" fmla="*/ 1420 h 1420"/>
                <a:gd name="T4" fmla="*/ 70 w 1604"/>
                <a:gd name="T5" fmla="*/ 1418 h 1420"/>
                <a:gd name="T6" fmla="*/ 52 w 1604"/>
                <a:gd name="T7" fmla="*/ 1412 h 1420"/>
                <a:gd name="T8" fmla="*/ 36 w 1604"/>
                <a:gd name="T9" fmla="*/ 1404 h 1420"/>
                <a:gd name="T10" fmla="*/ 22 w 1604"/>
                <a:gd name="T11" fmla="*/ 1390 h 1420"/>
                <a:gd name="T12" fmla="*/ 22 w 1604"/>
                <a:gd name="T13" fmla="*/ 1390 h 1420"/>
                <a:gd name="T14" fmla="*/ 10 w 1604"/>
                <a:gd name="T15" fmla="*/ 1376 h 1420"/>
                <a:gd name="T16" fmla="*/ 4 w 1604"/>
                <a:gd name="T17" fmla="*/ 1358 h 1420"/>
                <a:gd name="T18" fmla="*/ 0 w 1604"/>
                <a:gd name="T19" fmla="*/ 1342 h 1420"/>
                <a:gd name="T20" fmla="*/ 0 w 1604"/>
                <a:gd name="T21" fmla="*/ 1324 h 1420"/>
                <a:gd name="T22" fmla="*/ 2 w 1604"/>
                <a:gd name="T23" fmla="*/ 1308 h 1420"/>
                <a:gd name="T24" fmla="*/ 8 w 1604"/>
                <a:gd name="T25" fmla="*/ 1292 h 1420"/>
                <a:gd name="T26" fmla="*/ 18 w 1604"/>
                <a:gd name="T27" fmla="*/ 1276 h 1420"/>
                <a:gd name="T28" fmla="*/ 30 w 1604"/>
                <a:gd name="T29" fmla="*/ 1264 h 1420"/>
                <a:gd name="T30" fmla="*/ 1456 w 1604"/>
                <a:gd name="T31" fmla="*/ 22 h 1420"/>
                <a:gd name="T32" fmla="*/ 1456 w 1604"/>
                <a:gd name="T33" fmla="*/ 22 h 1420"/>
                <a:gd name="T34" fmla="*/ 1470 w 1604"/>
                <a:gd name="T35" fmla="*/ 12 h 1420"/>
                <a:gd name="T36" fmla="*/ 1486 w 1604"/>
                <a:gd name="T37" fmla="*/ 4 h 1420"/>
                <a:gd name="T38" fmla="*/ 1504 w 1604"/>
                <a:gd name="T39" fmla="*/ 0 h 1420"/>
                <a:gd name="T40" fmla="*/ 1520 w 1604"/>
                <a:gd name="T41" fmla="*/ 0 h 1420"/>
                <a:gd name="T42" fmla="*/ 1538 w 1604"/>
                <a:gd name="T43" fmla="*/ 2 h 1420"/>
                <a:gd name="T44" fmla="*/ 1554 w 1604"/>
                <a:gd name="T45" fmla="*/ 8 h 1420"/>
                <a:gd name="T46" fmla="*/ 1570 w 1604"/>
                <a:gd name="T47" fmla="*/ 18 h 1420"/>
                <a:gd name="T48" fmla="*/ 1582 w 1604"/>
                <a:gd name="T49" fmla="*/ 30 h 1420"/>
                <a:gd name="T50" fmla="*/ 1582 w 1604"/>
                <a:gd name="T51" fmla="*/ 30 h 1420"/>
                <a:gd name="T52" fmla="*/ 1592 w 1604"/>
                <a:gd name="T53" fmla="*/ 46 h 1420"/>
                <a:gd name="T54" fmla="*/ 1600 w 1604"/>
                <a:gd name="T55" fmla="*/ 62 h 1420"/>
                <a:gd name="T56" fmla="*/ 1604 w 1604"/>
                <a:gd name="T57" fmla="*/ 78 h 1420"/>
                <a:gd name="T58" fmla="*/ 1604 w 1604"/>
                <a:gd name="T59" fmla="*/ 96 h 1420"/>
                <a:gd name="T60" fmla="*/ 1602 w 1604"/>
                <a:gd name="T61" fmla="*/ 112 h 1420"/>
                <a:gd name="T62" fmla="*/ 1596 w 1604"/>
                <a:gd name="T63" fmla="*/ 128 h 1420"/>
                <a:gd name="T64" fmla="*/ 1586 w 1604"/>
                <a:gd name="T65" fmla="*/ 144 h 1420"/>
                <a:gd name="T66" fmla="*/ 1574 w 1604"/>
                <a:gd name="T67" fmla="*/ 156 h 1420"/>
                <a:gd name="T68" fmla="*/ 148 w 1604"/>
                <a:gd name="T69" fmla="*/ 1398 h 1420"/>
                <a:gd name="T70" fmla="*/ 148 w 1604"/>
                <a:gd name="T71" fmla="*/ 1398 h 1420"/>
                <a:gd name="T72" fmla="*/ 134 w 1604"/>
                <a:gd name="T73" fmla="*/ 1408 h 1420"/>
                <a:gd name="T74" fmla="*/ 120 w 1604"/>
                <a:gd name="T75" fmla="*/ 1416 h 1420"/>
                <a:gd name="T76" fmla="*/ 104 w 1604"/>
                <a:gd name="T77" fmla="*/ 1420 h 1420"/>
                <a:gd name="T78" fmla="*/ 88 w 1604"/>
                <a:gd name="T79" fmla="*/ 1420 h 1420"/>
                <a:gd name="T80" fmla="*/ 88 w 1604"/>
                <a:gd name="T81" fmla="*/ 1420 h 1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4" h="1420">
                  <a:moveTo>
                    <a:pt x="88" y="1420"/>
                  </a:moveTo>
                  <a:lnTo>
                    <a:pt x="88" y="1420"/>
                  </a:lnTo>
                  <a:lnTo>
                    <a:pt x="70" y="1418"/>
                  </a:lnTo>
                  <a:lnTo>
                    <a:pt x="52" y="1412"/>
                  </a:lnTo>
                  <a:lnTo>
                    <a:pt x="36" y="1404"/>
                  </a:lnTo>
                  <a:lnTo>
                    <a:pt x="22" y="1390"/>
                  </a:lnTo>
                  <a:lnTo>
                    <a:pt x="22" y="1390"/>
                  </a:lnTo>
                  <a:lnTo>
                    <a:pt x="10" y="1376"/>
                  </a:lnTo>
                  <a:lnTo>
                    <a:pt x="4" y="1358"/>
                  </a:lnTo>
                  <a:lnTo>
                    <a:pt x="0" y="1342"/>
                  </a:lnTo>
                  <a:lnTo>
                    <a:pt x="0" y="1324"/>
                  </a:lnTo>
                  <a:lnTo>
                    <a:pt x="2" y="1308"/>
                  </a:lnTo>
                  <a:lnTo>
                    <a:pt x="8" y="1292"/>
                  </a:lnTo>
                  <a:lnTo>
                    <a:pt x="18" y="1276"/>
                  </a:lnTo>
                  <a:lnTo>
                    <a:pt x="30" y="1264"/>
                  </a:lnTo>
                  <a:lnTo>
                    <a:pt x="1456" y="22"/>
                  </a:lnTo>
                  <a:lnTo>
                    <a:pt x="1456" y="22"/>
                  </a:lnTo>
                  <a:lnTo>
                    <a:pt x="1470" y="12"/>
                  </a:lnTo>
                  <a:lnTo>
                    <a:pt x="1486" y="4"/>
                  </a:lnTo>
                  <a:lnTo>
                    <a:pt x="1504" y="0"/>
                  </a:lnTo>
                  <a:lnTo>
                    <a:pt x="1520" y="0"/>
                  </a:lnTo>
                  <a:lnTo>
                    <a:pt x="1538" y="2"/>
                  </a:lnTo>
                  <a:lnTo>
                    <a:pt x="1554" y="8"/>
                  </a:lnTo>
                  <a:lnTo>
                    <a:pt x="1570" y="18"/>
                  </a:lnTo>
                  <a:lnTo>
                    <a:pt x="1582" y="30"/>
                  </a:lnTo>
                  <a:lnTo>
                    <a:pt x="1582" y="30"/>
                  </a:lnTo>
                  <a:lnTo>
                    <a:pt x="1592" y="46"/>
                  </a:lnTo>
                  <a:lnTo>
                    <a:pt x="1600" y="62"/>
                  </a:lnTo>
                  <a:lnTo>
                    <a:pt x="1604" y="78"/>
                  </a:lnTo>
                  <a:lnTo>
                    <a:pt x="1604" y="96"/>
                  </a:lnTo>
                  <a:lnTo>
                    <a:pt x="1602" y="112"/>
                  </a:lnTo>
                  <a:lnTo>
                    <a:pt x="1596" y="128"/>
                  </a:lnTo>
                  <a:lnTo>
                    <a:pt x="1586" y="144"/>
                  </a:lnTo>
                  <a:lnTo>
                    <a:pt x="1574" y="156"/>
                  </a:lnTo>
                  <a:lnTo>
                    <a:pt x="148" y="1398"/>
                  </a:lnTo>
                  <a:lnTo>
                    <a:pt x="148" y="1398"/>
                  </a:lnTo>
                  <a:lnTo>
                    <a:pt x="134" y="1408"/>
                  </a:lnTo>
                  <a:lnTo>
                    <a:pt x="120" y="1416"/>
                  </a:lnTo>
                  <a:lnTo>
                    <a:pt x="104" y="1420"/>
                  </a:lnTo>
                  <a:lnTo>
                    <a:pt x="88" y="1420"/>
                  </a:lnTo>
                  <a:lnTo>
                    <a:pt x="88" y="14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Line 64">
              <a:extLst>
                <a:ext uri="{FF2B5EF4-FFF2-40B4-BE49-F238E27FC236}">
                  <a16:creationId xmlns:a16="http://schemas.microsoft.com/office/drawing/2014/main" id="{F4C3DBC3-7B57-45E8-9AEA-883176B22B8D}"/>
                </a:ext>
              </a:extLst>
            </p:cNvPr>
            <p:cNvSpPr>
              <a:spLocks noChangeShapeType="1"/>
            </p:cNvSpPr>
            <p:nvPr/>
          </p:nvSpPr>
          <p:spPr bwMode="auto">
            <a:xfrm>
              <a:off x="-4032250" y="519747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65">
              <a:extLst>
                <a:ext uri="{FF2B5EF4-FFF2-40B4-BE49-F238E27FC236}">
                  <a16:creationId xmlns:a16="http://schemas.microsoft.com/office/drawing/2014/main" id="{75C46DC1-D060-42DA-B49E-7BC7D8C0C0B5}"/>
                </a:ext>
              </a:extLst>
            </p:cNvPr>
            <p:cNvSpPr>
              <a:spLocks noEditPoints="1"/>
            </p:cNvSpPr>
            <p:nvPr/>
          </p:nvSpPr>
          <p:spPr bwMode="auto">
            <a:xfrm>
              <a:off x="-4616450" y="2339975"/>
              <a:ext cx="2098675" cy="2352675"/>
            </a:xfrm>
            <a:custGeom>
              <a:avLst/>
              <a:gdLst>
                <a:gd name="T0" fmla="*/ 1232 w 1322"/>
                <a:gd name="T1" fmla="*/ 1482 h 1482"/>
                <a:gd name="T2" fmla="*/ 1232 w 1322"/>
                <a:gd name="T3" fmla="*/ 1482 h 1482"/>
                <a:gd name="T4" fmla="*/ 1214 w 1322"/>
                <a:gd name="T5" fmla="*/ 1480 h 1482"/>
                <a:gd name="T6" fmla="*/ 1196 w 1322"/>
                <a:gd name="T7" fmla="*/ 1474 h 1482"/>
                <a:gd name="T8" fmla="*/ 1180 w 1322"/>
                <a:gd name="T9" fmla="*/ 1464 h 1482"/>
                <a:gd name="T10" fmla="*/ 1166 w 1322"/>
                <a:gd name="T11" fmla="*/ 1450 h 1482"/>
                <a:gd name="T12" fmla="*/ 22 w 1322"/>
                <a:gd name="T13" fmla="*/ 148 h 1482"/>
                <a:gd name="T14" fmla="*/ 22 w 1322"/>
                <a:gd name="T15" fmla="*/ 148 h 1482"/>
                <a:gd name="T16" fmla="*/ 12 w 1322"/>
                <a:gd name="T17" fmla="*/ 134 h 1482"/>
                <a:gd name="T18" fmla="*/ 4 w 1322"/>
                <a:gd name="T19" fmla="*/ 118 h 1482"/>
                <a:gd name="T20" fmla="*/ 0 w 1322"/>
                <a:gd name="T21" fmla="*/ 100 h 1482"/>
                <a:gd name="T22" fmla="*/ 0 w 1322"/>
                <a:gd name="T23" fmla="*/ 84 h 1482"/>
                <a:gd name="T24" fmla="*/ 2 w 1322"/>
                <a:gd name="T25" fmla="*/ 66 h 1482"/>
                <a:gd name="T26" fmla="*/ 8 w 1322"/>
                <a:gd name="T27" fmla="*/ 50 h 1482"/>
                <a:gd name="T28" fmla="*/ 18 w 1322"/>
                <a:gd name="T29" fmla="*/ 36 h 1482"/>
                <a:gd name="T30" fmla="*/ 30 w 1322"/>
                <a:gd name="T31" fmla="*/ 22 h 1482"/>
                <a:gd name="T32" fmla="*/ 30 w 1322"/>
                <a:gd name="T33" fmla="*/ 22 h 1482"/>
                <a:gd name="T34" fmla="*/ 46 w 1322"/>
                <a:gd name="T35" fmla="*/ 12 h 1482"/>
                <a:gd name="T36" fmla="*/ 62 w 1322"/>
                <a:gd name="T37" fmla="*/ 4 h 1482"/>
                <a:gd name="T38" fmla="*/ 78 w 1322"/>
                <a:gd name="T39" fmla="*/ 0 h 1482"/>
                <a:gd name="T40" fmla="*/ 96 w 1322"/>
                <a:gd name="T41" fmla="*/ 0 h 1482"/>
                <a:gd name="T42" fmla="*/ 112 w 1322"/>
                <a:gd name="T43" fmla="*/ 2 h 1482"/>
                <a:gd name="T44" fmla="*/ 128 w 1322"/>
                <a:gd name="T45" fmla="*/ 8 h 1482"/>
                <a:gd name="T46" fmla="*/ 144 w 1322"/>
                <a:gd name="T47" fmla="*/ 18 h 1482"/>
                <a:gd name="T48" fmla="*/ 156 w 1322"/>
                <a:gd name="T49" fmla="*/ 30 h 1482"/>
                <a:gd name="T50" fmla="*/ 1300 w 1322"/>
                <a:gd name="T51" fmla="*/ 1332 h 1482"/>
                <a:gd name="T52" fmla="*/ 1300 w 1322"/>
                <a:gd name="T53" fmla="*/ 1332 h 1482"/>
                <a:gd name="T54" fmla="*/ 1310 w 1322"/>
                <a:gd name="T55" fmla="*/ 1348 h 1482"/>
                <a:gd name="T56" fmla="*/ 1318 w 1322"/>
                <a:gd name="T57" fmla="*/ 1364 h 1482"/>
                <a:gd name="T58" fmla="*/ 1322 w 1322"/>
                <a:gd name="T59" fmla="*/ 1380 h 1482"/>
                <a:gd name="T60" fmla="*/ 1322 w 1322"/>
                <a:gd name="T61" fmla="*/ 1398 h 1482"/>
                <a:gd name="T62" fmla="*/ 1320 w 1322"/>
                <a:gd name="T63" fmla="*/ 1414 h 1482"/>
                <a:gd name="T64" fmla="*/ 1314 w 1322"/>
                <a:gd name="T65" fmla="*/ 1430 h 1482"/>
                <a:gd name="T66" fmla="*/ 1304 w 1322"/>
                <a:gd name="T67" fmla="*/ 1446 h 1482"/>
                <a:gd name="T68" fmla="*/ 1292 w 1322"/>
                <a:gd name="T69" fmla="*/ 1458 h 1482"/>
                <a:gd name="T70" fmla="*/ 1292 w 1322"/>
                <a:gd name="T71" fmla="*/ 1458 h 1482"/>
                <a:gd name="T72" fmla="*/ 1278 w 1322"/>
                <a:gd name="T73" fmla="*/ 1468 h 1482"/>
                <a:gd name="T74" fmla="*/ 1264 w 1322"/>
                <a:gd name="T75" fmla="*/ 1476 h 1482"/>
                <a:gd name="T76" fmla="*/ 1248 w 1322"/>
                <a:gd name="T77" fmla="*/ 1480 h 1482"/>
                <a:gd name="T78" fmla="*/ 1232 w 1322"/>
                <a:gd name="T79" fmla="*/ 1482 h 1482"/>
                <a:gd name="T80" fmla="*/ 1232 w 1322"/>
                <a:gd name="T81" fmla="*/ 1482 h 1482"/>
                <a:gd name="T82" fmla="*/ 1232 w 1322"/>
                <a:gd name="T83" fmla="*/ 1482 h 1482"/>
                <a:gd name="T84" fmla="*/ 1232 w 1322"/>
                <a:gd name="T85" fmla="*/ 1482 h 1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22" h="1482">
                  <a:moveTo>
                    <a:pt x="1232" y="1482"/>
                  </a:moveTo>
                  <a:lnTo>
                    <a:pt x="1232" y="1482"/>
                  </a:lnTo>
                  <a:lnTo>
                    <a:pt x="1214" y="1480"/>
                  </a:lnTo>
                  <a:lnTo>
                    <a:pt x="1196" y="1474"/>
                  </a:lnTo>
                  <a:lnTo>
                    <a:pt x="1180" y="1464"/>
                  </a:lnTo>
                  <a:lnTo>
                    <a:pt x="1166" y="1450"/>
                  </a:lnTo>
                  <a:lnTo>
                    <a:pt x="22" y="148"/>
                  </a:lnTo>
                  <a:lnTo>
                    <a:pt x="22" y="148"/>
                  </a:lnTo>
                  <a:lnTo>
                    <a:pt x="12" y="134"/>
                  </a:lnTo>
                  <a:lnTo>
                    <a:pt x="4" y="118"/>
                  </a:lnTo>
                  <a:lnTo>
                    <a:pt x="0" y="100"/>
                  </a:lnTo>
                  <a:lnTo>
                    <a:pt x="0" y="84"/>
                  </a:lnTo>
                  <a:lnTo>
                    <a:pt x="2" y="66"/>
                  </a:lnTo>
                  <a:lnTo>
                    <a:pt x="8" y="50"/>
                  </a:lnTo>
                  <a:lnTo>
                    <a:pt x="18" y="36"/>
                  </a:lnTo>
                  <a:lnTo>
                    <a:pt x="30" y="22"/>
                  </a:lnTo>
                  <a:lnTo>
                    <a:pt x="30" y="22"/>
                  </a:lnTo>
                  <a:lnTo>
                    <a:pt x="46" y="12"/>
                  </a:lnTo>
                  <a:lnTo>
                    <a:pt x="62" y="4"/>
                  </a:lnTo>
                  <a:lnTo>
                    <a:pt x="78" y="0"/>
                  </a:lnTo>
                  <a:lnTo>
                    <a:pt x="96" y="0"/>
                  </a:lnTo>
                  <a:lnTo>
                    <a:pt x="112" y="2"/>
                  </a:lnTo>
                  <a:lnTo>
                    <a:pt x="128" y="8"/>
                  </a:lnTo>
                  <a:lnTo>
                    <a:pt x="144" y="18"/>
                  </a:lnTo>
                  <a:lnTo>
                    <a:pt x="156" y="30"/>
                  </a:lnTo>
                  <a:lnTo>
                    <a:pt x="1300" y="1332"/>
                  </a:lnTo>
                  <a:lnTo>
                    <a:pt x="1300" y="1332"/>
                  </a:lnTo>
                  <a:lnTo>
                    <a:pt x="1310" y="1348"/>
                  </a:lnTo>
                  <a:lnTo>
                    <a:pt x="1318" y="1364"/>
                  </a:lnTo>
                  <a:lnTo>
                    <a:pt x="1322" y="1380"/>
                  </a:lnTo>
                  <a:lnTo>
                    <a:pt x="1322" y="1398"/>
                  </a:lnTo>
                  <a:lnTo>
                    <a:pt x="1320" y="1414"/>
                  </a:lnTo>
                  <a:lnTo>
                    <a:pt x="1314" y="1430"/>
                  </a:lnTo>
                  <a:lnTo>
                    <a:pt x="1304" y="1446"/>
                  </a:lnTo>
                  <a:lnTo>
                    <a:pt x="1292" y="1458"/>
                  </a:lnTo>
                  <a:lnTo>
                    <a:pt x="1292" y="1458"/>
                  </a:lnTo>
                  <a:lnTo>
                    <a:pt x="1278" y="1468"/>
                  </a:lnTo>
                  <a:lnTo>
                    <a:pt x="1264" y="1476"/>
                  </a:lnTo>
                  <a:lnTo>
                    <a:pt x="1248" y="1480"/>
                  </a:lnTo>
                  <a:lnTo>
                    <a:pt x="1232" y="1482"/>
                  </a:lnTo>
                  <a:lnTo>
                    <a:pt x="1232" y="1482"/>
                  </a:lnTo>
                  <a:close/>
                  <a:moveTo>
                    <a:pt x="1232" y="1482"/>
                  </a:moveTo>
                  <a:lnTo>
                    <a:pt x="1232" y="148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3" name="Freeform 66">
              <a:extLst>
                <a:ext uri="{FF2B5EF4-FFF2-40B4-BE49-F238E27FC236}">
                  <a16:creationId xmlns:a16="http://schemas.microsoft.com/office/drawing/2014/main" id="{BCCD5422-808C-43E4-9DD1-F08EB953FFA4}"/>
                </a:ext>
              </a:extLst>
            </p:cNvPr>
            <p:cNvSpPr>
              <a:spLocks/>
            </p:cNvSpPr>
            <p:nvPr/>
          </p:nvSpPr>
          <p:spPr bwMode="auto">
            <a:xfrm>
              <a:off x="-4616450" y="2339975"/>
              <a:ext cx="2098675" cy="2352675"/>
            </a:xfrm>
            <a:custGeom>
              <a:avLst/>
              <a:gdLst>
                <a:gd name="T0" fmla="*/ 1232 w 1322"/>
                <a:gd name="T1" fmla="*/ 1482 h 1482"/>
                <a:gd name="T2" fmla="*/ 1232 w 1322"/>
                <a:gd name="T3" fmla="*/ 1482 h 1482"/>
                <a:gd name="T4" fmla="*/ 1214 w 1322"/>
                <a:gd name="T5" fmla="*/ 1480 h 1482"/>
                <a:gd name="T6" fmla="*/ 1196 w 1322"/>
                <a:gd name="T7" fmla="*/ 1474 h 1482"/>
                <a:gd name="T8" fmla="*/ 1180 w 1322"/>
                <a:gd name="T9" fmla="*/ 1464 h 1482"/>
                <a:gd name="T10" fmla="*/ 1166 w 1322"/>
                <a:gd name="T11" fmla="*/ 1450 h 1482"/>
                <a:gd name="T12" fmla="*/ 22 w 1322"/>
                <a:gd name="T13" fmla="*/ 148 h 1482"/>
                <a:gd name="T14" fmla="*/ 22 w 1322"/>
                <a:gd name="T15" fmla="*/ 148 h 1482"/>
                <a:gd name="T16" fmla="*/ 12 w 1322"/>
                <a:gd name="T17" fmla="*/ 134 h 1482"/>
                <a:gd name="T18" fmla="*/ 4 w 1322"/>
                <a:gd name="T19" fmla="*/ 118 h 1482"/>
                <a:gd name="T20" fmla="*/ 0 w 1322"/>
                <a:gd name="T21" fmla="*/ 100 h 1482"/>
                <a:gd name="T22" fmla="*/ 0 w 1322"/>
                <a:gd name="T23" fmla="*/ 84 h 1482"/>
                <a:gd name="T24" fmla="*/ 2 w 1322"/>
                <a:gd name="T25" fmla="*/ 66 h 1482"/>
                <a:gd name="T26" fmla="*/ 8 w 1322"/>
                <a:gd name="T27" fmla="*/ 50 h 1482"/>
                <a:gd name="T28" fmla="*/ 18 w 1322"/>
                <a:gd name="T29" fmla="*/ 36 h 1482"/>
                <a:gd name="T30" fmla="*/ 30 w 1322"/>
                <a:gd name="T31" fmla="*/ 22 h 1482"/>
                <a:gd name="T32" fmla="*/ 30 w 1322"/>
                <a:gd name="T33" fmla="*/ 22 h 1482"/>
                <a:gd name="T34" fmla="*/ 46 w 1322"/>
                <a:gd name="T35" fmla="*/ 12 h 1482"/>
                <a:gd name="T36" fmla="*/ 62 w 1322"/>
                <a:gd name="T37" fmla="*/ 4 h 1482"/>
                <a:gd name="T38" fmla="*/ 78 w 1322"/>
                <a:gd name="T39" fmla="*/ 0 h 1482"/>
                <a:gd name="T40" fmla="*/ 96 w 1322"/>
                <a:gd name="T41" fmla="*/ 0 h 1482"/>
                <a:gd name="T42" fmla="*/ 112 w 1322"/>
                <a:gd name="T43" fmla="*/ 2 h 1482"/>
                <a:gd name="T44" fmla="*/ 128 w 1322"/>
                <a:gd name="T45" fmla="*/ 8 h 1482"/>
                <a:gd name="T46" fmla="*/ 144 w 1322"/>
                <a:gd name="T47" fmla="*/ 18 h 1482"/>
                <a:gd name="T48" fmla="*/ 156 w 1322"/>
                <a:gd name="T49" fmla="*/ 30 h 1482"/>
                <a:gd name="T50" fmla="*/ 1300 w 1322"/>
                <a:gd name="T51" fmla="*/ 1332 h 1482"/>
                <a:gd name="T52" fmla="*/ 1300 w 1322"/>
                <a:gd name="T53" fmla="*/ 1332 h 1482"/>
                <a:gd name="T54" fmla="*/ 1310 w 1322"/>
                <a:gd name="T55" fmla="*/ 1348 h 1482"/>
                <a:gd name="T56" fmla="*/ 1318 w 1322"/>
                <a:gd name="T57" fmla="*/ 1364 h 1482"/>
                <a:gd name="T58" fmla="*/ 1322 w 1322"/>
                <a:gd name="T59" fmla="*/ 1380 h 1482"/>
                <a:gd name="T60" fmla="*/ 1322 w 1322"/>
                <a:gd name="T61" fmla="*/ 1398 h 1482"/>
                <a:gd name="T62" fmla="*/ 1320 w 1322"/>
                <a:gd name="T63" fmla="*/ 1414 h 1482"/>
                <a:gd name="T64" fmla="*/ 1314 w 1322"/>
                <a:gd name="T65" fmla="*/ 1430 h 1482"/>
                <a:gd name="T66" fmla="*/ 1304 w 1322"/>
                <a:gd name="T67" fmla="*/ 1446 h 1482"/>
                <a:gd name="T68" fmla="*/ 1292 w 1322"/>
                <a:gd name="T69" fmla="*/ 1458 h 1482"/>
                <a:gd name="T70" fmla="*/ 1292 w 1322"/>
                <a:gd name="T71" fmla="*/ 1458 h 1482"/>
                <a:gd name="T72" fmla="*/ 1278 w 1322"/>
                <a:gd name="T73" fmla="*/ 1468 h 1482"/>
                <a:gd name="T74" fmla="*/ 1264 w 1322"/>
                <a:gd name="T75" fmla="*/ 1476 h 1482"/>
                <a:gd name="T76" fmla="*/ 1248 w 1322"/>
                <a:gd name="T77" fmla="*/ 1480 h 1482"/>
                <a:gd name="T78" fmla="*/ 1232 w 1322"/>
                <a:gd name="T79" fmla="*/ 1482 h 1482"/>
                <a:gd name="T80" fmla="*/ 1232 w 1322"/>
                <a:gd name="T81" fmla="*/ 1482 h 1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22" h="1482">
                  <a:moveTo>
                    <a:pt x="1232" y="1482"/>
                  </a:moveTo>
                  <a:lnTo>
                    <a:pt x="1232" y="1482"/>
                  </a:lnTo>
                  <a:lnTo>
                    <a:pt x="1214" y="1480"/>
                  </a:lnTo>
                  <a:lnTo>
                    <a:pt x="1196" y="1474"/>
                  </a:lnTo>
                  <a:lnTo>
                    <a:pt x="1180" y="1464"/>
                  </a:lnTo>
                  <a:lnTo>
                    <a:pt x="1166" y="1450"/>
                  </a:lnTo>
                  <a:lnTo>
                    <a:pt x="22" y="148"/>
                  </a:lnTo>
                  <a:lnTo>
                    <a:pt x="22" y="148"/>
                  </a:lnTo>
                  <a:lnTo>
                    <a:pt x="12" y="134"/>
                  </a:lnTo>
                  <a:lnTo>
                    <a:pt x="4" y="118"/>
                  </a:lnTo>
                  <a:lnTo>
                    <a:pt x="0" y="100"/>
                  </a:lnTo>
                  <a:lnTo>
                    <a:pt x="0" y="84"/>
                  </a:lnTo>
                  <a:lnTo>
                    <a:pt x="2" y="66"/>
                  </a:lnTo>
                  <a:lnTo>
                    <a:pt x="8" y="50"/>
                  </a:lnTo>
                  <a:lnTo>
                    <a:pt x="18" y="36"/>
                  </a:lnTo>
                  <a:lnTo>
                    <a:pt x="30" y="22"/>
                  </a:lnTo>
                  <a:lnTo>
                    <a:pt x="30" y="22"/>
                  </a:lnTo>
                  <a:lnTo>
                    <a:pt x="46" y="12"/>
                  </a:lnTo>
                  <a:lnTo>
                    <a:pt x="62" y="4"/>
                  </a:lnTo>
                  <a:lnTo>
                    <a:pt x="78" y="0"/>
                  </a:lnTo>
                  <a:lnTo>
                    <a:pt x="96" y="0"/>
                  </a:lnTo>
                  <a:lnTo>
                    <a:pt x="112" y="2"/>
                  </a:lnTo>
                  <a:lnTo>
                    <a:pt x="128" y="8"/>
                  </a:lnTo>
                  <a:lnTo>
                    <a:pt x="144" y="18"/>
                  </a:lnTo>
                  <a:lnTo>
                    <a:pt x="156" y="30"/>
                  </a:lnTo>
                  <a:lnTo>
                    <a:pt x="1300" y="1332"/>
                  </a:lnTo>
                  <a:lnTo>
                    <a:pt x="1300" y="1332"/>
                  </a:lnTo>
                  <a:lnTo>
                    <a:pt x="1310" y="1348"/>
                  </a:lnTo>
                  <a:lnTo>
                    <a:pt x="1318" y="1364"/>
                  </a:lnTo>
                  <a:lnTo>
                    <a:pt x="1322" y="1380"/>
                  </a:lnTo>
                  <a:lnTo>
                    <a:pt x="1322" y="1398"/>
                  </a:lnTo>
                  <a:lnTo>
                    <a:pt x="1320" y="1414"/>
                  </a:lnTo>
                  <a:lnTo>
                    <a:pt x="1314" y="1430"/>
                  </a:lnTo>
                  <a:lnTo>
                    <a:pt x="1304" y="1446"/>
                  </a:lnTo>
                  <a:lnTo>
                    <a:pt x="1292" y="1458"/>
                  </a:lnTo>
                  <a:lnTo>
                    <a:pt x="1292" y="1458"/>
                  </a:lnTo>
                  <a:lnTo>
                    <a:pt x="1278" y="1468"/>
                  </a:lnTo>
                  <a:lnTo>
                    <a:pt x="1264" y="1476"/>
                  </a:lnTo>
                  <a:lnTo>
                    <a:pt x="1248" y="1480"/>
                  </a:lnTo>
                  <a:lnTo>
                    <a:pt x="1232" y="1482"/>
                  </a:lnTo>
                  <a:lnTo>
                    <a:pt x="1232" y="14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Line 67">
              <a:extLst>
                <a:ext uri="{FF2B5EF4-FFF2-40B4-BE49-F238E27FC236}">
                  <a16:creationId xmlns:a16="http://schemas.microsoft.com/office/drawing/2014/main" id="{1778EC14-1639-43B9-8AA3-1202AE9F43E3}"/>
                </a:ext>
              </a:extLst>
            </p:cNvPr>
            <p:cNvSpPr>
              <a:spLocks noChangeShapeType="1"/>
            </p:cNvSpPr>
            <p:nvPr/>
          </p:nvSpPr>
          <p:spPr bwMode="auto">
            <a:xfrm>
              <a:off x="-2660650" y="46926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68">
              <a:extLst>
                <a:ext uri="{FF2B5EF4-FFF2-40B4-BE49-F238E27FC236}">
                  <a16:creationId xmlns:a16="http://schemas.microsoft.com/office/drawing/2014/main" id="{7FE55697-892A-4378-913C-3F0240C5AC72}"/>
                </a:ext>
              </a:extLst>
            </p:cNvPr>
            <p:cNvSpPr>
              <a:spLocks noEditPoints="1"/>
            </p:cNvSpPr>
            <p:nvPr/>
          </p:nvSpPr>
          <p:spPr bwMode="auto">
            <a:xfrm>
              <a:off x="-1898650" y="4111625"/>
              <a:ext cx="1187450" cy="285750"/>
            </a:xfrm>
            <a:custGeom>
              <a:avLst/>
              <a:gdLst>
                <a:gd name="T0" fmla="*/ 660 w 748"/>
                <a:gd name="T1" fmla="*/ 180 h 180"/>
                <a:gd name="T2" fmla="*/ 88 w 748"/>
                <a:gd name="T3" fmla="*/ 180 h 180"/>
                <a:gd name="T4" fmla="*/ 88 w 748"/>
                <a:gd name="T5" fmla="*/ 180 h 180"/>
                <a:gd name="T6" fmla="*/ 70 w 748"/>
                <a:gd name="T7" fmla="*/ 178 h 180"/>
                <a:gd name="T8" fmla="*/ 54 w 748"/>
                <a:gd name="T9" fmla="*/ 172 h 180"/>
                <a:gd name="T10" fmla="*/ 38 w 748"/>
                <a:gd name="T11" fmla="*/ 164 h 180"/>
                <a:gd name="T12" fmla="*/ 26 w 748"/>
                <a:gd name="T13" fmla="*/ 154 h 180"/>
                <a:gd name="T14" fmla="*/ 14 w 748"/>
                <a:gd name="T15" fmla="*/ 140 h 180"/>
                <a:gd name="T16" fmla="*/ 6 w 748"/>
                <a:gd name="T17" fmla="*/ 124 h 180"/>
                <a:gd name="T18" fmla="*/ 0 w 748"/>
                <a:gd name="T19" fmla="*/ 108 h 180"/>
                <a:gd name="T20" fmla="*/ 0 w 748"/>
                <a:gd name="T21" fmla="*/ 90 h 180"/>
                <a:gd name="T22" fmla="*/ 0 w 748"/>
                <a:gd name="T23" fmla="*/ 90 h 180"/>
                <a:gd name="T24" fmla="*/ 0 w 748"/>
                <a:gd name="T25" fmla="*/ 72 h 180"/>
                <a:gd name="T26" fmla="*/ 6 w 748"/>
                <a:gd name="T27" fmla="*/ 56 h 180"/>
                <a:gd name="T28" fmla="*/ 14 w 748"/>
                <a:gd name="T29" fmla="*/ 40 h 180"/>
                <a:gd name="T30" fmla="*/ 26 w 748"/>
                <a:gd name="T31" fmla="*/ 26 h 180"/>
                <a:gd name="T32" fmla="*/ 38 w 748"/>
                <a:gd name="T33" fmla="*/ 16 h 180"/>
                <a:gd name="T34" fmla="*/ 54 w 748"/>
                <a:gd name="T35" fmla="*/ 8 h 180"/>
                <a:gd name="T36" fmla="*/ 70 w 748"/>
                <a:gd name="T37" fmla="*/ 2 h 180"/>
                <a:gd name="T38" fmla="*/ 88 w 748"/>
                <a:gd name="T39" fmla="*/ 0 h 180"/>
                <a:gd name="T40" fmla="*/ 660 w 748"/>
                <a:gd name="T41" fmla="*/ 0 h 180"/>
                <a:gd name="T42" fmla="*/ 660 w 748"/>
                <a:gd name="T43" fmla="*/ 0 h 180"/>
                <a:gd name="T44" fmla="*/ 678 w 748"/>
                <a:gd name="T45" fmla="*/ 2 h 180"/>
                <a:gd name="T46" fmla="*/ 694 w 748"/>
                <a:gd name="T47" fmla="*/ 8 h 180"/>
                <a:gd name="T48" fmla="*/ 710 w 748"/>
                <a:gd name="T49" fmla="*/ 16 h 180"/>
                <a:gd name="T50" fmla="*/ 722 w 748"/>
                <a:gd name="T51" fmla="*/ 26 h 180"/>
                <a:gd name="T52" fmla="*/ 734 w 748"/>
                <a:gd name="T53" fmla="*/ 40 h 180"/>
                <a:gd name="T54" fmla="*/ 742 w 748"/>
                <a:gd name="T55" fmla="*/ 56 h 180"/>
                <a:gd name="T56" fmla="*/ 748 w 748"/>
                <a:gd name="T57" fmla="*/ 72 h 180"/>
                <a:gd name="T58" fmla="*/ 748 w 748"/>
                <a:gd name="T59" fmla="*/ 90 h 180"/>
                <a:gd name="T60" fmla="*/ 748 w 748"/>
                <a:gd name="T61" fmla="*/ 90 h 180"/>
                <a:gd name="T62" fmla="*/ 748 w 748"/>
                <a:gd name="T63" fmla="*/ 108 h 180"/>
                <a:gd name="T64" fmla="*/ 742 w 748"/>
                <a:gd name="T65" fmla="*/ 124 h 180"/>
                <a:gd name="T66" fmla="*/ 734 w 748"/>
                <a:gd name="T67" fmla="*/ 140 h 180"/>
                <a:gd name="T68" fmla="*/ 722 w 748"/>
                <a:gd name="T69" fmla="*/ 154 h 180"/>
                <a:gd name="T70" fmla="*/ 710 w 748"/>
                <a:gd name="T71" fmla="*/ 164 h 180"/>
                <a:gd name="T72" fmla="*/ 694 w 748"/>
                <a:gd name="T73" fmla="*/ 172 h 180"/>
                <a:gd name="T74" fmla="*/ 678 w 748"/>
                <a:gd name="T75" fmla="*/ 178 h 180"/>
                <a:gd name="T76" fmla="*/ 660 w 748"/>
                <a:gd name="T77" fmla="*/ 180 h 180"/>
                <a:gd name="T78" fmla="*/ 660 w 748"/>
                <a:gd name="T79" fmla="*/ 180 h 180"/>
                <a:gd name="T80" fmla="*/ 660 w 748"/>
                <a:gd name="T81" fmla="*/ 180 h 180"/>
                <a:gd name="T82" fmla="*/ 660 w 748"/>
                <a:gd name="T83"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48" h="180">
                  <a:moveTo>
                    <a:pt x="660" y="180"/>
                  </a:moveTo>
                  <a:lnTo>
                    <a:pt x="88" y="180"/>
                  </a:lnTo>
                  <a:lnTo>
                    <a:pt x="88" y="180"/>
                  </a:lnTo>
                  <a:lnTo>
                    <a:pt x="70" y="178"/>
                  </a:lnTo>
                  <a:lnTo>
                    <a:pt x="54" y="172"/>
                  </a:lnTo>
                  <a:lnTo>
                    <a:pt x="38" y="164"/>
                  </a:lnTo>
                  <a:lnTo>
                    <a:pt x="26" y="154"/>
                  </a:lnTo>
                  <a:lnTo>
                    <a:pt x="14" y="140"/>
                  </a:lnTo>
                  <a:lnTo>
                    <a:pt x="6" y="124"/>
                  </a:lnTo>
                  <a:lnTo>
                    <a:pt x="0" y="108"/>
                  </a:lnTo>
                  <a:lnTo>
                    <a:pt x="0" y="90"/>
                  </a:lnTo>
                  <a:lnTo>
                    <a:pt x="0" y="90"/>
                  </a:lnTo>
                  <a:lnTo>
                    <a:pt x="0" y="72"/>
                  </a:lnTo>
                  <a:lnTo>
                    <a:pt x="6" y="56"/>
                  </a:lnTo>
                  <a:lnTo>
                    <a:pt x="14" y="40"/>
                  </a:lnTo>
                  <a:lnTo>
                    <a:pt x="26" y="26"/>
                  </a:lnTo>
                  <a:lnTo>
                    <a:pt x="38" y="16"/>
                  </a:lnTo>
                  <a:lnTo>
                    <a:pt x="54" y="8"/>
                  </a:lnTo>
                  <a:lnTo>
                    <a:pt x="70" y="2"/>
                  </a:lnTo>
                  <a:lnTo>
                    <a:pt x="88" y="0"/>
                  </a:lnTo>
                  <a:lnTo>
                    <a:pt x="660" y="0"/>
                  </a:lnTo>
                  <a:lnTo>
                    <a:pt x="660" y="0"/>
                  </a:lnTo>
                  <a:lnTo>
                    <a:pt x="678" y="2"/>
                  </a:lnTo>
                  <a:lnTo>
                    <a:pt x="694" y="8"/>
                  </a:lnTo>
                  <a:lnTo>
                    <a:pt x="710" y="16"/>
                  </a:lnTo>
                  <a:lnTo>
                    <a:pt x="722" y="26"/>
                  </a:lnTo>
                  <a:lnTo>
                    <a:pt x="734" y="40"/>
                  </a:lnTo>
                  <a:lnTo>
                    <a:pt x="742" y="56"/>
                  </a:lnTo>
                  <a:lnTo>
                    <a:pt x="748" y="72"/>
                  </a:lnTo>
                  <a:lnTo>
                    <a:pt x="748" y="90"/>
                  </a:lnTo>
                  <a:lnTo>
                    <a:pt x="748" y="90"/>
                  </a:lnTo>
                  <a:lnTo>
                    <a:pt x="748" y="108"/>
                  </a:lnTo>
                  <a:lnTo>
                    <a:pt x="742" y="124"/>
                  </a:lnTo>
                  <a:lnTo>
                    <a:pt x="734" y="140"/>
                  </a:lnTo>
                  <a:lnTo>
                    <a:pt x="722" y="154"/>
                  </a:lnTo>
                  <a:lnTo>
                    <a:pt x="710" y="164"/>
                  </a:lnTo>
                  <a:lnTo>
                    <a:pt x="694" y="172"/>
                  </a:lnTo>
                  <a:lnTo>
                    <a:pt x="678" y="178"/>
                  </a:lnTo>
                  <a:lnTo>
                    <a:pt x="660" y="180"/>
                  </a:lnTo>
                  <a:lnTo>
                    <a:pt x="660" y="180"/>
                  </a:lnTo>
                  <a:close/>
                  <a:moveTo>
                    <a:pt x="660" y="180"/>
                  </a:moveTo>
                  <a:lnTo>
                    <a:pt x="660" y="18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6" name="Line 70">
              <a:extLst>
                <a:ext uri="{FF2B5EF4-FFF2-40B4-BE49-F238E27FC236}">
                  <a16:creationId xmlns:a16="http://schemas.microsoft.com/office/drawing/2014/main" id="{569DE5B2-300F-4976-B64C-7AC5F3935FE9}"/>
                </a:ext>
              </a:extLst>
            </p:cNvPr>
            <p:cNvSpPr>
              <a:spLocks noChangeShapeType="1"/>
            </p:cNvSpPr>
            <p:nvPr/>
          </p:nvSpPr>
          <p:spPr bwMode="auto">
            <a:xfrm>
              <a:off x="-584200" y="439737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71">
              <a:extLst>
                <a:ext uri="{FF2B5EF4-FFF2-40B4-BE49-F238E27FC236}">
                  <a16:creationId xmlns:a16="http://schemas.microsoft.com/office/drawing/2014/main" id="{3D5E092B-DE04-4D1E-BDF1-A260BD1ED74A}"/>
                </a:ext>
              </a:extLst>
            </p:cNvPr>
            <p:cNvSpPr>
              <a:spLocks noEditPoints="1"/>
            </p:cNvSpPr>
            <p:nvPr/>
          </p:nvSpPr>
          <p:spPr bwMode="auto">
            <a:xfrm>
              <a:off x="-3860800" y="3324225"/>
              <a:ext cx="1857375" cy="1860550"/>
            </a:xfrm>
            <a:custGeom>
              <a:avLst/>
              <a:gdLst>
                <a:gd name="T0" fmla="*/ 1170 w 1170"/>
                <a:gd name="T1" fmla="*/ 616 h 1172"/>
                <a:gd name="T2" fmla="*/ 1160 w 1170"/>
                <a:gd name="T3" fmla="*/ 704 h 1172"/>
                <a:gd name="T4" fmla="*/ 1136 w 1170"/>
                <a:gd name="T5" fmla="*/ 788 h 1172"/>
                <a:gd name="T6" fmla="*/ 1100 w 1170"/>
                <a:gd name="T7" fmla="*/ 866 h 1172"/>
                <a:gd name="T8" fmla="*/ 1054 w 1170"/>
                <a:gd name="T9" fmla="*/ 936 h 1172"/>
                <a:gd name="T10" fmla="*/ 1000 w 1170"/>
                <a:gd name="T11" fmla="*/ 1000 h 1172"/>
                <a:gd name="T12" fmla="*/ 936 w 1170"/>
                <a:gd name="T13" fmla="*/ 1056 h 1172"/>
                <a:gd name="T14" fmla="*/ 864 w 1170"/>
                <a:gd name="T15" fmla="*/ 1102 h 1172"/>
                <a:gd name="T16" fmla="*/ 786 w 1170"/>
                <a:gd name="T17" fmla="*/ 1136 h 1172"/>
                <a:gd name="T18" fmla="*/ 704 w 1170"/>
                <a:gd name="T19" fmla="*/ 1160 h 1172"/>
                <a:gd name="T20" fmla="*/ 616 w 1170"/>
                <a:gd name="T21" fmla="*/ 1172 h 1172"/>
                <a:gd name="T22" fmla="*/ 554 w 1170"/>
                <a:gd name="T23" fmla="*/ 1172 h 1172"/>
                <a:gd name="T24" fmla="*/ 466 w 1170"/>
                <a:gd name="T25" fmla="*/ 1160 h 1172"/>
                <a:gd name="T26" fmla="*/ 384 w 1170"/>
                <a:gd name="T27" fmla="*/ 1136 h 1172"/>
                <a:gd name="T28" fmla="*/ 306 w 1170"/>
                <a:gd name="T29" fmla="*/ 1102 h 1172"/>
                <a:gd name="T30" fmla="*/ 234 w 1170"/>
                <a:gd name="T31" fmla="*/ 1056 h 1172"/>
                <a:gd name="T32" fmla="*/ 170 w 1170"/>
                <a:gd name="T33" fmla="*/ 1000 h 1172"/>
                <a:gd name="T34" fmla="*/ 116 w 1170"/>
                <a:gd name="T35" fmla="*/ 936 h 1172"/>
                <a:gd name="T36" fmla="*/ 70 w 1170"/>
                <a:gd name="T37" fmla="*/ 866 h 1172"/>
                <a:gd name="T38" fmla="*/ 34 w 1170"/>
                <a:gd name="T39" fmla="*/ 788 h 1172"/>
                <a:gd name="T40" fmla="*/ 10 w 1170"/>
                <a:gd name="T41" fmla="*/ 704 h 1172"/>
                <a:gd name="T42" fmla="*/ 0 w 1170"/>
                <a:gd name="T43" fmla="*/ 616 h 1172"/>
                <a:gd name="T44" fmla="*/ 0 w 1170"/>
                <a:gd name="T45" fmla="*/ 556 h 1172"/>
                <a:gd name="T46" fmla="*/ 10 w 1170"/>
                <a:gd name="T47" fmla="*/ 468 h 1172"/>
                <a:gd name="T48" fmla="*/ 34 w 1170"/>
                <a:gd name="T49" fmla="*/ 384 h 1172"/>
                <a:gd name="T50" fmla="*/ 70 w 1170"/>
                <a:gd name="T51" fmla="*/ 306 h 1172"/>
                <a:gd name="T52" fmla="*/ 116 w 1170"/>
                <a:gd name="T53" fmla="*/ 236 h 1172"/>
                <a:gd name="T54" fmla="*/ 170 w 1170"/>
                <a:gd name="T55" fmla="*/ 172 h 1172"/>
                <a:gd name="T56" fmla="*/ 234 w 1170"/>
                <a:gd name="T57" fmla="*/ 116 h 1172"/>
                <a:gd name="T58" fmla="*/ 306 w 1170"/>
                <a:gd name="T59" fmla="*/ 70 h 1172"/>
                <a:gd name="T60" fmla="*/ 384 w 1170"/>
                <a:gd name="T61" fmla="*/ 36 h 1172"/>
                <a:gd name="T62" fmla="*/ 466 w 1170"/>
                <a:gd name="T63" fmla="*/ 12 h 1172"/>
                <a:gd name="T64" fmla="*/ 554 w 1170"/>
                <a:gd name="T65" fmla="*/ 0 h 1172"/>
                <a:gd name="T66" fmla="*/ 616 w 1170"/>
                <a:gd name="T67" fmla="*/ 0 h 1172"/>
                <a:gd name="T68" fmla="*/ 704 w 1170"/>
                <a:gd name="T69" fmla="*/ 12 h 1172"/>
                <a:gd name="T70" fmla="*/ 786 w 1170"/>
                <a:gd name="T71" fmla="*/ 36 h 1172"/>
                <a:gd name="T72" fmla="*/ 864 w 1170"/>
                <a:gd name="T73" fmla="*/ 70 h 1172"/>
                <a:gd name="T74" fmla="*/ 936 w 1170"/>
                <a:gd name="T75" fmla="*/ 116 h 1172"/>
                <a:gd name="T76" fmla="*/ 1000 w 1170"/>
                <a:gd name="T77" fmla="*/ 172 h 1172"/>
                <a:gd name="T78" fmla="*/ 1054 w 1170"/>
                <a:gd name="T79" fmla="*/ 236 h 1172"/>
                <a:gd name="T80" fmla="*/ 1100 w 1170"/>
                <a:gd name="T81" fmla="*/ 306 h 1172"/>
                <a:gd name="T82" fmla="*/ 1136 w 1170"/>
                <a:gd name="T83" fmla="*/ 384 h 1172"/>
                <a:gd name="T84" fmla="*/ 1160 w 1170"/>
                <a:gd name="T85" fmla="*/ 468 h 1172"/>
                <a:gd name="T86" fmla="*/ 1170 w 1170"/>
                <a:gd name="T87" fmla="*/ 556 h 1172"/>
                <a:gd name="T88" fmla="*/ 1170 w 1170"/>
                <a:gd name="T89" fmla="*/ 586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70" h="1172">
                  <a:moveTo>
                    <a:pt x="1170" y="586"/>
                  </a:moveTo>
                  <a:lnTo>
                    <a:pt x="1170" y="586"/>
                  </a:lnTo>
                  <a:lnTo>
                    <a:pt x="1170" y="616"/>
                  </a:lnTo>
                  <a:lnTo>
                    <a:pt x="1168" y="646"/>
                  </a:lnTo>
                  <a:lnTo>
                    <a:pt x="1164" y="676"/>
                  </a:lnTo>
                  <a:lnTo>
                    <a:pt x="1160" y="704"/>
                  </a:lnTo>
                  <a:lnTo>
                    <a:pt x="1152" y="732"/>
                  </a:lnTo>
                  <a:lnTo>
                    <a:pt x="1144" y="760"/>
                  </a:lnTo>
                  <a:lnTo>
                    <a:pt x="1136" y="788"/>
                  </a:lnTo>
                  <a:lnTo>
                    <a:pt x="1124" y="814"/>
                  </a:lnTo>
                  <a:lnTo>
                    <a:pt x="1114" y="840"/>
                  </a:lnTo>
                  <a:lnTo>
                    <a:pt x="1100" y="866"/>
                  </a:lnTo>
                  <a:lnTo>
                    <a:pt x="1086" y="890"/>
                  </a:lnTo>
                  <a:lnTo>
                    <a:pt x="1070" y="914"/>
                  </a:lnTo>
                  <a:lnTo>
                    <a:pt x="1054" y="936"/>
                  </a:lnTo>
                  <a:lnTo>
                    <a:pt x="1038" y="958"/>
                  </a:lnTo>
                  <a:lnTo>
                    <a:pt x="1018" y="980"/>
                  </a:lnTo>
                  <a:lnTo>
                    <a:pt x="1000" y="1000"/>
                  </a:lnTo>
                  <a:lnTo>
                    <a:pt x="980" y="1020"/>
                  </a:lnTo>
                  <a:lnTo>
                    <a:pt x="958" y="1038"/>
                  </a:lnTo>
                  <a:lnTo>
                    <a:pt x="936" y="1056"/>
                  </a:lnTo>
                  <a:lnTo>
                    <a:pt x="912" y="1072"/>
                  </a:lnTo>
                  <a:lnTo>
                    <a:pt x="888" y="1088"/>
                  </a:lnTo>
                  <a:lnTo>
                    <a:pt x="864" y="1102"/>
                  </a:lnTo>
                  <a:lnTo>
                    <a:pt x="840" y="1114"/>
                  </a:lnTo>
                  <a:lnTo>
                    <a:pt x="814" y="1126"/>
                  </a:lnTo>
                  <a:lnTo>
                    <a:pt x="786" y="1136"/>
                  </a:lnTo>
                  <a:lnTo>
                    <a:pt x="760" y="1146"/>
                  </a:lnTo>
                  <a:lnTo>
                    <a:pt x="732" y="1154"/>
                  </a:lnTo>
                  <a:lnTo>
                    <a:pt x="704" y="1160"/>
                  </a:lnTo>
                  <a:lnTo>
                    <a:pt x="674" y="1166"/>
                  </a:lnTo>
                  <a:lnTo>
                    <a:pt x="644" y="1170"/>
                  </a:lnTo>
                  <a:lnTo>
                    <a:pt x="616" y="1172"/>
                  </a:lnTo>
                  <a:lnTo>
                    <a:pt x="586" y="1172"/>
                  </a:lnTo>
                  <a:lnTo>
                    <a:pt x="586" y="1172"/>
                  </a:lnTo>
                  <a:lnTo>
                    <a:pt x="554" y="1172"/>
                  </a:lnTo>
                  <a:lnTo>
                    <a:pt x="526" y="1170"/>
                  </a:lnTo>
                  <a:lnTo>
                    <a:pt x="496" y="1166"/>
                  </a:lnTo>
                  <a:lnTo>
                    <a:pt x="466" y="1160"/>
                  </a:lnTo>
                  <a:lnTo>
                    <a:pt x="438" y="1154"/>
                  </a:lnTo>
                  <a:lnTo>
                    <a:pt x="410" y="1146"/>
                  </a:lnTo>
                  <a:lnTo>
                    <a:pt x="384" y="1136"/>
                  </a:lnTo>
                  <a:lnTo>
                    <a:pt x="356" y="1126"/>
                  </a:lnTo>
                  <a:lnTo>
                    <a:pt x="330" y="1114"/>
                  </a:lnTo>
                  <a:lnTo>
                    <a:pt x="306" y="1102"/>
                  </a:lnTo>
                  <a:lnTo>
                    <a:pt x="282" y="1088"/>
                  </a:lnTo>
                  <a:lnTo>
                    <a:pt x="258" y="1072"/>
                  </a:lnTo>
                  <a:lnTo>
                    <a:pt x="234" y="1056"/>
                  </a:lnTo>
                  <a:lnTo>
                    <a:pt x="212" y="1038"/>
                  </a:lnTo>
                  <a:lnTo>
                    <a:pt x="192" y="1020"/>
                  </a:lnTo>
                  <a:lnTo>
                    <a:pt x="170" y="1000"/>
                  </a:lnTo>
                  <a:lnTo>
                    <a:pt x="152" y="980"/>
                  </a:lnTo>
                  <a:lnTo>
                    <a:pt x="132" y="958"/>
                  </a:lnTo>
                  <a:lnTo>
                    <a:pt x="116" y="936"/>
                  </a:lnTo>
                  <a:lnTo>
                    <a:pt x="100" y="914"/>
                  </a:lnTo>
                  <a:lnTo>
                    <a:pt x="84" y="890"/>
                  </a:lnTo>
                  <a:lnTo>
                    <a:pt x="70" y="866"/>
                  </a:lnTo>
                  <a:lnTo>
                    <a:pt x="56" y="840"/>
                  </a:lnTo>
                  <a:lnTo>
                    <a:pt x="46" y="814"/>
                  </a:lnTo>
                  <a:lnTo>
                    <a:pt x="34" y="788"/>
                  </a:lnTo>
                  <a:lnTo>
                    <a:pt x="26" y="760"/>
                  </a:lnTo>
                  <a:lnTo>
                    <a:pt x="18" y="732"/>
                  </a:lnTo>
                  <a:lnTo>
                    <a:pt x="10" y="704"/>
                  </a:lnTo>
                  <a:lnTo>
                    <a:pt x="6" y="676"/>
                  </a:lnTo>
                  <a:lnTo>
                    <a:pt x="2" y="646"/>
                  </a:lnTo>
                  <a:lnTo>
                    <a:pt x="0" y="616"/>
                  </a:lnTo>
                  <a:lnTo>
                    <a:pt x="0" y="586"/>
                  </a:lnTo>
                  <a:lnTo>
                    <a:pt x="0" y="586"/>
                  </a:lnTo>
                  <a:lnTo>
                    <a:pt x="0" y="556"/>
                  </a:lnTo>
                  <a:lnTo>
                    <a:pt x="2" y="526"/>
                  </a:lnTo>
                  <a:lnTo>
                    <a:pt x="6" y="496"/>
                  </a:lnTo>
                  <a:lnTo>
                    <a:pt x="10" y="468"/>
                  </a:lnTo>
                  <a:lnTo>
                    <a:pt x="18" y="440"/>
                  </a:lnTo>
                  <a:lnTo>
                    <a:pt x="26" y="412"/>
                  </a:lnTo>
                  <a:lnTo>
                    <a:pt x="34" y="384"/>
                  </a:lnTo>
                  <a:lnTo>
                    <a:pt x="46" y="358"/>
                  </a:lnTo>
                  <a:lnTo>
                    <a:pt x="56" y="332"/>
                  </a:lnTo>
                  <a:lnTo>
                    <a:pt x="70" y="306"/>
                  </a:lnTo>
                  <a:lnTo>
                    <a:pt x="84" y="282"/>
                  </a:lnTo>
                  <a:lnTo>
                    <a:pt x="100" y="258"/>
                  </a:lnTo>
                  <a:lnTo>
                    <a:pt x="116" y="236"/>
                  </a:lnTo>
                  <a:lnTo>
                    <a:pt x="132" y="214"/>
                  </a:lnTo>
                  <a:lnTo>
                    <a:pt x="152" y="192"/>
                  </a:lnTo>
                  <a:lnTo>
                    <a:pt x="170" y="172"/>
                  </a:lnTo>
                  <a:lnTo>
                    <a:pt x="192" y="152"/>
                  </a:lnTo>
                  <a:lnTo>
                    <a:pt x="212" y="134"/>
                  </a:lnTo>
                  <a:lnTo>
                    <a:pt x="234" y="116"/>
                  </a:lnTo>
                  <a:lnTo>
                    <a:pt x="258" y="100"/>
                  </a:lnTo>
                  <a:lnTo>
                    <a:pt x="282" y="84"/>
                  </a:lnTo>
                  <a:lnTo>
                    <a:pt x="306" y="70"/>
                  </a:lnTo>
                  <a:lnTo>
                    <a:pt x="330" y="58"/>
                  </a:lnTo>
                  <a:lnTo>
                    <a:pt x="356" y="46"/>
                  </a:lnTo>
                  <a:lnTo>
                    <a:pt x="384" y="36"/>
                  </a:lnTo>
                  <a:lnTo>
                    <a:pt x="410" y="26"/>
                  </a:lnTo>
                  <a:lnTo>
                    <a:pt x="438" y="18"/>
                  </a:lnTo>
                  <a:lnTo>
                    <a:pt x="466" y="12"/>
                  </a:lnTo>
                  <a:lnTo>
                    <a:pt x="496" y="6"/>
                  </a:lnTo>
                  <a:lnTo>
                    <a:pt x="526" y="4"/>
                  </a:lnTo>
                  <a:lnTo>
                    <a:pt x="554" y="0"/>
                  </a:lnTo>
                  <a:lnTo>
                    <a:pt x="586" y="0"/>
                  </a:lnTo>
                  <a:lnTo>
                    <a:pt x="586" y="0"/>
                  </a:lnTo>
                  <a:lnTo>
                    <a:pt x="616" y="0"/>
                  </a:lnTo>
                  <a:lnTo>
                    <a:pt x="644" y="4"/>
                  </a:lnTo>
                  <a:lnTo>
                    <a:pt x="674" y="6"/>
                  </a:lnTo>
                  <a:lnTo>
                    <a:pt x="704" y="12"/>
                  </a:lnTo>
                  <a:lnTo>
                    <a:pt x="732" y="18"/>
                  </a:lnTo>
                  <a:lnTo>
                    <a:pt x="760" y="26"/>
                  </a:lnTo>
                  <a:lnTo>
                    <a:pt x="786" y="36"/>
                  </a:lnTo>
                  <a:lnTo>
                    <a:pt x="814" y="46"/>
                  </a:lnTo>
                  <a:lnTo>
                    <a:pt x="840" y="58"/>
                  </a:lnTo>
                  <a:lnTo>
                    <a:pt x="864" y="70"/>
                  </a:lnTo>
                  <a:lnTo>
                    <a:pt x="888" y="84"/>
                  </a:lnTo>
                  <a:lnTo>
                    <a:pt x="912" y="100"/>
                  </a:lnTo>
                  <a:lnTo>
                    <a:pt x="936" y="116"/>
                  </a:lnTo>
                  <a:lnTo>
                    <a:pt x="958" y="134"/>
                  </a:lnTo>
                  <a:lnTo>
                    <a:pt x="980" y="152"/>
                  </a:lnTo>
                  <a:lnTo>
                    <a:pt x="1000" y="172"/>
                  </a:lnTo>
                  <a:lnTo>
                    <a:pt x="1018" y="192"/>
                  </a:lnTo>
                  <a:lnTo>
                    <a:pt x="1038" y="214"/>
                  </a:lnTo>
                  <a:lnTo>
                    <a:pt x="1054" y="236"/>
                  </a:lnTo>
                  <a:lnTo>
                    <a:pt x="1070" y="258"/>
                  </a:lnTo>
                  <a:lnTo>
                    <a:pt x="1086" y="282"/>
                  </a:lnTo>
                  <a:lnTo>
                    <a:pt x="1100" y="306"/>
                  </a:lnTo>
                  <a:lnTo>
                    <a:pt x="1114" y="332"/>
                  </a:lnTo>
                  <a:lnTo>
                    <a:pt x="1124" y="358"/>
                  </a:lnTo>
                  <a:lnTo>
                    <a:pt x="1136" y="384"/>
                  </a:lnTo>
                  <a:lnTo>
                    <a:pt x="1144" y="412"/>
                  </a:lnTo>
                  <a:lnTo>
                    <a:pt x="1152" y="440"/>
                  </a:lnTo>
                  <a:lnTo>
                    <a:pt x="1160" y="468"/>
                  </a:lnTo>
                  <a:lnTo>
                    <a:pt x="1164" y="496"/>
                  </a:lnTo>
                  <a:lnTo>
                    <a:pt x="1168" y="526"/>
                  </a:lnTo>
                  <a:lnTo>
                    <a:pt x="1170" y="556"/>
                  </a:lnTo>
                  <a:lnTo>
                    <a:pt x="1170" y="586"/>
                  </a:lnTo>
                  <a:lnTo>
                    <a:pt x="1170" y="586"/>
                  </a:lnTo>
                  <a:close/>
                  <a:moveTo>
                    <a:pt x="1170" y="586"/>
                  </a:moveTo>
                  <a:lnTo>
                    <a:pt x="1170" y="586"/>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Freeform 72">
              <a:extLst>
                <a:ext uri="{FF2B5EF4-FFF2-40B4-BE49-F238E27FC236}">
                  <a16:creationId xmlns:a16="http://schemas.microsoft.com/office/drawing/2014/main" id="{06D52697-49B7-4AAB-81F6-1311F4A428F4}"/>
                </a:ext>
              </a:extLst>
            </p:cNvPr>
            <p:cNvSpPr>
              <a:spLocks/>
            </p:cNvSpPr>
            <p:nvPr/>
          </p:nvSpPr>
          <p:spPr bwMode="auto">
            <a:xfrm>
              <a:off x="-3860800" y="3324225"/>
              <a:ext cx="1857375" cy="1860550"/>
            </a:xfrm>
            <a:custGeom>
              <a:avLst/>
              <a:gdLst>
                <a:gd name="T0" fmla="*/ 1170 w 1170"/>
                <a:gd name="T1" fmla="*/ 616 h 1172"/>
                <a:gd name="T2" fmla="*/ 1160 w 1170"/>
                <a:gd name="T3" fmla="*/ 704 h 1172"/>
                <a:gd name="T4" fmla="*/ 1136 w 1170"/>
                <a:gd name="T5" fmla="*/ 788 h 1172"/>
                <a:gd name="T6" fmla="*/ 1100 w 1170"/>
                <a:gd name="T7" fmla="*/ 866 h 1172"/>
                <a:gd name="T8" fmla="*/ 1054 w 1170"/>
                <a:gd name="T9" fmla="*/ 936 h 1172"/>
                <a:gd name="T10" fmla="*/ 1000 w 1170"/>
                <a:gd name="T11" fmla="*/ 1000 h 1172"/>
                <a:gd name="T12" fmla="*/ 936 w 1170"/>
                <a:gd name="T13" fmla="*/ 1056 h 1172"/>
                <a:gd name="T14" fmla="*/ 864 w 1170"/>
                <a:gd name="T15" fmla="*/ 1102 h 1172"/>
                <a:gd name="T16" fmla="*/ 786 w 1170"/>
                <a:gd name="T17" fmla="*/ 1136 h 1172"/>
                <a:gd name="T18" fmla="*/ 704 w 1170"/>
                <a:gd name="T19" fmla="*/ 1160 h 1172"/>
                <a:gd name="T20" fmla="*/ 616 w 1170"/>
                <a:gd name="T21" fmla="*/ 1172 h 1172"/>
                <a:gd name="T22" fmla="*/ 554 w 1170"/>
                <a:gd name="T23" fmla="*/ 1172 h 1172"/>
                <a:gd name="T24" fmla="*/ 466 w 1170"/>
                <a:gd name="T25" fmla="*/ 1160 h 1172"/>
                <a:gd name="T26" fmla="*/ 384 w 1170"/>
                <a:gd name="T27" fmla="*/ 1136 h 1172"/>
                <a:gd name="T28" fmla="*/ 306 w 1170"/>
                <a:gd name="T29" fmla="*/ 1102 h 1172"/>
                <a:gd name="T30" fmla="*/ 234 w 1170"/>
                <a:gd name="T31" fmla="*/ 1056 h 1172"/>
                <a:gd name="T32" fmla="*/ 170 w 1170"/>
                <a:gd name="T33" fmla="*/ 1000 h 1172"/>
                <a:gd name="T34" fmla="*/ 116 w 1170"/>
                <a:gd name="T35" fmla="*/ 936 h 1172"/>
                <a:gd name="T36" fmla="*/ 70 w 1170"/>
                <a:gd name="T37" fmla="*/ 866 h 1172"/>
                <a:gd name="T38" fmla="*/ 34 w 1170"/>
                <a:gd name="T39" fmla="*/ 788 h 1172"/>
                <a:gd name="T40" fmla="*/ 10 w 1170"/>
                <a:gd name="T41" fmla="*/ 704 h 1172"/>
                <a:gd name="T42" fmla="*/ 0 w 1170"/>
                <a:gd name="T43" fmla="*/ 616 h 1172"/>
                <a:gd name="T44" fmla="*/ 0 w 1170"/>
                <a:gd name="T45" fmla="*/ 556 h 1172"/>
                <a:gd name="T46" fmla="*/ 10 w 1170"/>
                <a:gd name="T47" fmla="*/ 468 h 1172"/>
                <a:gd name="T48" fmla="*/ 34 w 1170"/>
                <a:gd name="T49" fmla="*/ 384 h 1172"/>
                <a:gd name="T50" fmla="*/ 70 w 1170"/>
                <a:gd name="T51" fmla="*/ 306 h 1172"/>
                <a:gd name="T52" fmla="*/ 116 w 1170"/>
                <a:gd name="T53" fmla="*/ 236 h 1172"/>
                <a:gd name="T54" fmla="*/ 170 w 1170"/>
                <a:gd name="T55" fmla="*/ 172 h 1172"/>
                <a:gd name="T56" fmla="*/ 234 w 1170"/>
                <a:gd name="T57" fmla="*/ 116 h 1172"/>
                <a:gd name="T58" fmla="*/ 306 w 1170"/>
                <a:gd name="T59" fmla="*/ 70 h 1172"/>
                <a:gd name="T60" fmla="*/ 384 w 1170"/>
                <a:gd name="T61" fmla="*/ 36 h 1172"/>
                <a:gd name="T62" fmla="*/ 466 w 1170"/>
                <a:gd name="T63" fmla="*/ 12 h 1172"/>
                <a:gd name="T64" fmla="*/ 554 w 1170"/>
                <a:gd name="T65" fmla="*/ 0 h 1172"/>
                <a:gd name="T66" fmla="*/ 616 w 1170"/>
                <a:gd name="T67" fmla="*/ 0 h 1172"/>
                <a:gd name="T68" fmla="*/ 704 w 1170"/>
                <a:gd name="T69" fmla="*/ 12 h 1172"/>
                <a:gd name="T70" fmla="*/ 786 w 1170"/>
                <a:gd name="T71" fmla="*/ 36 h 1172"/>
                <a:gd name="T72" fmla="*/ 864 w 1170"/>
                <a:gd name="T73" fmla="*/ 70 h 1172"/>
                <a:gd name="T74" fmla="*/ 936 w 1170"/>
                <a:gd name="T75" fmla="*/ 116 h 1172"/>
                <a:gd name="T76" fmla="*/ 1000 w 1170"/>
                <a:gd name="T77" fmla="*/ 172 h 1172"/>
                <a:gd name="T78" fmla="*/ 1054 w 1170"/>
                <a:gd name="T79" fmla="*/ 236 h 1172"/>
                <a:gd name="T80" fmla="*/ 1100 w 1170"/>
                <a:gd name="T81" fmla="*/ 306 h 1172"/>
                <a:gd name="T82" fmla="*/ 1136 w 1170"/>
                <a:gd name="T83" fmla="*/ 384 h 1172"/>
                <a:gd name="T84" fmla="*/ 1160 w 1170"/>
                <a:gd name="T85" fmla="*/ 468 h 1172"/>
                <a:gd name="T86" fmla="*/ 1170 w 1170"/>
                <a:gd name="T87" fmla="*/ 556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70" h="1172">
                  <a:moveTo>
                    <a:pt x="1170" y="586"/>
                  </a:moveTo>
                  <a:lnTo>
                    <a:pt x="1170" y="586"/>
                  </a:lnTo>
                  <a:lnTo>
                    <a:pt x="1170" y="616"/>
                  </a:lnTo>
                  <a:lnTo>
                    <a:pt x="1168" y="646"/>
                  </a:lnTo>
                  <a:lnTo>
                    <a:pt x="1164" y="676"/>
                  </a:lnTo>
                  <a:lnTo>
                    <a:pt x="1160" y="704"/>
                  </a:lnTo>
                  <a:lnTo>
                    <a:pt x="1152" y="732"/>
                  </a:lnTo>
                  <a:lnTo>
                    <a:pt x="1144" y="760"/>
                  </a:lnTo>
                  <a:lnTo>
                    <a:pt x="1136" y="788"/>
                  </a:lnTo>
                  <a:lnTo>
                    <a:pt x="1124" y="814"/>
                  </a:lnTo>
                  <a:lnTo>
                    <a:pt x="1114" y="840"/>
                  </a:lnTo>
                  <a:lnTo>
                    <a:pt x="1100" y="866"/>
                  </a:lnTo>
                  <a:lnTo>
                    <a:pt x="1086" y="890"/>
                  </a:lnTo>
                  <a:lnTo>
                    <a:pt x="1070" y="914"/>
                  </a:lnTo>
                  <a:lnTo>
                    <a:pt x="1054" y="936"/>
                  </a:lnTo>
                  <a:lnTo>
                    <a:pt x="1038" y="958"/>
                  </a:lnTo>
                  <a:lnTo>
                    <a:pt x="1018" y="980"/>
                  </a:lnTo>
                  <a:lnTo>
                    <a:pt x="1000" y="1000"/>
                  </a:lnTo>
                  <a:lnTo>
                    <a:pt x="980" y="1020"/>
                  </a:lnTo>
                  <a:lnTo>
                    <a:pt x="958" y="1038"/>
                  </a:lnTo>
                  <a:lnTo>
                    <a:pt x="936" y="1056"/>
                  </a:lnTo>
                  <a:lnTo>
                    <a:pt x="912" y="1072"/>
                  </a:lnTo>
                  <a:lnTo>
                    <a:pt x="888" y="1088"/>
                  </a:lnTo>
                  <a:lnTo>
                    <a:pt x="864" y="1102"/>
                  </a:lnTo>
                  <a:lnTo>
                    <a:pt x="840" y="1114"/>
                  </a:lnTo>
                  <a:lnTo>
                    <a:pt x="814" y="1126"/>
                  </a:lnTo>
                  <a:lnTo>
                    <a:pt x="786" y="1136"/>
                  </a:lnTo>
                  <a:lnTo>
                    <a:pt x="760" y="1146"/>
                  </a:lnTo>
                  <a:lnTo>
                    <a:pt x="732" y="1154"/>
                  </a:lnTo>
                  <a:lnTo>
                    <a:pt x="704" y="1160"/>
                  </a:lnTo>
                  <a:lnTo>
                    <a:pt x="674" y="1166"/>
                  </a:lnTo>
                  <a:lnTo>
                    <a:pt x="644" y="1170"/>
                  </a:lnTo>
                  <a:lnTo>
                    <a:pt x="616" y="1172"/>
                  </a:lnTo>
                  <a:lnTo>
                    <a:pt x="586" y="1172"/>
                  </a:lnTo>
                  <a:lnTo>
                    <a:pt x="586" y="1172"/>
                  </a:lnTo>
                  <a:lnTo>
                    <a:pt x="554" y="1172"/>
                  </a:lnTo>
                  <a:lnTo>
                    <a:pt x="526" y="1170"/>
                  </a:lnTo>
                  <a:lnTo>
                    <a:pt x="496" y="1166"/>
                  </a:lnTo>
                  <a:lnTo>
                    <a:pt x="466" y="1160"/>
                  </a:lnTo>
                  <a:lnTo>
                    <a:pt x="438" y="1154"/>
                  </a:lnTo>
                  <a:lnTo>
                    <a:pt x="410" y="1146"/>
                  </a:lnTo>
                  <a:lnTo>
                    <a:pt x="384" y="1136"/>
                  </a:lnTo>
                  <a:lnTo>
                    <a:pt x="356" y="1126"/>
                  </a:lnTo>
                  <a:lnTo>
                    <a:pt x="330" y="1114"/>
                  </a:lnTo>
                  <a:lnTo>
                    <a:pt x="306" y="1102"/>
                  </a:lnTo>
                  <a:lnTo>
                    <a:pt x="282" y="1088"/>
                  </a:lnTo>
                  <a:lnTo>
                    <a:pt x="258" y="1072"/>
                  </a:lnTo>
                  <a:lnTo>
                    <a:pt x="234" y="1056"/>
                  </a:lnTo>
                  <a:lnTo>
                    <a:pt x="212" y="1038"/>
                  </a:lnTo>
                  <a:lnTo>
                    <a:pt x="192" y="1020"/>
                  </a:lnTo>
                  <a:lnTo>
                    <a:pt x="170" y="1000"/>
                  </a:lnTo>
                  <a:lnTo>
                    <a:pt x="152" y="980"/>
                  </a:lnTo>
                  <a:lnTo>
                    <a:pt x="132" y="958"/>
                  </a:lnTo>
                  <a:lnTo>
                    <a:pt x="116" y="936"/>
                  </a:lnTo>
                  <a:lnTo>
                    <a:pt x="100" y="914"/>
                  </a:lnTo>
                  <a:lnTo>
                    <a:pt x="84" y="890"/>
                  </a:lnTo>
                  <a:lnTo>
                    <a:pt x="70" y="866"/>
                  </a:lnTo>
                  <a:lnTo>
                    <a:pt x="56" y="840"/>
                  </a:lnTo>
                  <a:lnTo>
                    <a:pt x="46" y="814"/>
                  </a:lnTo>
                  <a:lnTo>
                    <a:pt x="34" y="788"/>
                  </a:lnTo>
                  <a:lnTo>
                    <a:pt x="26" y="760"/>
                  </a:lnTo>
                  <a:lnTo>
                    <a:pt x="18" y="732"/>
                  </a:lnTo>
                  <a:lnTo>
                    <a:pt x="10" y="704"/>
                  </a:lnTo>
                  <a:lnTo>
                    <a:pt x="6" y="676"/>
                  </a:lnTo>
                  <a:lnTo>
                    <a:pt x="2" y="646"/>
                  </a:lnTo>
                  <a:lnTo>
                    <a:pt x="0" y="616"/>
                  </a:lnTo>
                  <a:lnTo>
                    <a:pt x="0" y="586"/>
                  </a:lnTo>
                  <a:lnTo>
                    <a:pt x="0" y="586"/>
                  </a:lnTo>
                  <a:lnTo>
                    <a:pt x="0" y="556"/>
                  </a:lnTo>
                  <a:lnTo>
                    <a:pt x="2" y="526"/>
                  </a:lnTo>
                  <a:lnTo>
                    <a:pt x="6" y="496"/>
                  </a:lnTo>
                  <a:lnTo>
                    <a:pt x="10" y="468"/>
                  </a:lnTo>
                  <a:lnTo>
                    <a:pt x="18" y="440"/>
                  </a:lnTo>
                  <a:lnTo>
                    <a:pt x="26" y="412"/>
                  </a:lnTo>
                  <a:lnTo>
                    <a:pt x="34" y="384"/>
                  </a:lnTo>
                  <a:lnTo>
                    <a:pt x="46" y="358"/>
                  </a:lnTo>
                  <a:lnTo>
                    <a:pt x="56" y="332"/>
                  </a:lnTo>
                  <a:lnTo>
                    <a:pt x="70" y="306"/>
                  </a:lnTo>
                  <a:lnTo>
                    <a:pt x="84" y="282"/>
                  </a:lnTo>
                  <a:lnTo>
                    <a:pt x="100" y="258"/>
                  </a:lnTo>
                  <a:lnTo>
                    <a:pt x="116" y="236"/>
                  </a:lnTo>
                  <a:lnTo>
                    <a:pt x="132" y="214"/>
                  </a:lnTo>
                  <a:lnTo>
                    <a:pt x="152" y="192"/>
                  </a:lnTo>
                  <a:lnTo>
                    <a:pt x="170" y="172"/>
                  </a:lnTo>
                  <a:lnTo>
                    <a:pt x="192" y="152"/>
                  </a:lnTo>
                  <a:lnTo>
                    <a:pt x="212" y="134"/>
                  </a:lnTo>
                  <a:lnTo>
                    <a:pt x="234" y="116"/>
                  </a:lnTo>
                  <a:lnTo>
                    <a:pt x="258" y="100"/>
                  </a:lnTo>
                  <a:lnTo>
                    <a:pt x="282" y="84"/>
                  </a:lnTo>
                  <a:lnTo>
                    <a:pt x="306" y="70"/>
                  </a:lnTo>
                  <a:lnTo>
                    <a:pt x="330" y="58"/>
                  </a:lnTo>
                  <a:lnTo>
                    <a:pt x="356" y="46"/>
                  </a:lnTo>
                  <a:lnTo>
                    <a:pt x="384" y="36"/>
                  </a:lnTo>
                  <a:lnTo>
                    <a:pt x="410" y="26"/>
                  </a:lnTo>
                  <a:lnTo>
                    <a:pt x="438" y="18"/>
                  </a:lnTo>
                  <a:lnTo>
                    <a:pt x="466" y="12"/>
                  </a:lnTo>
                  <a:lnTo>
                    <a:pt x="496" y="6"/>
                  </a:lnTo>
                  <a:lnTo>
                    <a:pt x="526" y="4"/>
                  </a:lnTo>
                  <a:lnTo>
                    <a:pt x="554" y="0"/>
                  </a:lnTo>
                  <a:lnTo>
                    <a:pt x="586" y="0"/>
                  </a:lnTo>
                  <a:lnTo>
                    <a:pt x="586" y="0"/>
                  </a:lnTo>
                  <a:lnTo>
                    <a:pt x="616" y="0"/>
                  </a:lnTo>
                  <a:lnTo>
                    <a:pt x="644" y="4"/>
                  </a:lnTo>
                  <a:lnTo>
                    <a:pt x="674" y="6"/>
                  </a:lnTo>
                  <a:lnTo>
                    <a:pt x="704" y="12"/>
                  </a:lnTo>
                  <a:lnTo>
                    <a:pt x="732" y="18"/>
                  </a:lnTo>
                  <a:lnTo>
                    <a:pt x="760" y="26"/>
                  </a:lnTo>
                  <a:lnTo>
                    <a:pt x="786" y="36"/>
                  </a:lnTo>
                  <a:lnTo>
                    <a:pt x="814" y="46"/>
                  </a:lnTo>
                  <a:lnTo>
                    <a:pt x="840" y="58"/>
                  </a:lnTo>
                  <a:lnTo>
                    <a:pt x="864" y="70"/>
                  </a:lnTo>
                  <a:lnTo>
                    <a:pt x="888" y="84"/>
                  </a:lnTo>
                  <a:lnTo>
                    <a:pt x="912" y="100"/>
                  </a:lnTo>
                  <a:lnTo>
                    <a:pt x="936" y="116"/>
                  </a:lnTo>
                  <a:lnTo>
                    <a:pt x="958" y="134"/>
                  </a:lnTo>
                  <a:lnTo>
                    <a:pt x="980" y="152"/>
                  </a:lnTo>
                  <a:lnTo>
                    <a:pt x="1000" y="172"/>
                  </a:lnTo>
                  <a:lnTo>
                    <a:pt x="1018" y="192"/>
                  </a:lnTo>
                  <a:lnTo>
                    <a:pt x="1038" y="214"/>
                  </a:lnTo>
                  <a:lnTo>
                    <a:pt x="1054" y="236"/>
                  </a:lnTo>
                  <a:lnTo>
                    <a:pt x="1070" y="258"/>
                  </a:lnTo>
                  <a:lnTo>
                    <a:pt x="1086" y="282"/>
                  </a:lnTo>
                  <a:lnTo>
                    <a:pt x="1100" y="306"/>
                  </a:lnTo>
                  <a:lnTo>
                    <a:pt x="1114" y="332"/>
                  </a:lnTo>
                  <a:lnTo>
                    <a:pt x="1124" y="358"/>
                  </a:lnTo>
                  <a:lnTo>
                    <a:pt x="1136" y="384"/>
                  </a:lnTo>
                  <a:lnTo>
                    <a:pt x="1144" y="412"/>
                  </a:lnTo>
                  <a:lnTo>
                    <a:pt x="1152" y="440"/>
                  </a:lnTo>
                  <a:lnTo>
                    <a:pt x="1160" y="468"/>
                  </a:lnTo>
                  <a:lnTo>
                    <a:pt x="1164" y="496"/>
                  </a:lnTo>
                  <a:lnTo>
                    <a:pt x="1168" y="526"/>
                  </a:lnTo>
                  <a:lnTo>
                    <a:pt x="1170" y="556"/>
                  </a:lnTo>
                  <a:lnTo>
                    <a:pt x="1170" y="586"/>
                  </a:lnTo>
                  <a:lnTo>
                    <a:pt x="1170" y="5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Line 73">
              <a:extLst>
                <a:ext uri="{FF2B5EF4-FFF2-40B4-BE49-F238E27FC236}">
                  <a16:creationId xmlns:a16="http://schemas.microsoft.com/office/drawing/2014/main" id="{7B992479-3050-4205-9C44-5F8160E93D33}"/>
                </a:ext>
              </a:extLst>
            </p:cNvPr>
            <p:cNvSpPr>
              <a:spLocks noChangeShapeType="1"/>
            </p:cNvSpPr>
            <p:nvPr/>
          </p:nvSpPr>
          <p:spPr bwMode="auto">
            <a:xfrm>
              <a:off x="-2003425" y="42545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74">
              <a:extLst>
                <a:ext uri="{FF2B5EF4-FFF2-40B4-BE49-F238E27FC236}">
                  <a16:creationId xmlns:a16="http://schemas.microsoft.com/office/drawing/2014/main" id="{B48EA155-24E9-4860-9125-627153865B76}"/>
                </a:ext>
              </a:extLst>
            </p:cNvPr>
            <p:cNvSpPr>
              <a:spLocks noEditPoints="1"/>
            </p:cNvSpPr>
            <p:nvPr/>
          </p:nvSpPr>
          <p:spPr bwMode="auto">
            <a:xfrm>
              <a:off x="-4003675" y="3181350"/>
              <a:ext cx="2143125" cy="2146300"/>
            </a:xfrm>
            <a:custGeom>
              <a:avLst/>
              <a:gdLst>
                <a:gd name="T0" fmla="*/ 606 w 1350"/>
                <a:gd name="T1" fmla="*/ 1348 h 1352"/>
                <a:gd name="T2" fmla="*/ 474 w 1350"/>
                <a:gd name="T3" fmla="*/ 1322 h 1352"/>
                <a:gd name="T4" fmla="*/ 354 w 1350"/>
                <a:gd name="T5" fmla="*/ 1270 h 1352"/>
                <a:gd name="T6" fmla="*/ 246 w 1350"/>
                <a:gd name="T7" fmla="*/ 1198 h 1352"/>
                <a:gd name="T8" fmla="*/ 154 w 1350"/>
                <a:gd name="T9" fmla="*/ 1106 h 1352"/>
                <a:gd name="T10" fmla="*/ 82 w 1350"/>
                <a:gd name="T11" fmla="*/ 998 h 1352"/>
                <a:gd name="T12" fmla="*/ 30 w 1350"/>
                <a:gd name="T13" fmla="*/ 876 h 1352"/>
                <a:gd name="T14" fmla="*/ 2 w 1350"/>
                <a:gd name="T15" fmla="*/ 746 h 1352"/>
                <a:gd name="T16" fmla="*/ 0 w 1350"/>
                <a:gd name="T17" fmla="*/ 642 h 1352"/>
                <a:gd name="T18" fmla="*/ 20 w 1350"/>
                <a:gd name="T19" fmla="*/ 508 h 1352"/>
                <a:gd name="T20" fmla="*/ 66 w 1350"/>
                <a:gd name="T21" fmla="*/ 384 h 1352"/>
                <a:gd name="T22" fmla="*/ 134 w 1350"/>
                <a:gd name="T23" fmla="*/ 272 h 1352"/>
                <a:gd name="T24" fmla="*/ 222 w 1350"/>
                <a:gd name="T25" fmla="*/ 176 h 1352"/>
                <a:gd name="T26" fmla="*/ 326 w 1350"/>
                <a:gd name="T27" fmla="*/ 98 h 1352"/>
                <a:gd name="T28" fmla="*/ 442 w 1350"/>
                <a:gd name="T29" fmla="*/ 42 h 1352"/>
                <a:gd name="T30" fmla="*/ 572 w 1350"/>
                <a:gd name="T31" fmla="*/ 8 h 1352"/>
                <a:gd name="T32" fmla="*/ 676 w 1350"/>
                <a:gd name="T33" fmla="*/ 0 h 1352"/>
                <a:gd name="T34" fmla="*/ 810 w 1350"/>
                <a:gd name="T35" fmla="*/ 14 h 1352"/>
                <a:gd name="T36" fmla="*/ 938 w 1350"/>
                <a:gd name="T37" fmla="*/ 54 h 1352"/>
                <a:gd name="T38" fmla="*/ 1052 w 1350"/>
                <a:gd name="T39" fmla="*/ 116 h 1352"/>
                <a:gd name="T40" fmla="*/ 1152 w 1350"/>
                <a:gd name="T41" fmla="*/ 198 h 1352"/>
                <a:gd name="T42" fmla="*/ 1236 w 1350"/>
                <a:gd name="T43" fmla="*/ 298 h 1352"/>
                <a:gd name="T44" fmla="*/ 1298 w 1350"/>
                <a:gd name="T45" fmla="*/ 414 h 1352"/>
                <a:gd name="T46" fmla="*/ 1336 w 1350"/>
                <a:gd name="T47" fmla="*/ 540 h 1352"/>
                <a:gd name="T48" fmla="*/ 1350 w 1350"/>
                <a:gd name="T49" fmla="*/ 676 h 1352"/>
                <a:gd name="T50" fmla="*/ 1342 w 1350"/>
                <a:gd name="T51" fmla="*/ 778 h 1352"/>
                <a:gd name="T52" fmla="*/ 1310 w 1350"/>
                <a:gd name="T53" fmla="*/ 908 h 1352"/>
                <a:gd name="T54" fmla="*/ 1252 w 1350"/>
                <a:gd name="T55" fmla="*/ 1026 h 1352"/>
                <a:gd name="T56" fmla="*/ 1174 w 1350"/>
                <a:gd name="T57" fmla="*/ 1130 h 1352"/>
                <a:gd name="T58" fmla="*/ 1078 w 1350"/>
                <a:gd name="T59" fmla="*/ 1218 h 1352"/>
                <a:gd name="T60" fmla="*/ 968 w 1350"/>
                <a:gd name="T61" fmla="*/ 1284 h 1352"/>
                <a:gd name="T62" fmla="*/ 844 w 1350"/>
                <a:gd name="T63" fmla="*/ 1330 h 1352"/>
                <a:gd name="T64" fmla="*/ 710 w 1350"/>
                <a:gd name="T65" fmla="*/ 1350 h 1352"/>
                <a:gd name="T66" fmla="*/ 676 w 1350"/>
                <a:gd name="T67" fmla="*/ 180 h 1352"/>
                <a:gd name="T68" fmla="*/ 576 w 1350"/>
                <a:gd name="T69" fmla="*/ 190 h 1352"/>
                <a:gd name="T70" fmla="*/ 482 w 1350"/>
                <a:gd name="T71" fmla="*/ 218 h 1352"/>
                <a:gd name="T72" fmla="*/ 324 w 1350"/>
                <a:gd name="T73" fmla="*/ 326 h 1352"/>
                <a:gd name="T74" fmla="*/ 218 w 1350"/>
                <a:gd name="T75" fmla="*/ 484 h 1352"/>
                <a:gd name="T76" fmla="*/ 188 w 1350"/>
                <a:gd name="T77" fmla="*/ 576 h 1352"/>
                <a:gd name="T78" fmla="*/ 178 w 1350"/>
                <a:gd name="T79" fmla="*/ 676 h 1352"/>
                <a:gd name="T80" fmla="*/ 184 w 1350"/>
                <a:gd name="T81" fmla="*/ 752 h 1352"/>
                <a:gd name="T82" fmla="*/ 208 w 1350"/>
                <a:gd name="T83" fmla="*/ 846 h 1352"/>
                <a:gd name="T84" fmla="*/ 292 w 1350"/>
                <a:gd name="T85" fmla="*/ 992 h 1352"/>
                <a:gd name="T86" fmla="*/ 438 w 1350"/>
                <a:gd name="T87" fmla="*/ 1112 h 1352"/>
                <a:gd name="T88" fmla="*/ 552 w 1350"/>
                <a:gd name="T89" fmla="*/ 1156 h 1352"/>
                <a:gd name="T90" fmla="*/ 650 w 1350"/>
                <a:gd name="T91" fmla="*/ 1172 h 1352"/>
                <a:gd name="T92" fmla="*/ 726 w 1350"/>
                <a:gd name="T93" fmla="*/ 1170 h 1352"/>
                <a:gd name="T94" fmla="*/ 822 w 1350"/>
                <a:gd name="T95" fmla="*/ 1150 h 1352"/>
                <a:gd name="T96" fmla="*/ 952 w 1350"/>
                <a:gd name="T97" fmla="*/ 1088 h 1352"/>
                <a:gd name="T98" fmla="*/ 1086 w 1350"/>
                <a:gd name="T99" fmla="*/ 954 h 1352"/>
                <a:gd name="T100" fmla="*/ 1150 w 1350"/>
                <a:gd name="T101" fmla="*/ 824 h 1352"/>
                <a:gd name="T102" fmla="*/ 1168 w 1350"/>
                <a:gd name="T103" fmla="*/ 726 h 1352"/>
                <a:gd name="T104" fmla="*/ 1170 w 1350"/>
                <a:gd name="T105" fmla="*/ 650 h 1352"/>
                <a:gd name="T106" fmla="*/ 1156 w 1350"/>
                <a:gd name="T107" fmla="*/ 552 h 1352"/>
                <a:gd name="T108" fmla="*/ 1112 w 1350"/>
                <a:gd name="T109" fmla="*/ 440 h 1352"/>
                <a:gd name="T110" fmla="*/ 990 w 1350"/>
                <a:gd name="T111" fmla="*/ 294 h 1352"/>
                <a:gd name="T112" fmla="*/ 846 w 1350"/>
                <a:gd name="T113" fmla="*/ 210 h 1352"/>
                <a:gd name="T114" fmla="*/ 750 w 1350"/>
                <a:gd name="T115" fmla="*/ 186 h 1352"/>
                <a:gd name="T116" fmla="*/ 676 w 1350"/>
                <a:gd name="T117" fmla="*/ 180 h 1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50" h="1352">
                  <a:moveTo>
                    <a:pt x="676" y="1352"/>
                  </a:moveTo>
                  <a:lnTo>
                    <a:pt x="676" y="1352"/>
                  </a:lnTo>
                  <a:lnTo>
                    <a:pt x="640" y="1350"/>
                  </a:lnTo>
                  <a:lnTo>
                    <a:pt x="606" y="1348"/>
                  </a:lnTo>
                  <a:lnTo>
                    <a:pt x="572" y="1344"/>
                  </a:lnTo>
                  <a:lnTo>
                    <a:pt x="540" y="1338"/>
                  </a:lnTo>
                  <a:lnTo>
                    <a:pt x="506" y="1330"/>
                  </a:lnTo>
                  <a:lnTo>
                    <a:pt x="474" y="1322"/>
                  </a:lnTo>
                  <a:lnTo>
                    <a:pt x="442" y="1310"/>
                  </a:lnTo>
                  <a:lnTo>
                    <a:pt x="412" y="1298"/>
                  </a:lnTo>
                  <a:lnTo>
                    <a:pt x="382" y="1284"/>
                  </a:lnTo>
                  <a:lnTo>
                    <a:pt x="354" y="1270"/>
                  </a:lnTo>
                  <a:lnTo>
                    <a:pt x="326" y="1254"/>
                  </a:lnTo>
                  <a:lnTo>
                    <a:pt x="298" y="1236"/>
                  </a:lnTo>
                  <a:lnTo>
                    <a:pt x="272" y="1218"/>
                  </a:lnTo>
                  <a:lnTo>
                    <a:pt x="246" y="1198"/>
                  </a:lnTo>
                  <a:lnTo>
                    <a:pt x="222" y="1176"/>
                  </a:lnTo>
                  <a:lnTo>
                    <a:pt x="198" y="1154"/>
                  </a:lnTo>
                  <a:lnTo>
                    <a:pt x="176" y="1130"/>
                  </a:lnTo>
                  <a:lnTo>
                    <a:pt x="154" y="1106"/>
                  </a:lnTo>
                  <a:lnTo>
                    <a:pt x="134" y="1080"/>
                  </a:lnTo>
                  <a:lnTo>
                    <a:pt x="116" y="1054"/>
                  </a:lnTo>
                  <a:lnTo>
                    <a:pt x="98" y="1026"/>
                  </a:lnTo>
                  <a:lnTo>
                    <a:pt x="82" y="998"/>
                  </a:lnTo>
                  <a:lnTo>
                    <a:pt x="66" y="968"/>
                  </a:lnTo>
                  <a:lnTo>
                    <a:pt x="52" y="938"/>
                  </a:lnTo>
                  <a:lnTo>
                    <a:pt x="40" y="908"/>
                  </a:lnTo>
                  <a:lnTo>
                    <a:pt x="30" y="876"/>
                  </a:lnTo>
                  <a:lnTo>
                    <a:pt x="20" y="844"/>
                  </a:lnTo>
                  <a:lnTo>
                    <a:pt x="14" y="812"/>
                  </a:lnTo>
                  <a:lnTo>
                    <a:pt x="8" y="778"/>
                  </a:lnTo>
                  <a:lnTo>
                    <a:pt x="2" y="746"/>
                  </a:lnTo>
                  <a:lnTo>
                    <a:pt x="0" y="710"/>
                  </a:lnTo>
                  <a:lnTo>
                    <a:pt x="0" y="676"/>
                  </a:lnTo>
                  <a:lnTo>
                    <a:pt x="0" y="676"/>
                  </a:lnTo>
                  <a:lnTo>
                    <a:pt x="0" y="642"/>
                  </a:lnTo>
                  <a:lnTo>
                    <a:pt x="2" y="608"/>
                  </a:lnTo>
                  <a:lnTo>
                    <a:pt x="8" y="574"/>
                  </a:lnTo>
                  <a:lnTo>
                    <a:pt x="14" y="540"/>
                  </a:lnTo>
                  <a:lnTo>
                    <a:pt x="20" y="508"/>
                  </a:lnTo>
                  <a:lnTo>
                    <a:pt x="30" y="476"/>
                  </a:lnTo>
                  <a:lnTo>
                    <a:pt x="40" y="444"/>
                  </a:lnTo>
                  <a:lnTo>
                    <a:pt x="52" y="414"/>
                  </a:lnTo>
                  <a:lnTo>
                    <a:pt x="66" y="384"/>
                  </a:lnTo>
                  <a:lnTo>
                    <a:pt x="82" y="354"/>
                  </a:lnTo>
                  <a:lnTo>
                    <a:pt x="98" y="326"/>
                  </a:lnTo>
                  <a:lnTo>
                    <a:pt x="116" y="298"/>
                  </a:lnTo>
                  <a:lnTo>
                    <a:pt x="134" y="272"/>
                  </a:lnTo>
                  <a:lnTo>
                    <a:pt x="154" y="246"/>
                  </a:lnTo>
                  <a:lnTo>
                    <a:pt x="176" y="222"/>
                  </a:lnTo>
                  <a:lnTo>
                    <a:pt x="198" y="198"/>
                  </a:lnTo>
                  <a:lnTo>
                    <a:pt x="222" y="176"/>
                  </a:lnTo>
                  <a:lnTo>
                    <a:pt x="246" y="154"/>
                  </a:lnTo>
                  <a:lnTo>
                    <a:pt x="272" y="134"/>
                  </a:lnTo>
                  <a:lnTo>
                    <a:pt x="298" y="116"/>
                  </a:lnTo>
                  <a:lnTo>
                    <a:pt x="326" y="98"/>
                  </a:lnTo>
                  <a:lnTo>
                    <a:pt x="354" y="82"/>
                  </a:lnTo>
                  <a:lnTo>
                    <a:pt x="382" y="68"/>
                  </a:lnTo>
                  <a:lnTo>
                    <a:pt x="412" y="54"/>
                  </a:lnTo>
                  <a:lnTo>
                    <a:pt x="442" y="42"/>
                  </a:lnTo>
                  <a:lnTo>
                    <a:pt x="474" y="30"/>
                  </a:lnTo>
                  <a:lnTo>
                    <a:pt x="506" y="22"/>
                  </a:lnTo>
                  <a:lnTo>
                    <a:pt x="540" y="14"/>
                  </a:lnTo>
                  <a:lnTo>
                    <a:pt x="572" y="8"/>
                  </a:lnTo>
                  <a:lnTo>
                    <a:pt x="606" y="4"/>
                  </a:lnTo>
                  <a:lnTo>
                    <a:pt x="640" y="2"/>
                  </a:lnTo>
                  <a:lnTo>
                    <a:pt x="676" y="0"/>
                  </a:lnTo>
                  <a:lnTo>
                    <a:pt x="676" y="0"/>
                  </a:lnTo>
                  <a:lnTo>
                    <a:pt x="710" y="2"/>
                  </a:lnTo>
                  <a:lnTo>
                    <a:pt x="744" y="4"/>
                  </a:lnTo>
                  <a:lnTo>
                    <a:pt x="778" y="8"/>
                  </a:lnTo>
                  <a:lnTo>
                    <a:pt x="810" y="14"/>
                  </a:lnTo>
                  <a:lnTo>
                    <a:pt x="844" y="22"/>
                  </a:lnTo>
                  <a:lnTo>
                    <a:pt x="876" y="30"/>
                  </a:lnTo>
                  <a:lnTo>
                    <a:pt x="908" y="42"/>
                  </a:lnTo>
                  <a:lnTo>
                    <a:pt x="938" y="54"/>
                  </a:lnTo>
                  <a:lnTo>
                    <a:pt x="968" y="68"/>
                  </a:lnTo>
                  <a:lnTo>
                    <a:pt x="996" y="82"/>
                  </a:lnTo>
                  <a:lnTo>
                    <a:pt x="1026" y="98"/>
                  </a:lnTo>
                  <a:lnTo>
                    <a:pt x="1052" y="116"/>
                  </a:lnTo>
                  <a:lnTo>
                    <a:pt x="1078" y="134"/>
                  </a:lnTo>
                  <a:lnTo>
                    <a:pt x="1104" y="154"/>
                  </a:lnTo>
                  <a:lnTo>
                    <a:pt x="1128" y="176"/>
                  </a:lnTo>
                  <a:lnTo>
                    <a:pt x="1152" y="198"/>
                  </a:lnTo>
                  <a:lnTo>
                    <a:pt x="1174" y="222"/>
                  </a:lnTo>
                  <a:lnTo>
                    <a:pt x="1196" y="246"/>
                  </a:lnTo>
                  <a:lnTo>
                    <a:pt x="1216" y="272"/>
                  </a:lnTo>
                  <a:lnTo>
                    <a:pt x="1236" y="298"/>
                  </a:lnTo>
                  <a:lnTo>
                    <a:pt x="1252" y="326"/>
                  </a:lnTo>
                  <a:lnTo>
                    <a:pt x="1268" y="354"/>
                  </a:lnTo>
                  <a:lnTo>
                    <a:pt x="1284" y="384"/>
                  </a:lnTo>
                  <a:lnTo>
                    <a:pt x="1298" y="414"/>
                  </a:lnTo>
                  <a:lnTo>
                    <a:pt x="1310" y="444"/>
                  </a:lnTo>
                  <a:lnTo>
                    <a:pt x="1320" y="476"/>
                  </a:lnTo>
                  <a:lnTo>
                    <a:pt x="1330" y="508"/>
                  </a:lnTo>
                  <a:lnTo>
                    <a:pt x="1336" y="540"/>
                  </a:lnTo>
                  <a:lnTo>
                    <a:pt x="1342" y="574"/>
                  </a:lnTo>
                  <a:lnTo>
                    <a:pt x="1348" y="608"/>
                  </a:lnTo>
                  <a:lnTo>
                    <a:pt x="1350" y="642"/>
                  </a:lnTo>
                  <a:lnTo>
                    <a:pt x="1350" y="676"/>
                  </a:lnTo>
                  <a:lnTo>
                    <a:pt x="1350" y="676"/>
                  </a:lnTo>
                  <a:lnTo>
                    <a:pt x="1350" y="710"/>
                  </a:lnTo>
                  <a:lnTo>
                    <a:pt x="1348" y="746"/>
                  </a:lnTo>
                  <a:lnTo>
                    <a:pt x="1342" y="778"/>
                  </a:lnTo>
                  <a:lnTo>
                    <a:pt x="1336" y="812"/>
                  </a:lnTo>
                  <a:lnTo>
                    <a:pt x="1330" y="844"/>
                  </a:lnTo>
                  <a:lnTo>
                    <a:pt x="1320" y="876"/>
                  </a:lnTo>
                  <a:lnTo>
                    <a:pt x="1310" y="908"/>
                  </a:lnTo>
                  <a:lnTo>
                    <a:pt x="1298" y="938"/>
                  </a:lnTo>
                  <a:lnTo>
                    <a:pt x="1284" y="968"/>
                  </a:lnTo>
                  <a:lnTo>
                    <a:pt x="1268" y="998"/>
                  </a:lnTo>
                  <a:lnTo>
                    <a:pt x="1252" y="1026"/>
                  </a:lnTo>
                  <a:lnTo>
                    <a:pt x="1236" y="1054"/>
                  </a:lnTo>
                  <a:lnTo>
                    <a:pt x="1216" y="1080"/>
                  </a:lnTo>
                  <a:lnTo>
                    <a:pt x="1196" y="1106"/>
                  </a:lnTo>
                  <a:lnTo>
                    <a:pt x="1174" y="1130"/>
                  </a:lnTo>
                  <a:lnTo>
                    <a:pt x="1152" y="1154"/>
                  </a:lnTo>
                  <a:lnTo>
                    <a:pt x="1128" y="1176"/>
                  </a:lnTo>
                  <a:lnTo>
                    <a:pt x="1104" y="1198"/>
                  </a:lnTo>
                  <a:lnTo>
                    <a:pt x="1078" y="1218"/>
                  </a:lnTo>
                  <a:lnTo>
                    <a:pt x="1052" y="1236"/>
                  </a:lnTo>
                  <a:lnTo>
                    <a:pt x="1026" y="1254"/>
                  </a:lnTo>
                  <a:lnTo>
                    <a:pt x="996" y="1270"/>
                  </a:lnTo>
                  <a:lnTo>
                    <a:pt x="968" y="1284"/>
                  </a:lnTo>
                  <a:lnTo>
                    <a:pt x="938" y="1298"/>
                  </a:lnTo>
                  <a:lnTo>
                    <a:pt x="908" y="1310"/>
                  </a:lnTo>
                  <a:lnTo>
                    <a:pt x="876" y="1322"/>
                  </a:lnTo>
                  <a:lnTo>
                    <a:pt x="844" y="1330"/>
                  </a:lnTo>
                  <a:lnTo>
                    <a:pt x="810" y="1338"/>
                  </a:lnTo>
                  <a:lnTo>
                    <a:pt x="778" y="1344"/>
                  </a:lnTo>
                  <a:lnTo>
                    <a:pt x="744" y="1348"/>
                  </a:lnTo>
                  <a:lnTo>
                    <a:pt x="710" y="1350"/>
                  </a:lnTo>
                  <a:lnTo>
                    <a:pt x="676" y="1352"/>
                  </a:lnTo>
                  <a:lnTo>
                    <a:pt x="676" y="1352"/>
                  </a:lnTo>
                  <a:close/>
                  <a:moveTo>
                    <a:pt x="676" y="180"/>
                  </a:moveTo>
                  <a:lnTo>
                    <a:pt x="676" y="180"/>
                  </a:lnTo>
                  <a:lnTo>
                    <a:pt x="650" y="180"/>
                  </a:lnTo>
                  <a:lnTo>
                    <a:pt x="624" y="182"/>
                  </a:lnTo>
                  <a:lnTo>
                    <a:pt x="600" y="186"/>
                  </a:lnTo>
                  <a:lnTo>
                    <a:pt x="576" y="190"/>
                  </a:lnTo>
                  <a:lnTo>
                    <a:pt x="552" y="196"/>
                  </a:lnTo>
                  <a:lnTo>
                    <a:pt x="528" y="202"/>
                  </a:lnTo>
                  <a:lnTo>
                    <a:pt x="504" y="210"/>
                  </a:lnTo>
                  <a:lnTo>
                    <a:pt x="482" y="218"/>
                  </a:lnTo>
                  <a:lnTo>
                    <a:pt x="438" y="240"/>
                  </a:lnTo>
                  <a:lnTo>
                    <a:pt x="398" y="264"/>
                  </a:lnTo>
                  <a:lnTo>
                    <a:pt x="360" y="294"/>
                  </a:lnTo>
                  <a:lnTo>
                    <a:pt x="324" y="326"/>
                  </a:lnTo>
                  <a:lnTo>
                    <a:pt x="292" y="360"/>
                  </a:lnTo>
                  <a:lnTo>
                    <a:pt x="264" y="398"/>
                  </a:lnTo>
                  <a:lnTo>
                    <a:pt x="238" y="440"/>
                  </a:lnTo>
                  <a:lnTo>
                    <a:pt x="218" y="484"/>
                  </a:lnTo>
                  <a:lnTo>
                    <a:pt x="208" y="506"/>
                  </a:lnTo>
                  <a:lnTo>
                    <a:pt x="200" y="528"/>
                  </a:lnTo>
                  <a:lnTo>
                    <a:pt x="194" y="552"/>
                  </a:lnTo>
                  <a:lnTo>
                    <a:pt x="188" y="576"/>
                  </a:lnTo>
                  <a:lnTo>
                    <a:pt x="184" y="600"/>
                  </a:lnTo>
                  <a:lnTo>
                    <a:pt x="182" y="626"/>
                  </a:lnTo>
                  <a:lnTo>
                    <a:pt x="180" y="650"/>
                  </a:lnTo>
                  <a:lnTo>
                    <a:pt x="178" y="676"/>
                  </a:lnTo>
                  <a:lnTo>
                    <a:pt x="178" y="676"/>
                  </a:lnTo>
                  <a:lnTo>
                    <a:pt x="180" y="702"/>
                  </a:lnTo>
                  <a:lnTo>
                    <a:pt x="182" y="726"/>
                  </a:lnTo>
                  <a:lnTo>
                    <a:pt x="184" y="752"/>
                  </a:lnTo>
                  <a:lnTo>
                    <a:pt x="188" y="776"/>
                  </a:lnTo>
                  <a:lnTo>
                    <a:pt x="194" y="800"/>
                  </a:lnTo>
                  <a:lnTo>
                    <a:pt x="200" y="824"/>
                  </a:lnTo>
                  <a:lnTo>
                    <a:pt x="208" y="846"/>
                  </a:lnTo>
                  <a:lnTo>
                    <a:pt x="218" y="870"/>
                  </a:lnTo>
                  <a:lnTo>
                    <a:pt x="238" y="912"/>
                  </a:lnTo>
                  <a:lnTo>
                    <a:pt x="264" y="954"/>
                  </a:lnTo>
                  <a:lnTo>
                    <a:pt x="292" y="992"/>
                  </a:lnTo>
                  <a:lnTo>
                    <a:pt x="324" y="1026"/>
                  </a:lnTo>
                  <a:lnTo>
                    <a:pt x="360" y="1058"/>
                  </a:lnTo>
                  <a:lnTo>
                    <a:pt x="398" y="1088"/>
                  </a:lnTo>
                  <a:lnTo>
                    <a:pt x="438" y="1112"/>
                  </a:lnTo>
                  <a:lnTo>
                    <a:pt x="482" y="1134"/>
                  </a:lnTo>
                  <a:lnTo>
                    <a:pt x="504" y="1142"/>
                  </a:lnTo>
                  <a:lnTo>
                    <a:pt x="528" y="1150"/>
                  </a:lnTo>
                  <a:lnTo>
                    <a:pt x="552" y="1156"/>
                  </a:lnTo>
                  <a:lnTo>
                    <a:pt x="576" y="1162"/>
                  </a:lnTo>
                  <a:lnTo>
                    <a:pt x="600" y="1166"/>
                  </a:lnTo>
                  <a:lnTo>
                    <a:pt x="624" y="1170"/>
                  </a:lnTo>
                  <a:lnTo>
                    <a:pt x="650" y="1172"/>
                  </a:lnTo>
                  <a:lnTo>
                    <a:pt x="676" y="1172"/>
                  </a:lnTo>
                  <a:lnTo>
                    <a:pt x="676" y="1172"/>
                  </a:lnTo>
                  <a:lnTo>
                    <a:pt x="700" y="1172"/>
                  </a:lnTo>
                  <a:lnTo>
                    <a:pt x="726" y="1170"/>
                  </a:lnTo>
                  <a:lnTo>
                    <a:pt x="750" y="1166"/>
                  </a:lnTo>
                  <a:lnTo>
                    <a:pt x="774" y="1162"/>
                  </a:lnTo>
                  <a:lnTo>
                    <a:pt x="798" y="1156"/>
                  </a:lnTo>
                  <a:lnTo>
                    <a:pt x="822" y="1150"/>
                  </a:lnTo>
                  <a:lnTo>
                    <a:pt x="846" y="1142"/>
                  </a:lnTo>
                  <a:lnTo>
                    <a:pt x="868" y="1134"/>
                  </a:lnTo>
                  <a:lnTo>
                    <a:pt x="912" y="1112"/>
                  </a:lnTo>
                  <a:lnTo>
                    <a:pt x="952" y="1088"/>
                  </a:lnTo>
                  <a:lnTo>
                    <a:pt x="990" y="1058"/>
                  </a:lnTo>
                  <a:lnTo>
                    <a:pt x="1026" y="1026"/>
                  </a:lnTo>
                  <a:lnTo>
                    <a:pt x="1058" y="992"/>
                  </a:lnTo>
                  <a:lnTo>
                    <a:pt x="1086" y="954"/>
                  </a:lnTo>
                  <a:lnTo>
                    <a:pt x="1112" y="912"/>
                  </a:lnTo>
                  <a:lnTo>
                    <a:pt x="1132" y="870"/>
                  </a:lnTo>
                  <a:lnTo>
                    <a:pt x="1142" y="846"/>
                  </a:lnTo>
                  <a:lnTo>
                    <a:pt x="1150" y="824"/>
                  </a:lnTo>
                  <a:lnTo>
                    <a:pt x="1156" y="800"/>
                  </a:lnTo>
                  <a:lnTo>
                    <a:pt x="1162" y="776"/>
                  </a:lnTo>
                  <a:lnTo>
                    <a:pt x="1166" y="752"/>
                  </a:lnTo>
                  <a:lnTo>
                    <a:pt x="1168" y="726"/>
                  </a:lnTo>
                  <a:lnTo>
                    <a:pt x="1170" y="702"/>
                  </a:lnTo>
                  <a:lnTo>
                    <a:pt x="1172" y="676"/>
                  </a:lnTo>
                  <a:lnTo>
                    <a:pt x="1172" y="676"/>
                  </a:lnTo>
                  <a:lnTo>
                    <a:pt x="1170" y="650"/>
                  </a:lnTo>
                  <a:lnTo>
                    <a:pt x="1168" y="626"/>
                  </a:lnTo>
                  <a:lnTo>
                    <a:pt x="1166" y="600"/>
                  </a:lnTo>
                  <a:lnTo>
                    <a:pt x="1162" y="576"/>
                  </a:lnTo>
                  <a:lnTo>
                    <a:pt x="1156" y="552"/>
                  </a:lnTo>
                  <a:lnTo>
                    <a:pt x="1150" y="528"/>
                  </a:lnTo>
                  <a:lnTo>
                    <a:pt x="1142" y="506"/>
                  </a:lnTo>
                  <a:lnTo>
                    <a:pt x="1132" y="484"/>
                  </a:lnTo>
                  <a:lnTo>
                    <a:pt x="1112" y="440"/>
                  </a:lnTo>
                  <a:lnTo>
                    <a:pt x="1086" y="398"/>
                  </a:lnTo>
                  <a:lnTo>
                    <a:pt x="1058" y="360"/>
                  </a:lnTo>
                  <a:lnTo>
                    <a:pt x="1026" y="326"/>
                  </a:lnTo>
                  <a:lnTo>
                    <a:pt x="990" y="294"/>
                  </a:lnTo>
                  <a:lnTo>
                    <a:pt x="952" y="264"/>
                  </a:lnTo>
                  <a:lnTo>
                    <a:pt x="912" y="240"/>
                  </a:lnTo>
                  <a:lnTo>
                    <a:pt x="868" y="218"/>
                  </a:lnTo>
                  <a:lnTo>
                    <a:pt x="846" y="210"/>
                  </a:lnTo>
                  <a:lnTo>
                    <a:pt x="822" y="202"/>
                  </a:lnTo>
                  <a:lnTo>
                    <a:pt x="798" y="196"/>
                  </a:lnTo>
                  <a:lnTo>
                    <a:pt x="774" y="190"/>
                  </a:lnTo>
                  <a:lnTo>
                    <a:pt x="750" y="186"/>
                  </a:lnTo>
                  <a:lnTo>
                    <a:pt x="726" y="182"/>
                  </a:lnTo>
                  <a:lnTo>
                    <a:pt x="700" y="180"/>
                  </a:lnTo>
                  <a:lnTo>
                    <a:pt x="676" y="180"/>
                  </a:lnTo>
                  <a:lnTo>
                    <a:pt x="676" y="180"/>
                  </a:lnTo>
                  <a:close/>
                  <a:moveTo>
                    <a:pt x="676" y="180"/>
                  </a:moveTo>
                  <a:lnTo>
                    <a:pt x="676" y="18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1" name="Freeform 75">
              <a:extLst>
                <a:ext uri="{FF2B5EF4-FFF2-40B4-BE49-F238E27FC236}">
                  <a16:creationId xmlns:a16="http://schemas.microsoft.com/office/drawing/2014/main" id="{E21BF5DE-2EF6-4293-A8C1-B62E8D1A2A3A}"/>
                </a:ext>
              </a:extLst>
            </p:cNvPr>
            <p:cNvSpPr>
              <a:spLocks/>
            </p:cNvSpPr>
            <p:nvPr/>
          </p:nvSpPr>
          <p:spPr bwMode="auto">
            <a:xfrm>
              <a:off x="-4003675" y="3181350"/>
              <a:ext cx="2143125" cy="2146300"/>
            </a:xfrm>
            <a:custGeom>
              <a:avLst/>
              <a:gdLst>
                <a:gd name="T0" fmla="*/ 640 w 1350"/>
                <a:gd name="T1" fmla="*/ 1350 h 1352"/>
                <a:gd name="T2" fmla="*/ 540 w 1350"/>
                <a:gd name="T3" fmla="*/ 1338 h 1352"/>
                <a:gd name="T4" fmla="*/ 442 w 1350"/>
                <a:gd name="T5" fmla="*/ 1310 h 1352"/>
                <a:gd name="T6" fmla="*/ 354 w 1350"/>
                <a:gd name="T7" fmla="*/ 1270 h 1352"/>
                <a:gd name="T8" fmla="*/ 272 w 1350"/>
                <a:gd name="T9" fmla="*/ 1218 h 1352"/>
                <a:gd name="T10" fmla="*/ 198 w 1350"/>
                <a:gd name="T11" fmla="*/ 1154 h 1352"/>
                <a:gd name="T12" fmla="*/ 134 w 1350"/>
                <a:gd name="T13" fmla="*/ 1080 h 1352"/>
                <a:gd name="T14" fmla="*/ 82 w 1350"/>
                <a:gd name="T15" fmla="*/ 998 h 1352"/>
                <a:gd name="T16" fmla="*/ 40 w 1350"/>
                <a:gd name="T17" fmla="*/ 908 h 1352"/>
                <a:gd name="T18" fmla="*/ 14 w 1350"/>
                <a:gd name="T19" fmla="*/ 812 h 1352"/>
                <a:gd name="T20" fmla="*/ 0 w 1350"/>
                <a:gd name="T21" fmla="*/ 710 h 1352"/>
                <a:gd name="T22" fmla="*/ 0 w 1350"/>
                <a:gd name="T23" fmla="*/ 642 h 1352"/>
                <a:gd name="T24" fmla="*/ 14 w 1350"/>
                <a:gd name="T25" fmla="*/ 540 h 1352"/>
                <a:gd name="T26" fmla="*/ 40 w 1350"/>
                <a:gd name="T27" fmla="*/ 444 h 1352"/>
                <a:gd name="T28" fmla="*/ 82 w 1350"/>
                <a:gd name="T29" fmla="*/ 354 h 1352"/>
                <a:gd name="T30" fmla="*/ 134 w 1350"/>
                <a:gd name="T31" fmla="*/ 272 h 1352"/>
                <a:gd name="T32" fmla="*/ 198 w 1350"/>
                <a:gd name="T33" fmla="*/ 198 h 1352"/>
                <a:gd name="T34" fmla="*/ 272 w 1350"/>
                <a:gd name="T35" fmla="*/ 134 h 1352"/>
                <a:gd name="T36" fmla="*/ 354 w 1350"/>
                <a:gd name="T37" fmla="*/ 82 h 1352"/>
                <a:gd name="T38" fmla="*/ 442 w 1350"/>
                <a:gd name="T39" fmla="*/ 42 h 1352"/>
                <a:gd name="T40" fmla="*/ 540 w 1350"/>
                <a:gd name="T41" fmla="*/ 14 h 1352"/>
                <a:gd name="T42" fmla="*/ 640 w 1350"/>
                <a:gd name="T43" fmla="*/ 2 h 1352"/>
                <a:gd name="T44" fmla="*/ 710 w 1350"/>
                <a:gd name="T45" fmla="*/ 2 h 1352"/>
                <a:gd name="T46" fmla="*/ 810 w 1350"/>
                <a:gd name="T47" fmla="*/ 14 h 1352"/>
                <a:gd name="T48" fmla="*/ 908 w 1350"/>
                <a:gd name="T49" fmla="*/ 42 h 1352"/>
                <a:gd name="T50" fmla="*/ 996 w 1350"/>
                <a:gd name="T51" fmla="*/ 82 h 1352"/>
                <a:gd name="T52" fmla="*/ 1078 w 1350"/>
                <a:gd name="T53" fmla="*/ 134 h 1352"/>
                <a:gd name="T54" fmla="*/ 1152 w 1350"/>
                <a:gd name="T55" fmla="*/ 198 h 1352"/>
                <a:gd name="T56" fmla="*/ 1216 w 1350"/>
                <a:gd name="T57" fmla="*/ 272 h 1352"/>
                <a:gd name="T58" fmla="*/ 1268 w 1350"/>
                <a:gd name="T59" fmla="*/ 354 h 1352"/>
                <a:gd name="T60" fmla="*/ 1310 w 1350"/>
                <a:gd name="T61" fmla="*/ 444 h 1352"/>
                <a:gd name="T62" fmla="*/ 1336 w 1350"/>
                <a:gd name="T63" fmla="*/ 540 h 1352"/>
                <a:gd name="T64" fmla="*/ 1350 w 1350"/>
                <a:gd name="T65" fmla="*/ 642 h 1352"/>
                <a:gd name="T66" fmla="*/ 1350 w 1350"/>
                <a:gd name="T67" fmla="*/ 710 h 1352"/>
                <a:gd name="T68" fmla="*/ 1336 w 1350"/>
                <a:gd name="T69" fmla="*/ 812 h 1352"/>
                <a:gd name="T70" fmla="*/ 1310 w 1350"/>
                <a:gd name="T71" fmla="*/ 908 h 1352"/>
                <a:gd name="T72" fmla="*/ 1268 w 1350"/>
                <a:gd name="T73" fmla="*/ 998 h 1352"/>
                <a:gd name="T74" fmla="*/ 1216 w 1350"/>
                <a:gd name="T75" fmla="*/ 1080 h 1352"/>
                <a:gd name="T76" fmla="*/ 1152 w 1350"/>
                <a:gd name="T77" fmla="*/ 1154 h 1352"/>
                <a:gd name="T78" fmla="*/ 1078 w 1350"/>
                <a:gd name="T79" fmla="*/ 1218 h 1352"/>
                <a:gd name="T80" fmla="*/ 996 w 1350"/>
                <a:gd name="T81" fmla="*/ 1270 h 1352"/>
                <a:gd name="T82" fmla="*/ 908 w 1350"/>
                <a:gd name="T83" fmla="*/ 1310 h 1352"/>
                <a:gd name="T84" fmla="*/ 810 w 1350"/>
                <a:gd name="T85" fmla="*/ 1338 h 1352"/>
                <a:gd name="T86" fmla="*/ 710 w 1350"/>
                <a:gd name="T87" fmla="*/ 1350 h 1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50" h="1352">
                  <a:moveTo>
                    <a:pt x="676" y="1352"/>
                  </a:moveTo>
                  <a:lnTo>
                    <a:pt x="676" y="1352"/>
                  </a:lnTo>
                  <a:lnTo>
                    <a:pt x="640" y="1350"/>
                  </a:lnTo>
                  <a:lnTo>
                    <a:pt x="606" y="1348"/>
                  </a:lnTo>
                  <a:lnTo>
                    <a:pt x="572" y="1344"/>
                  </a:lnTo>
                  <a:lnTo>
                    <a:pt x="540" y="1338"/>
                  </a:lnTo>
                  <a:lnTo>
                    <a:pt x="506" y="1330"/>
                  </a:lnTo>
                  <a:lnTo>
                    <a:pt x="474" y="1322"/>
                  </a:lnTo>
                  <a:lnTo>
                    <a:pt x="442" y="1310"/>
                  </a:lnTo>
                  <a:lnTo>
                    <a:pt x="412" y="1298"/>
                  </a:lnTo>
                  <a:lnTo>
                    <a:pt x="382" y="1284"/>
                  </a:lnTo>
                  <a:lnTo>
                    <a:pt x="354" y="1270"/>
                  </a:lnTo>
                  <a:lnTo>
                    <a:pt x="326" y="1254"/>
                  </a:lnTo>
                  <a:lnTo>
                    <a:pt x="298" y="1236"/>
                  </a:lnTo>
                  <a:lnTo>
                    <a:pt x="272" y="1218"/>
                  </a:lnTo>
                  <a:lnTo>
                    <a:pt x="246" y="1198"/>
                  </a:lnTo>
                  <a:lnTo>
                    <a:pt x="222" y="1176"/>
                  </a:lnTo>
                  <a:lnTo>
                    <a:pt x="198" y="1154"/>
                  </a:lnTo>
                  <a:lnTo>
                    <a:pt x="176" y="1130"/>
                  </a:lnTo>
                  <a:lnTo>
                    <a:pt x="154" y="1106"/>
                  </a:lnTo>
                  <a:lnTo>
                    <a:pt x="134" y="1080"/>
                  </a:lnTo>
                  <a:lnTo>
                    <a:pt x="116" y="1054"/>
                  </a:lnTo>
                  <a:lnTo>
                    <a:pt x="98" y="1026"/>
                  </a:lnTo>
                  <a:lnTo>
                    <a:pt x="82" y="998"/>
                  </a:lnTo>
                  <a:lnTo>
                    <a:pt x="66" y="968"/>
                  </a:lnTo>
                  <a:lnTo>
                    <a:pt x="52" y="938"/>
                  </a:lnTo>
                  <a:lnTo>
                    <a:pt x="40" y="908"/>
                  </a:lnTo>
                  <a:lnTo>
                    <a:pt x="30" y="876"/>
                  </a:lnTo>
                  <a:lnTo>
                    <a:pt x="20" y="844"/>
                  </a:lnTo>
                  <a:lnTo>
                    <a:pt x="14" y="812"/>
                  </a:lnTo>
                  <a:lnTo>
                    <a:pt x="8" y="778"/>
                  </a:lnTo>
                  <a:lnTo>
                    <a:pt x="2" y="746"/>
                  </a:lnTo>
                  <a:lnTo>
                    <a:pt x="0" y="710"/>
                  </a:lnTo>
                  <a:lnTo>
                    <a:pt x="0" y="676"/>
                  </a:lnTo>
                  <a:lnTo>
                    <a:pt x="0" y="676"/>
                  </a:lnTo>
                  <a:lnTo>
                    <a:pt x="0" y="642"/>
                  </a:lnTo>
                  <a:lnTo>
                    <a:pt x="2" y="608"/>
                  </a:lnTo>
                  <a:lnTo>
                    <a:pt x="8" y="574"/>
                  </a:lnTo>
                  <a:lnTo>
                    <a:pt x="14" y="540"/>
                  </a:lnTo>
                  <a:lnTo>
                    <a:pt x="20" y="508"/>
                  </a:lnTo>
                  <a:lnTo>
                    <a:pt x="30" y="476"/>
                  </a:lnTo>
                  <a:lnTo>
                    <a:pt x="40" y="444"/>
                  </a:lnTo>
                  <a:lnTo>
                    <a:pt x="52" y="414"/>
                  </a:lnTo>
                  <a:lnTo>
                    <a:pt x="66" y="384"/>
                  </a:lnTo>
                  <a:lnTo>
                    <a:pt x="82" y="354"/>
                  </a:lnTo>
                  <a:lnTo>
                    <a:pt x="98" y="326"/>
                  </a:lnTo>
                  <a:lnTo>
                    <a:pt x="116" y="298"/>
                  </a:lnTo>
                  <a:lnTo>
                    <a:pt x="134" y="272"/>
                  </a:lnTo>
                  <a:lnTo>
                    <a:pt x="154" y="246"/>
                  </a:lnTo>
                  <a:lnTo>
                    <a:pt x="176" y="222"/>
                  </a:lnTo>
                  <a:lnTo>
                    <a:pt x="198" y="198"/>
                  </a:lnTo>
                  <a:lnTo>
                    <a:pt x="222" y="176"/>
                  </a:lnTo>
                  <a:lnTo>
                    <a:pt x="246" y="154"/>
                  </a:lnTo>
                  <a:lnTo>
                    <a:pt x="272" y="134"/>
                  </a:lnTo>
                  <a:lnTo>
                    <a:pt x="298" y="116"/>
                  </a:lnTo>
                  <a:lnTo>
                    <a:pt x="326" y="98"/>
                  </a:lnTo>
                  <a:lnTo>
                    <a:pt x="354" y="82"/>
                  </a:lnTo>
                  <a:lnTo>
                    <a:pt x="382" y="68"/>
                  </a:lnTo>
                  <a:lnTo>
                    <a:pt x="412" y="54"/>
                  </a:lnTo>
                  <a:lnTo>
                    <a:pt x="442" y="42"/>
                  </a:lnTo>
                  <a:lnTo>
                    <a:pt x="474" y="30"/>
                  </a:lnTo>
                  <a:lnTo>
                    <a:pt x="506" y="22"/>
                  </a:lnTo>
                  <a:lnTo>
                    <a:pt x="540" y="14"/>
                  </a:lnTo>
                  <a:lnTo>
                    <a:pt x="572" y="8"/>
                  </a:lnTo>
                  <a:lnTo>
                    <a:pt x="606" y="4"/>
                  </a:lnTo>
                  <a:lnTo>
                    <a:pt x="640" y="2"/>
                  </a:lnTo>
                  <a:lnTo>
                    <a:pt x="676" y="0"/>
                  </a:lnTo>
                  <a:lnTo>
                    <a:pt x="676" y="0"/>
                  </a:lnTo>
                  <a:lnTo>
                    <a:pt x="710" y="2"/>
                  </a:lnTo>
                  <a:lnTo>
                    <a:pt x="744" y="4"/>
                  </a:lnTo>
                  <a:lnTo>
                    <a:pt x="778" y="8"/>
                  </a:lnTo>
                  <a:lnTo>
                    <a:pt x="810" y="14"/>
                  </a:lnTo>
                  <a:lnTo>
                    <a:pt x="844" y="22"/>
                  </a:lnTo>
                  <a:lnTo>
                    <a:pt x="876" y="30"/>
                  </a:lnTo>
                  <a:lnTo>
                    <a:pt x="908" y="42"/>
                  </a:lnTo>
                  <a:lnTo>
                    <a:pt x="938" y="54"/>
                  </a:lnTo>
                  <a:lnTo>
                    <a:pt x="968" y="68"/>
                  </a:lnTo>
                  <a:lnTo>
                    <a:pt x="996" y="82"/>
                  </a:lnTo>
                  <a:lnTo>
                    <a:pt x="1026" y="98"/>
                  </a:lnTo>
                  <a:lnTo>
                    <a:pt x="1052" y="116"/>
                  </a:lnTo>
                  <a:lnTo>
                    <a:pt x="1078" y="134"/>
                  </a:lnTo>
                  <a:lnTo>
                    <a:pt x="1104" y="154"/>
                  </a:lnTo>
                  <a:lnTo>
                    <a:pt x="1128" y="176"/>
                  </a:lnTo>
                  <a:lnTo>
                    <a:pt x="1152" y="198"/>
                  </a:lnTo>
                  <a:lnTo>
                    <a:pt x="1174" y="222"/>
                  </a:lnTo>
                  <a:lnTo>
                    <a:pt x="1196" y="246"/>
                  </a:lnTo>
                  <a:lnTo>
                    <a:pt x="1216" y="272"/>
                  </a:lnTo>
                  <a:lnTo>
                    <a:pt x="1236" y="298"/>
                  </a:lnTo>
                  <a:lnTo>
                    <a:pt x="1252" y="326"/>
                  </a:lnTo>
                  <a:lnTo>
                    <a:pt x="1268" y="354"/>
                  </a:lnTo>
                  <a:lnTo>
                    <a:pt x="1284" y="384"/>
                  </a:lnTo>
                  <a:lnTo>
                    <a:pt x="1298" y="414"/>
                  </a:lnTo>
                  <a:lnTo>
                    <a:pt x="1310" y="444"/>
                  </a:lnTo>
                  <a:lnTo>
                    <a:pt x="1320" y="476"/>
                  </a:lnTo>
                  <a:lnTo>
                    <a:pt x="1330" y="508"/>
                  </a:lnTo>
                  <a:lnTo>
                    <a:pt x="1336" y="540"/>
                  </a:lnTo>
                  <a:lnTo>
                    <a:pt x="1342" y="574"/>
                  </a:lnTo>
                  <a:lnTo>
                    <a:pt x="1348" y="608"/>
                  </a:lnTo>
                  <a:lnTo>
                    <a:pt x="1350" y="642"/>
                  </a:lnTo>
                  <a:lnTo>
                    <a:pt x="1350" y="676"/>
                  </a:lnTo>
                  <a:lnTo>
                    <a:pt x="1350" y="676"/>
                  </a:lnTo>
                  <a:lnTo>
                    <a:pt x="1350" y="710"/>
                  </a:lnTo>
                  <a:lnTo>
                    <a:pt x="1348" y="746"/>
                  </a:lnTo>
                  <a:lnTo>
                    <a:pt x="1342" y="778"/>
                  </a:lnTo>
                  <a:lnTo>
                    <a:pt x="1336" y="812"/>
                  </a:lnTo>
                  <a:lnTo>
                    <a:pt x="1330" y="844"/>
                  </a:lnTo>
                  <a:lnTo>
                    <a:pt x="1320" y="876"/>
                  </a:lnTo>
                  <a:lnTo>
                    <a:pt x="1310" y="908"/>
                  </a:lnTo>
                  <a:lnTo>
                    <a:pt x="1298" y="938"/>
                  </a:lnTo>
                  <a:lnTo>
                    <a:pt x="1284" y="968"/>
                  </a:lnTo>
                  <a:lnTo>
                    <a:pt x="1268" y="998"/>
                  </a:lnTo>
                  <a:lnTo>
                    <a:pt x="1252" y="1026"/>
                  </a:lnTo>
                  <a:lnTo>
                    <a:pt x="1236" y="1054"/>
                  </a:lnTo>
                  <a:lnTo>
                    <a:pt x="1216" y="1080"/>
                  </a:lnTo>
                  <a:lnTo>
                    <a:pt x="1196" y="1106"/>
                  </a:lnTo>
                  <a:lnTo>
                    <a:pt x="1174" y="1130"/>
                  </a:lnTo>
                  <a:lnTo>
                    <a:pt x="1152" y="1154"/>
                  </a:lnTo>
                  <a:lnTo>
                    <a:pt x="1128" y="1176"/>
                  </a:lnTo>
                  <a:lnTo>
                    <a:pt x="1104" y="1198"/>
                  </a:lnTo>
                  <a:lnTo>
                    <a:pt x="1078" y="1218"/>
                  </a:lnTo>
                  <a:lnTo>
                    <a:pt x="1052" y="1236"/>
                  </a:lnTo>
                  <a:lnTo>
                    <a:pt x="1026" y="1254"/>
                  </a:lnTo>
                  <a:lnTo>
                    <a:pt x="996" y="1270"/>
                  </a:lnTo>
                  <a:lnTo>
                    <a:pt x="968" y="1284"/>
                  </a:lnTo>
                  <a:lnTo>
                    <a:pt x="938" y="1298"/>
                  </a:lnTo>
                  <a:lnTo>
                    <a:pt x="908" y="1310"/>
                  </a:lnTo>
                  <a:lnTo>
                    <a:pt x="876" y="1322"/>
                  </a:lnTo>
                  <a:lnTo>
                    <a:pt x="844" y="1330"/>
                  </a:lnTo>
                  <a:lnTo>
                    <a:pt x="810" y="1338"/>
                  </a:lnTo>
                  <a:lnTo>
                    <a:pt x="778" y="1344"/>
                  </a:lnTo>
                  <a:lnTo>
                    <a:pt x="744" y="1348"/>
                  </a:lnTo>
                  <a:lnTo>
                    <a:pt x="710" y="1350"/>
                  </a:lnTo>
                  <a:lnTo>
                    <a:pt x="676" y="1352"/>
                  </a:lnTo>
                  <a:lnTo>
                    <a:pt x="676" y="13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76">
              <a:extLst>
                <a:ext uri="{FF2B5EF4-FFF2-40B4-BE49-F238E27FC236}">
                  <a16:creationId xmlns:a16="http://schemas.microsoft.com/office/drawing/2014/main" id="{B7A0A231-1D9A-4EC5-8B15-DE6C4C8EC630}"/>
                </a:ext>
              </a:extLst>
            </p:cNvPr>
            <p:cNvSpPr>
              <a:spLocks/>
            </p:cNvSpPr>
            <p:nvPr/>
          </p:nvSpPr>
          <p:spPr bwMode="auto">
            <a:xfrm>
              <a:off x="-3721100" y="3467100"/>
              <a:ext cx="1577975" cy="1574800"/>
            </a:xfrm>
            <a:custGeom>
              <a:avLst/>
              <a:gdLst>
                <a:gd name="T0" fmla="*/ 498 w 994"/>
                <a:gd name="T1" fmla="*/ 0 h 992"/>
                <a:gd name="T2" fmla="*/ 446 w 994"/>
                <a:gd name="T3" fmla="*/ 2 h 992"/>
                <a:gd name="T4" fmla="*/ 398 w 994"/>
                <a:gd name="T5" fmla="*/ 10 h 992"/>
                <a:gd name="T6" fmla="*/ 350 w 994"/>
                <a:gd name="T7" fmla="*/ 22 h 992"/>
                <a:gd name="T8" fmla="*/ 304 w 994"/>
                <a:gd name="T9" fmla="*/ 38 h 992"/>
                <a:gd name="T10" fmla="*/ 220 w 994"/>
                <a:gd name="T11" fmla="*/ 84 h 992"/>
                <a:gd name="T12" fmla="*/ 146 w 994"/>
                <a:gd name="T13" fmla="*/ 146 h 992"/>
                <a:gd name="T14" fmla="*/ 86 w 994"/>
                <a:gd name="T15" fmla="*/ 218 h 992"/>
                <a:gd name="T16" fmla="*/ 40 w 994"/>
                <a:gd name="T17" fmla="*/ 304 h 992"/>
                <a:gd name="T18" fmla="*/ 22 w 994"/>
                <a:gd name="T19" fmla="*/ 348 h 992"/>
                <a:gd name="T20" fmla="*/ 10 w 994"/>
                <a:gd name="T21" fmla="*/ 396 h 992"/>
                <a:gd name="T22" fmla="*/ 4 w 994"/>
                <a:gd name="T23" fmla="*/ 446 h 992"/>
                <a:gd name="T24" fmla="*/ 0 w 994"/>
                <a:gd name="T25" fmla="*/ 496 h 992"/>
                <a:gd name="T26" fmla="*/ 2 w 994"/>
                <a:gd name="T27" fmla="*/ 522 h 992"/>
                <a:gd name="T28" fmla="*/ 6 w 994"/>
                <a:gd name="T29" fmla="*/ 572 h 992"/>
                <a:gd name="T30" fmla="*/ 16 w 994"/>
                <a:gd name="T31" fmla="*/ 620 h 992"/>
                <a:gd name="T32" fmla="*/ 30 w 994"/>
                <a:gd name="T33" fmla="*/ 666 h 992"/>
                <a:gd name="T34" fmla="*/ 60 w 994"/>
                <a:gd name="T35" fmla="*/ 732 h 992"/>
                <a:gd name="T36" fmla="*/ 114 w 994"/>
                <a:gd name="T37" fmla="*/ 812 h 992"/>
                <a:gd name="T38" fmla="*/ 182 w 994"/>
                <a:gd name="T39" fmla="*/ 878 h 992"/>
                <a:gd name="T40" fmla="*/ 260 w 994"/>
                <a:gd name="T41" fmla="*/ 932 h 992"/>
                <a:gd name="T42" fmla="*/ 326 w 994"/>
                <a:gd name="T43" fmla="*/ 962 h 992"/>
                <a:gd name="T44" fmla="*/ 374 w 994"/>
                <a:gd name="T45" fmla="*/ 976 h 992"/>
                <a:gd name="T46" fmla="*/ 422 w 994"/>
                <a:gd name="T47" fmla="*/ 986 h 992"/>
                <a:gd name="T48" fmla="*/ 472 w 994"/>
                <a:gd name="T49" fmla="*/ 992 h 992"/>
                <a:gd name="T50" fmla="*/ 498 w 994"/>
                <a:gd name="T51" fmla="*/ 992 h 992"/>
                <a:gd name="T52" fmla="*/ 548 w 994"/>
                <a:gd name="T53" fmla="*/ 990 h 992"/>
                <a:gd name="T54" fmla="*/ 596 w 994"/>
                <a:gd name="T55" fmla="*/ 982 h 992"/>
                <a:gd name="T56" fmla="*/ 644 w 994"/>
                <a:gd name="T57" fmla="*/ 970 h 992"/>
                <a:gd name="T58" fmla="*/ 690 w 994"/>
                <a:gd name="T59" fmla="*/ 954 h 992"/>
                <a:gd name="T60" fmla="*/ 774 w 994"/>
                <a:gd name="T61" fmla="*/ 908 h 992"/>
                <a:gd name="T62" fmla="*/ 848 w 994"/>
                <a:gd name="T63" fmla="*/ 846 h 992"/>
                <a:gd name="T64" fmla="*/ 908 w 994"/>
                <a:gd name="T65" fmla="*/ 774 h 992"/>
                <a:gd name="T66" fmla="*/ 954 w 994"/>
                <a:gd name="T67" fmla="*/ 690 h 992"/>
                <a:gd name="T68" fmla="*/ 972 w 994"/>
                <a:gd name="T69" fmla="*/ 644 h 992"/>
                <a:gd name="T70" fmla="*/ 984 w 994"/>
                <a:gd name="T71" fmla="*/ 596 h 992"/>
                <a:gd name="T72" fmla="*/ 990 w 994"/>
                <a:gd name="T73" fmla="*/ 546 h 992"/>
                <a:gd name="T74" fmla="*/ 994 w 994"/>
                <a:gd name="T75" fmla="*/ 496 h 992"/>
                <a:gd name="T76" fmla="*/ 992 w 994"/>
                <a:gd name="T77" fmla="*/ 470 h 992"/>
                <a:gd name="T78" fmla="*/ 988 w 994"/>
                <a:gd name="T79" fmla="*/ 420 h 992"/>
                <a:gd name="T80" fmla="*/ 978 w 994"/>
                <a:gd name="T81" fmla="*/ 372 h 992"/>
                <a:gd name="T82" fmla="*/ 964 w 994"/>
                <a:gd name="T83" fmla="*/ 326 h 992"/>
                <a:gd name="T84" fmla="*/ 934 w 994"/>
                <a:gd name="T85" fmla="*/ 260 h 992"/>
                <a:gd name="T86" fmla="*/ 880 w 994"/>
                <a:gd name="T87" fmla="*/ 180 h 992"/>
                <a:gd name="T88" fmla="*/ 812 w 994"/>
                <a:gd name="T89" fmla="*/ 114 h 992"/>
                <a:gd name="T90" fmla="*/ 734 w 994"/>
                <a:gd name="T91" fmla="*/ 60 h 992"/>
                <a:gd name="T92" fmla="*/ 668 w 994"/>
                <a:gd name="T93" fmla="*/ 30 h 992"/>
                <a:gd name="T94" fmla="*/ 620 w 994"/>
                <a:gd name="T95" fmla="*/ 16 h 992"/>
                <a:gd name="T96" fmla="*/ 572 w 994"/>
                <a:gd name="T97" fmla="*/ 6 h 992"/>
                <a:gd name="T98" fmla="*/ 522 w 994"/>
                <a:gd name="T99" fmla="*/ 0 h 992"/>
                <a:gd name="T100" fmla="*/ 498 w 994"/>
                <a:gd name="T101" fmla="*/ 0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94" h="992">
                  <a:moveTo>
                    <a:pt x="498" y="0"/>
                  </a:moveTo>
                  <a:lnTo>
                    <a:pt x="498" y="0"/>
                  </a:lnTo>
                  <a:lnTo>
                    <a:pt x="472" y="0"/>
                  </a:lnTo>
                  <a:lnTo>
                    <a:pt x="446" y="2"/>
                  </a:lnTo>
                  <a:lnTo>
                    <a:pt x="422" y="6"/>
                  </a:lnTo>
                  <a:lnTo>
                    <a:pt x="398" y="10"/>
                  </a:lnTo>
                  <a:lnTo>
                    <a:pt x="374" y="16"/>
                  </a:lnTo>
                  <a:lnTo>
                    <a:pt x="350" y="22"/>
                  </a:lnTo>
                  <a:lnTo>
                    <a:pt x="326" y="30"/>
                  </a:lnTo>
                  <a:lnTo>
                    <a:pt x="304" y="38"/>
                  </a:lnTo>
                  <a:lnTo>
                    <a:pt x="260" y="60"/>
                  </a:lnTo>
                  <a:lnTo>
                    <a:pt x="220" y="84"/>
                  </a:lnTo>
                  <a:lnTo>
                    <a:pt x="182" y="114"/>
                  </a:lnTo>
                  <a:lnTo>
                    <a:pt x="146" y="146"/>
                  </a:lnTo>
                  <a:lnTo>
                    <a:pt x="114" y="180"/>
                  </a:lnTo>
                  <a:lnTo>
                    <a:pt x="86" y="218"/>
                  </a:lnTo>
                  <a:lnTo>
                    <a:pt x="60" y="260"/>
                  </a:lnTo>
                  <a:lnTo>
                    <a:pt x="40" y="304"/>
                  </a:lnTo>
                  <a:lnTo>
                    <a:pt x="30" y="326"/>
                  </a:lnTo>
                  <a:lnTo>
                    <a:pt x="22" y="348"/>
                  </a:lnTo>
                  <a:lnTo>
                    <a:pt x="16" y="372"/>
                  </a:lnTo>
                  <a:lnTo>
                    <a:pt x="10" y="396"/>
                  </a:lnTo>
                  <a:lnTo>
                    <a:pt x="6" y="420"/>
                  </a:lnTo>
                  <a:lnTo>
                    <a:pt x="4" y="446"/>
                  </a:lnTo>
                  <a:lnTo>
                    <a:pt x="2" y="470"/>
                  </a:lnTo>
                  <a:lnTo>
                    <a:pt x="0" y="496"/>
                  </a:lnTo>
                  <a:lnTo>
                    <a:pt x="0" y="496"/>
                  </a:lnTo>
                  <a:lnTo>
                    <a:pt x="2" y="522"/>
                  </a:lnTo>
                  <a:lnTo>
                    <a:pt x="4" y="546"/>
                  </a:lnTo>
                  <a:lnTo>
                    <a:pt x="6" y="572"/>
                  </a:lnTo>
                  <a:lnTo>
                    <a:pt x="10" y="596"/>
                  </a:lnTo>
                  <a:lnTo>
                    <a:pt x="16" y="620"/>
                  </a:lnTo>
                  <a:lnTo>
                    <a:pt x="22" y="644"/>
                  </a:lnTo>
                  <a:lnTo>
                    <a:pt x="30" y="666"/>
                  </a:lnTo>
                  <a:lnTo>
                    <a:pt x="40" y="690"/>
                  </a:lnTo>
                  <a:lnTo>
                    <a:pt x="60" y="732"/>
                  </a:lnTo>
                  <a:lnTo>
                    <a:pt x="86" y="774"/>
                  </a:lnTo>
                  <a:lnTo>
                    <a:pt x="114" y="812"/>
                  </a:lnTo>
                  <a:lnTo>
                    <a:pt x="146" y="846"/>
                  </a:lnTo>
                  <a:lnTo>
                    <a:pt x="182" y="878"/>
                  </a:lnTo>
                  <a:lnTo>
                    <a:pt x="220" y="908"/>
                  </a:lnTo>
                  <a:lnTo>
                    <a:pt x="260" y="932"/>
                  </a:lnTo>
                  <a:lnTo>
                    <a:pt x="304" y="954"/>
                  </a:lnTo>
                  <a:lnTo>
                    <a:pt x="326" y="962"/>
                  </a:lnTo>
                  <a:lnTo>
                    <a:pt x="350" y="970"/>
                  </a:lnTo>
                  <a:lnTo>
                    <a:pt x="374" y="976"/>
                  </a:lnTo>
                  <a:lnTo>
                    <a:pt x="398" y="982"/>
                  </a:lnTo>
                  <a:lnTo>
                    <a:pt x="422" y="986"/>
                  </a:lnTo>
                  <a:lnTo>
                    <a:pt x="446" y="990"/>
                  </a:lnTo>
                  <a:lnTo>
                    <a:pt x="472" y="992"/>
                  </a:lnTo>
                  <a:lnTo>
                    <a:pt x="498" y="992"/>
                  </a:lnTo>
                  <a:lnTo>
                    <a:pt x="498" y="992"/>
                  </a:lnTo>
                  <a:lnTo>
                    <a:pt x="522" y="992"/>
                  </a:lnTo>
                  <a:lnTo>
                    <a:pt x="548" y="990"/>
                  </a:lnTo>
                  <a:lnTo>
                    <a:pt x="572" y="986"/>
                  </a:lnTo>
                  <a:lnTo>
                    <a:pt x="596" y="982"/>
                  </a:lnTo>
                  <a:lnTo>
                    <a:pt x="620" y="976"/>
                  </a:lnTo>
                  <a:lnTo>
                    <a:pt x="644" y="970"/>
                  </a:lnTo>
                  <a:lnTo>
                    <a:pt x="668" y="962"/>
                  </a:lnTo>
                  <a:lnTo>
                    <a:pt x="690" y="954"/>
                  </a:lnTo>
                  <a:lnTo>
                    <a:pt x="734" y="932"/>
                  </a:lnTo>
                  <a:lnTo>
                    <a:pt x="774" y="908"/>
                  </a:lnTo>
                  <a:lnTo>
                    <a:pt x="812" y="878"/>
                  </a:lnTo>
                  <a:lnTo>
                    <a:pt x="848" y="846"/>
                  </a:lnTo>
                  <a:lnTo>
                    <a:pt x="880" y="812"/>
                  </a:lnTo>
                  <a:lnTo>
                    <a:pt x="908" y="774"/>
                  </a:lnTo>
                  <a:lnTo>
                    <a:pt x="934" y="732"/>
                  </a:lnTo>
                  <a:lnTo>
                    <a:pt x="954" y="690"/>
                  </a:lnTo>
                  <a:lnTo>
                    <a:pt x="964" y="666"/>
                  </a:lnTo>
                  <a:lnTo>
                    <a:pt x="972" y="644"/>
                  </a:lnTo>
                  <a:lnTo>
                    <a:pt x="978" y="620"/>
                  </a:lnTo>
                  <a:lnTo>
                    <a:pt x="984" y="596"/>
                  </a:lnTo>
                  <a:lnTo>
                    <a:pt x="988" y="572"/>
                  </a:lnTo>
                  <a:lnTo>
                    <a:pt x="990" y="546"/>
                  </a:lnTo>
                  <a:lnTo>
                    <a:pt x="992" y="522"/>
                  </a:lnTo>
                  <a:lnTo>
                    <a:pt x="994" y="496"/>
                  </a:lnTo>
                  <a:lnTo>
                    <a:pt x="994" y="496"/>
                  </a:lnTo>
                  <a:lnTo>
                    <a:pt x="992" y="470"/>
                  </a:lnTo>
                  <a:lnTo>
                    <a:pt x="990" y="446"/>
                  </a:lnTo>
                  <a:lnTo>
                    <a:pt x="988" y="420"/>
                  </a:lnTo>
                  <a:lnTo>
                    <a:pt x="984" y="396"/>
                  </a:lnTo>
                  <a:lnTo>
                    <a:pt x="978" y="372"/>
                  </a:lnTo>
                  <a:lnTo>
                    <a:pt x="972" y="348"/>
                  </a:lnTo>
                  <a:lnTo>
                    <a:pt x="964" y="326"/>
                  </a:lnTo>
                  <a:lnTo>
                    <a:pt x="954" y="304"/>
                  </a:lnTo>
                  <a:lnTo>
                    <a:pt x="934" y="260"/>
                  </a:lnTo>
                  <a:lnTo>
                    <a:pt x="908" y="218"/>
                  </a:lnTo>
                  <a:lnTo>
                    <a:pt x="880" y="180"/>
                  </a:lnTo>
                  <a:lnTo>
                    <a:pt x="848" y="146"/>
                  </a:lnTo>
                  <a:lnTo>
                    <a:pt x="812" y="114"/>
                  </a:lnTo>
                  <a:lnTo>
                    <a:pt x="774" y="84"/>
                  </a:lnTo>
                  <a:lnTo>
                    <a:pt x="734" y="60"/>
                  </a:lnTo>
                  <a:lnTo>
                    <a:pt x="690" y="38"/>
                  </a:lnTo>
                  <a:lnTo>
                    <a:pt x="668" y="30"/>
                  </a:lnTo>
                  <a:lnTo>
                    <a:pt x="644" y="22"/>
                  </a:lnTo>
                  <a:lnTo>
                    <a:pt x="620" y="16"/>
                  </a:lnTo>
                  <a:lnTo>
                    <a:pt x="596" y="10"/>
                  </a:lnTo>
                  <a:lnTo>
                    <a:pt x="572" y="6"/>
                  </a:lnTo>
                  <a:lnTo>
                    <a:pt x="548" y="2"/>
                  </a:lnTo>
                  <a:lnTo>
                    <a:pt x="522" y="0"/>
                  </a:lnTo>
                  <a:lnTo>
                    <a:pt x="498" y="0"/>
                  </a:lnTo>
                  <a:lnTo>
                    <a:pt x="4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Line 77">
              <a:extLst>
                <a:ext uri="{FF2B5EF4-FFF2-40B4-BE49-F238E27FC236}">
                  <a16:creationId xmlns:a16="http://schemas.microsoft.com/office/drawing/2014/main" id="{82911222-864E-4860-9EE8-46EF9A7A7AD1}"/>
                </a:ext>
              </a:extLst>
            </p:cNvPr>
            <p:cNvSpPr>
              <a:spLocks noChangeShapeType="1"/>
            </p:cNvSpPr>
            <p:nvPr/>
          </p:nvSpPr>
          <p:spPr bwMode="auto">
            <a:xfrm>
              <a:off x="-2930525"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78">
              <a:extLst>
                <a:ext uri="{FF2B5EF4-FFF2-40B4-BE49-F238E27FC236}">
                  <a16:creationId xmlns:a16="http://schemas.microsoft.com/office/drawing/2014/main" id="{0749120A-4DC7-4292-AB19-26A4A245050E}"/>
                </a:ext>
              </a:extLst>
            </p:cNvPr>
            <p:cNvSpPr>
              <a:spLocks noEditPoints="1"/>
            </p:cNvSpPr>
            <p:nvPr/>
          </p:nvSpPr>
          <p:spPr bwMode="auto">
            <a:xfrm>
              <a:off x="-4860925" y="2095500"/>
              <a:ext cx="771525" cy="771525"/>
            </a:xfrm>
            <a:custGeom>
              <a:avLst/>
              <a:gdLst>
                <a:gd name="T0" fmla="*/ 486 w 486"/>
                <a:gd name="T1" fmla="*/ 244 h 486"/>
                <a:gd name="T2" fmla="*/ 482 w 486"/>
                <a:gd name="T3" fmla="*/ 292 h 486"/>
                <a:gd name="T4" fmla="*/ 468 w 486"/>
                <a:gd name="T5" fmla="*/ 338 h 486"/>
                <a:gd name="T6" fmla="*/ 446 w 486"/>
                <a:gd name="T7" fmla="*/ 380 h 486"/>
                <a:gd name="T8" fmla="*/ 416 w 486"/>
                <a:gd name="T9" fmla="*/ 416 h 486"/>
                <a:gd name="T10" fmla="*/ 380 w 486"/>
                <a:gd name="T11" fmla="*/ 444 h 486"/>
                <a:gd name="T12" fmla="*/ 338 w 486"/>
                <a:gd name="T13" fmla="*/ 468 h 486"/>
                <a:gd name="T14" fmla="*/ 292 w 486"/>
                <a:gd name="T15" fmla="*/ 482 h 486"/>
                <a:gd name="T16" fmla="*/ 244 w 486"/>
                <a:gd name="T17" fmla="*/ 486 h 486"/>
                <a:gd name="T18" fmla="*/ 218 w 486"/>
                <a:gd name="T19" fmla="*/ 486 h 486"/>
                <a:gd name="T20" fmla="*/ 172 w 486"/>
                <a:gd name="T21" fmla="*/ 476 h 486"/>
                <a:gd name="T22" fmla="*/ 128 w 486"/>
                <a:gd name="T23" fmla="*/ 458 h 486"/>
                <a:gd name="T24" fmla="*/ 88 w 486"/>
                <a:gd name="T25" fmla="*/ 430 h 486"/>
                <a:gd name="T26" fmla="*/ 56 w 486"/>
                <a:gd name="T27" fmla="*/ 398 h 486"/>
                <a:gd name="T28" fmla="*/ 30 w 486"/>
                <a:gd name="T29" fmla="*/ 360 h 486"/>
                <a:gd name="T30" fmla="*/ 12 w 486"/>
                <a:gd name="T31" fmla="*/ 316 h 486"/>
                <a:gd name="T32" fmla="*/ 2 w 486"/>
                <a:gd name="T33" fmla="*/ 268 h 486"/>
                <a:gd name="T34" fmla="*/ 0 w 486"/>
                <a:gd name="T35" fmla="*/ 244 h 486"/>
                <a:gd name="T36" fmla="*/ 6 w 486"/>
                <a:gd name="T37" fmla="*/ 194 h 486"/>
                <a:gd name="T38" fmla="*/ 20 w 486"/>
                <a:gd name="T39" fmla="*/ 148 h 486"/>
                <a:gd name="T40" fmla="*/ 42 w 486"/>
                <a:gd name="T41" fmla="*/ 106 h 486"/>
                <a:gd name="T42" fmla="*/ 72 w 486"/>
                <a:gd name="T43" fmla="*/ 70 h 486"/>
                <a:gd name="T44" fmla="*/ 108 w 486"/>
                <a:gd name="T45" fmla="*/ 42 h 486"/>
                <a:gd name="T46" fmla="*/ 148 w 486"/>
                <a:gd name="T47" fmla="*/ 18 h 486"/>
                <a:gd name="T48" fmla="*/ 194 w 486"/>
                <a:gd name="T49" fmla="*/ 4 h 486"/>
                <a:gd name="T50" fmla="*/ 244 w 486"/>
                <a:gd name="T51" fmla="*/ 0 h 486"/>
                <a:gd name="T52" fmla="*/ 268 w 486"/>
                <a:gd name="T53" fmla="*/ 0 h 486"/>
                <a:gd name="T54" fmla="*/ 316 w 486"/>
                <a:gd name="T55" fmla="*/ 10 h 486"/>
                <a:gd name="T56" fmla="*/ 360 w 486"/>
                <a:gd name="T57" fmla="*/ 28 h 486"/>
                <a:gd name="T58" fmla="*/ 398 w 486"/>
                <a:gd name="T59" fmla="*/ 56 h 486"/>
                <a:gd name="T60" fmla="*/ 432 w 486"/>
                <a:gd name="T61" fmla="*/ 88 h 486"/>
                <a:gd name="T62" fmla="*/ 458 w 486"/>
                <a:gd name="T63" fmla="*/ 128 h 486"/>
                <a:gd name="T64" fmla="*/ 476 w 486"/>
                <a:gd name="T65" fmla="*/ 170 h 486"/>
                <a:gd name="T66" fmla="*/ 486 w 486"/>
                <a:gd name="T67" fmla="*/ 218 h 486"/>
                <a:gd name="T68" fmla="*/ 486 w 486"/>
                <a:gd name="T69" fmla="*/ 244 h 486"/>
                <a:gd name="T70" fmla="*/ 486 w 486"/>
                <a:gd name="T71" fmla="*/ 24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6" h="486">
                  <a:moveTo>
                    <a:pt x="486" y="244"/>
                  </a:moveTo>
                  <a:lnTo>
                    <a:pt x="486" y="244"/>
                  </a:lnTo>
                  <a:lnTo>
                    <a:pt x="486" y="268"/>
                  </a:lnTo>
                  <a:lnTo>
                    <a:pt x="482" y="292"/>
                  </a:lnTo>
                  <a:lnTo>
                    <a:pt x="476" y="316"/>
                  </a:lnTo>
                  <a:lnTo>
                    <a:pt x="468" y="338"/>
                  </a:lnTo>
                  <a:lnTo>
                    <a:pt x="458" y="360"/>
                  </a:lnTo>
                  <a:lnTo>
                    <a:pt x="446" y="380"/>
                  </a:lnTo>
                  <a:lnTo>
                    <a:pt x="432" y="398"/>
                  </a:lnTo>
                  <a:lnTo>
                    <a:pt x="416" y="416"/>
                  </a:lnTo>
                  <a:lnTo>
                    <a:pt x="398" y="430"/>
                  </a:lnTo>
                  <a:lnTo>
                    <a:pt x="380" y="444"/>
                  </a:lnTo>
                  <a:lnTo>
                    <a:pt x="360" y="458"/>
                  </a:lnTo>
                  <a:lnTo>
                    <a:pt x="338" y="468"/>
                  </a:lnTo>
                  <a:lnTo>
                    <a:pt x="316" y="476"/>
                  </a:lnTo>
                  <a:lnTo>
                    <a:pt x="292" y="482"/>
                  </a:lnTo>
                  <a:lnTo>
                    <a:pt x="268" y="486"/>
                  </a:lnTo>
                  <a:lnTo>
                    <a:pt x="244" y="486"/>
                  </a:lnTo>
                  <a:lnTo>
                    <a:pt x="244" y="486"/>
                  </a:lnTo>
                  <a:lnTo>
                    <a:pt x="218" y="486"/>
                  </a:lnTo>
                  <a:lnTo>
                    <a:pt x="194" y="482"/>
                  </a:lnTo>
                  <a:lnTo>
                    <a:pt x="172" y="476"/>
                  </a:lnTo>
                  <a:lnTo>
                    <a:pt x="148" y="468"/>
                  </a:lnTo>
                  <a:lnTo>
                    <a:pt x="128" y="458"/>
                  </a:lnTo>
                  <a:lnTo>
                    <a:pt x="108" y="444"/>
                  </a:lnTo>
                  <a:lnTo>
                    <a:pt x="88" y="430"/>
                  </a:lnTo>
                  <a:lnTo>
                    <a:pt x="72" y="416"/>
                  </a:lnTo>
                  <a:lnTo>
                    <a:pt x="56" y="398"/>
                  </a:lnTo>
                  <a:lnTo>
                    <a:pt x="42" y="380"/>
                  </a:lnTo>
                  <a:lnTo>
                    <a:pt x="30" y="360"/>
                  </a:lnTo>
                  <a:lnTo>
                    <a:pt x="20" y="338"/>
                  </a:lnTo>
                  <a:lnTo>
                    <a:pt x="12" y="316"/>
                  </a:lnTo>
                  <a:lnTo>
                    <a:pt x="6" y="292"/>
                  </a:lnTo>
                  <a:lnTo>
                    <a:pt x="2" y="268"/>
                  </a:lnTo>
                  <a:lnTo>
                    <a:pt x="0" y="244"/>
                  </a:lnTo>
                  <a:lnTo>
                    <a:pt x="0" y="244"/>
                  </a:lnTo>
                  <a:lnTo>
                    <a:pt x="2" y="218"/>
                  </a:lnTo>
                  <a:lnTo>
                    <a:pt x="6" y="194"/>
                  </a:lnTo>
                  <a:lnTo>
                    <a:pt x="12" y="170"/>
                  </a:lnTo>
                  <a:lnTo>
                    <a:pt x="20" y="148"/>
                  </a:lnTo>
                  <a:lnTo>
                    <a:pt x="30" y="128"/>
                  </a:lnTo>
                  <a:lnTo>
                    <a:pt x="42" y="106"/>
                  </a:lnTo>
                  <a:lnTo>
                    <a:pt x="56" y="88"/>
                  </a:lnTo>
                  <a:lnTo>
                    <a:pt x="72" y="70"/>
                  </a:lnTo>
                  <a:lnTo>
                    <a:pt x="88" y="56"/>
                  </a:lnTo>
                  <a:lnTo>
                    <a:pt x="108" y="42"/>
                  </a:lnTo>
                  <a:lnTo>
                    <a:pt x="128" y="28"/>
                  </a:lnTo>
                  <a:lnTo>
                    <a:pt x="148" y="18"/>
                  </a:lnTo>
                  <a:lnTo>
                    <a:pt x="172" y="10"/>
                  </a:lnTo>
                  <a:lnTo>
                    <a:pt x="194" y="4"/>
                  </a:lnTo>
                  <a:lnTo>
                    <a:pt x="218" y="0"/>
                  </a:lnTo>
                  <a:lnTo>
                    <a:pt x="244" y="0"/>
                  </a:lnTo>
                  <a:lnTo>
                    <a:pt x="244" y="0"/>
                  </a:lnTo>
                  <a:lnTo>
                    <a:pt x="268" y="0"/>
                  </a:lnTo>
                  <a:lnTo>
                    <a:pt x="292" y="4"/>
                  </a:lnTo>
                  <a:lnTo>
                    <a:pt x="316" y="10"/>
                  </a:lnTo>
                  <a:lnTo>
                    <a:pt x="338" y="18"/>
                  </a:lnTo>
                  <a:lnTo>
                    <a:pt x="360" y="28"/>
                  </a:lnTo>
                  <a:lnTo>
                    <a:pt x="380" y="42"/>
                  </a:lnTo>
                  <a:lnTo>
                    <a:pt x="398" y="56"/>
                  </a:lnTo>
                  <a:lnTo>
                    <a:pt x="416" y="70"/>
                  </a:lnTo>
                  <a:lnTo>
                    <a:pt x="432" y="88"/>
                  </a:lnTo>
                  <a:lnTo>
                    <a:pt x="446" y="106"/>
                  </a:lnTo>
                  <a:lnTo>
                    <a:pt x="458" y="128"/>
                  </a:lnTo>
                  <a:lnTo>
                    <a:pt x="468" y="148"/>
                  </a:lnTo>
                  <a:lnTo>
                    <a:pt x="476" y="170"/>
                  </a:lnTo>
                  <a:lnTo>
                    <a:pt x="482" y="194"/>
                  </a:lnTo>
                  <a:lnTo>
                    <a:pt x="486" y="218"/>
                  </a:lnTo>
                  <a:lnTo>
                    <a:pt x="486" y="244"/>
                  </a:lnTo>
                  <a:lnTo>
                    <a:pt x="486" y="244"/>
                  </a:lnTo>
                  <a:close/>
                  <a:moveTo>
                    <a:pt x="486" y="244"/>
                  </a:moveTo>
                  <a:lnTo>
                    <a:pt x="486" y="244"/>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5" name="Freeform 79">
              <a:extLst>
                <a:ext uri="{FF2B5EF4-FFF2-40B4-BE49-F238E27FC236}">
                  <a16:creationId xmlns:a16="http://schemas.microsoft.com/office/drawing/2014/main" id="{B6A66556-3030-46FA-86FE-BE794933F55D}"/>
                </a:ext>
              </a:extLst>
            </p:cNvPr>
            <p:cNvSpPr>
              <a:spLocks/>
            </p:cNvSpPr>
            <p:nvPr/>
          </p:nvSpPr>
          <p:spPr bwMode="auto">
            <a:xfrm>
              <a:off x="-4860925" y="2095500"/>
              <a:ext cx="771525" cy="771525"/>
            </a:xfrm>
            <a:custGeom>
              <a:avLst/>
              <a:gdLst>
                <a:gd name="T0" fmla="*/ 486 w 486"/>
                <a:gd name="T1" fmla="*/ 244 h 486"/>
                <a:gd name="T2" fmla="*/ 482 w 486"/>
                <a:gd name="T3" fmla="*/ 292 h 486"/>
                <a:gd name="T4" fmla="*/ 468 w 486"/>
                <a:gd name="T5" fmla="*/ 338 h 486"/>
                <a:gd name="T6" fmla="*/ 446 w 486"/>
                <a:gd name="T7" fmla="*/ 380 h 486"/>
                <a:gd name="T8" fmla="*/ 416 w 486"/>
                <a:gd name="T9" fmla="*/ 416 h 486"/>
                <a:gd name="T10" fmla="*/ 380 w 486"/>
                <a:gd name="T11" fmla="*/ 444 h 486"/>
                <a:gd name="T12" fmla="*/ 338 w 486"/>
                <a:gd name="T13" fmla="*/ 468 h 486"/>
                <a:gd name="T14" fmla="*/ 292 w 486"/>
                <a:gd name="T15" fmla="*/ 482 h 486"/>
                <a:gd name="T16" fmla="*/ 244 w 486"/>
                <a:gd name="T17" fmla="*/ 486 h 486"/>
                <a:gd name="T18" fmla="*/ 218 w 486"/>
                <a:gd name="T19" fmla="*/ 486 h 486"/>
                <a:gd name="T20" fmla="*/ 172 w 486"/>
                <a:gd name="T21" fmla="*/ 476 h 486"/>
                <a:gd name="T22" fmla="*/ 128 w 486"/>
                <a:gd name="T23" fmla="*/ 458 h 486"/>
                <a:gd name="T24" fmla="*/ 88 w 486"/>
                <a:gd name="T25" fmla="*/ 430 h 486"/>
                <a:gd name="T26" fmla="*/ 56 w 486"/>
                <a:gd name="T27" fmla="*/ 398 h 486"/>
                <a:gd name="T28" fmla="*/ 30 w 486"/>
                <a:gd name="T29" fmla="*/ 360 h 486"/>
                <a:gd name="T30" fmla="*/ 12 w 486"/>
                <a:gd name="T31" fmla="*/ 316 h 486"/>
                <a:gd name="T32" fmla="*/ 2 w 486"/>
                <a:gd name="T33" fmla="*/ 268 h 486"/>
                <a:gd name="T34" fmla="*/ 0 w 486"/>
                <a:gd name="T35" fmla="*/ 244 h 486"/>
                <a:gd name="T36" fmla="*/ 6 w 486"/>
                <a:gd name="T37" fmla="*/ 194 h 486"/>
                <a:gd name="T38" fmla="*/ 20 w 486"/>
                <a:gd name="T39" fmla="*/ 148 h 486"/>
                <a:gd name="T40" fmla="*/ 42 w 486"/>
                <a:gd name="T41" fmla="*/ 106 h 486"/>
                <a:gd name="T42" fmla="*/ 72 w 486"/>
                <a:gd name="T43" fmla="*/ 70 h 486"/>
                <a:gd name="T44" fmla="*/ 108 w 486"/>
                <a:gd name="T45" fmla="*/ 42 h 486"/>
                <a:gd name="T46" fmla="*/ 148 w 486"/>
                <a:gd name="T47" fmla="*/ 18 h 486"/>
                <a:gd name="T48" fmla="*/ 194 w 486"/>
                <a:gd name="T49" fmla="*/ 4 h 486"/>
                <a:gd name="T50" fmla="*/ 244 w 486"/>
                <a:gd name="T51" fmla="*/ 0 h 486"/>
                <a:gd name="T52" fmla="*/ 268 w 486"/>
                <a:gd name="T53" fmla="*/ 0 h 486"/>
                <a:gd name="T54" fmla="*/ 316 w 486"/>
                <a:gd name="T55" fmla="*/ 10 h 486"/>
                <a:gd name="T56" fmla="*/ 360 w 486"/>
                <a:gd name="T57" fmla="*/ 28 h 486"/>
                <a:gd name="T58" fmla="*/ 398 w 486"/>
                <a:gd name="T59" fmla="*/ 56 h 486"/>
                <a:gd name="T60" fmla="*/ 432 w 486"/>
                <a:gd name="T61" fmla="*/ 88 h 486"/>
                <a:gd name="T62" fmla="*/ 458 w 486"/>
                <a:gd name="T63" fmla="*/ 128 h 486"/>
                <a:gd name="T64" fmla="*/ 476 w 486"/>
                <a:gd name="T65" fmla="*/ 170 h 486"/>
                <a:gd name="T66" fmla="*/ 486 w 486"/>
                <a:gd name="T67" fmla="*/ 218 h 486"/>
                <a:gd name="T68" fmla="*/ 486 w 486"/>
                <a:gd name="T69" fmla="*/ 24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6" h="486">
                  <a:moveTo>
                    <a:pt x="486" y="244"/>
                  </a:moveTo>
                  <a:lnTo>
                    <a:pt x="486" y="244"/>
                  </a:lnTo>
                  <a:lnTo>
                    <a:pt x="486" y="268"/>
                  </a:lnTo>
                  <a:lnTo>
                    <a:pt x="482" y="292"/>
                  </a:lnTo>
                  <a:lnTo>
                    <a:pt x="476" y="316"/>
                  </a:lnTo>
                  <a:lnTo>
                    <a:pt x="468" y="338"/>
                  </a:lnTo>
                  <a:lnTo>
                    <a:pt x="458" y="360"/>
                  </a:lnTo>
                  <a:lnTo>
                    <a:pt x="446" y="380"/>
                  </a:lnTo>
                  <a:lnTo>
                    <a:pt x="432" y="398"/>
                  </a:lnTo>
                  <a:lnTo>
                    <a:pt x="416" y="416"/>
                  </a:lnTo>
                  <a:lnTo>
                    <a:pt x="398" y="430"/>
                  </a:lnTo>
                  <a:lnTo>
                    <a:pt x="380" y="444"/>
                  </a:lnTo>
                  <a:lnTo>
                    <a:pt x="360" y="458"/>
                  </a:lnTo>
                  <a:lnTo>
                    <a:pt x="338" y="468"/>
                  </a:lnTo>
                  <a:lnTo>
                    <a:pt x="316" y="476"/>
                  </a:lnTo>
                  <a:lnTo>
                    <a:pt x="292" y="482"/>
                  </a:lnTo>
                  <a:lnTo>
                    <a:pt x="268" y="486"/>
                  </a:lnTo>
                  <a:lnTo>
                    <a:pt x="244" y="486"/>
                  </a:lnTo>
                  <a:lnTo>
                    <a:pt x="244" y="486"/>
                  </a:lnTo>
                  <a:lnTo>
                    <a:pt x="218" y="486"/>
                  </a:lnTo>
                  <a:lnTo>
                    <a:pt x="194" y="482"/>
                  </a:lnTo>
                  <a:lnTo>
                    <a:pt x="172" y="476"/>
                  </a:lnTo>
                  <a:lnTo>
                    <a:pt x="148" y="468"/>
                  </a:lnTo>
                  <a:lnTo>
                    <a:pt x="128" y="458"/>
                  </a:lnTo>
                  <a:lnTo>
                    <a:pt x="108" y="444"/>
                  </a:lnTo>
                  <a:lnTo>
                    <a:pt x="88" y="430"/>
                  </a:lnTo>
                  <a:lnTo>
                    <a:pt x="72" y="416"/>
                  </a:lnTo>
                  <a:lnTo>
                    <a:pt x="56" y="398"/>
                  </a:lnTo>
                  <a:lnTo>
                    <a:pt x="42" y="380"/>
                  </a:lnTo>
                  <a:lnTo>
                    <a:pt x="30" y="360"/>
                  </a:lnTo>
                  <a:lnTo>
                    <a:pt x="20" y="338"/>
                  </a:lnTo>
                  <a:lnTo>
                    <a:pt x="12" y="316"/>
                  </a:lnTo>
                  <a:lnTo>
                    <a:pt x="6" y="292"/>
                  </a:lnTo>
                  <a:lnTo>
                    <a:pt x="2" y="268"/>
                  </a:lnTo>
                  <a:lnTo>
                    <a:pt x="0" y="244"/>
                  </a:lnTo>
                  <a:lnTo>
                    <a:pt x="0" y="244"/>
                  </a:lnTo>
                  <a:lnTo>
                    <a:pt x="2" y="218"/>
                  </a:lnTo>
                  <a:lnTo>
                    <a:pt x="6" y="194"/>
                  </a:lnTo>
                  <a:lnTo>
                    <a:pt x="12" y="170"/>
                  </a:lnTo>
                  <a:lnTo>
                    <a:pt x="20" y="148"/>
                  </a:lnTo>
                  <a:lnTo>
                    <a:pt x="30" y="128"/>
                  </a:lnTo>
                  <a:lnTo>
                    <a:pt x="42" y="106"/>
                  </a:lnTo>
                  <a:lnTo>
                    <a:pt x="56" y="88"/>
                  </a:lnTo>
                  <a:lnTo>
                    <a:pt x="72" y="70"/>
                  </a:lnTo>
                  <a:lnTo>
                    <a:pt x="88" y="56"/>
                  </a:lnTo>
                  <a:lnTo>
                    <a:pt x="108" y="42"/>
                  </a:lnTo>
                  <a:lnTo>
                    <a:pt x="128" y="28"/>
                  </a:lnTo>
                  <a:lnTo>
                    <a:pt x="148" y="18"/>
                  </a:lnTo>
                  <a:lnTo>
                    <a:pt x="172" y="10"/>
                  </a:lnTo>
                  <a:lnTo>
                    <a:pt x="194" y="4"/>
                  </a:lnTo>
                  <a:lnTo>
                    <a:pt x="218" y="0"/>
                  </a:lnTo>
                  <a:lnTo>
                    <a:pt x="244" y="0"/>
                  </a:lnTo>
                  <a:lnTo>
                    <a:pt x="244" y="0"/>
                  </a:lnTo>
                  <a:lnTo>
                    <a:pt x="268" y="0"/>
                  </a:lnTo>
                  <a:lnTo>
                    <a:pt x="292" y="4"/>
                  </a:lnTo>
                  <a:lnTo>
                    <a:pt x="316" y="10"/>
                  </a:lnTo>
                  <a:lnTo>
                    <a:pt x="338" y="18"/>
                  </a:lnTo>
                  <a:lnTo>
                    <a:pt x="360" y="28"/>
                  </a:lnTo>
                  <a:lnTo>
                    <a:pt x="380" y="42"/>
                  </a:lnTo>
                  <a:lnTo>
                    <a:pt x="398" y="56"/>
                  </a:lnTo>
                  <a:lnTo>
                    <a:pt x="416" y="70"/>
                  </a:lnTo>
                  <a:lnTo>
                    <a:pt x="432" y="88"/>
                  </a:lnTo>
                  <a:lnTo>
                    <a:pt x="446" y="106"/>
                  </a:lnTo>
                  <a:lnTo>
                    <a:pt x="458" y="128"/>
                  </a:lnTo>
                  <a:lnTo>
                    <a:pt x="468" y="148"/>
                  </a:lnTo>
                  <a:lnTo>
                    <a:pt x="476" y="170"/>
                  </a:lnTo>
                  <a:lnTo>
                    <a:pt x="482" y="194"/>
                  </a:lnTo>
                  <a:lnTo>
                    <a:pt x="486" y="218"/>
                  </a:lnTo>
                  <a:lnTo>
                    <a:pt x="486" y="244"/>
                  </a:lnTo>
                  <a:lnTo>
                    <a:pt x="486" y="2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Line 80">
              <a:extLst>
                <a:ext uri="{FF2B5EF4-FFF2-40B4-BE49-F238E27FC236}">
                  <a16:creationId xmlns:a16="http://schemas.microsoft.com/office/drawing/2014/main" id="{260C1F46-1301-42CD-AA4C-88757F799BC0}"/>
                </a:ext>
              </a:extLst>
            </p:cNvPr>
            <p:cNvSpPr>
              <a:spLocks noChangeShapeType="1"/>
            </p:cNvSpPr>
            <p:nvPr/>
          </p:nvSpPr>
          <p:spPr bwMode="auto">
            <a:xfrm>
              <a:off x="-4089400" y="24828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81">
              <a:extLst>
                <a:ext uri="{FF2B5EF4-FFF2-40B4-BE49-F238E27FC236}">
                  <a16:creationId xmlns:a16="http://schemas.microsoft.com/office/drawing/2014/main" id="{6E1D497C-0929-4398-AF08-EB2BD720B6A2}"/>
                </a:ext>
              </a:extLst>
            </p:cNvPr>
            <p:cNvSpPr>
              <a:spLocks noEditPoints="1"/>
            </p:cNvSpPr>
            <p:nvPr/>
          </p:nvSpPr>
          <p:spPr bwMode="auto">
            <a:xfrm>
              <a:off x="-5003800" y="1952625"/>
              <a:ext cx="1057275" cy="1057275"/>
            </a:xfrm>
            <a:custGeom>
              <a:avLst/>
              <a:gdLst>
                <a:gd name="T0" fmla="*/ 300 w 666"/>
                <a:gd name="T1" fmla="*/ 664 h 666"/>
                <a:gd name="T2" fmla="*/ 204 w 666"/>
                <a:gd name="T3" fmla="*/ 640 h 666"/>
                <a:gd name="T4" fmla="*/ 122 w 666"/>
                <a:gd name="T5" fmla="*/ 590 h 666"/>
                <a:gd name="T6" fmla="*/ 58 w 666"/>
                <a:gd name="T7" fmla="*/ 520 h 666"/>
                <a:gd name="T8" fmla="*/ 16 w 666"/>
                <a:gd name="T9" fmla="*/ 432 h 666"/>
                <a:gd name="T10" fmla="*/ 0 w 666"/>
                <a:gd name="T11" fmla="*/ 334 h 666"/>
                <a:gd name="T12" fmla="*/ 8 w 666"/>
                <a:gd name="T13" fmla="*/ 266 h 666"/>
                <a:gd name="T14" fmla="*/ 40 w 666"/>
                <a:gd name="T15" fmla="*/ 174 h 666"/>
                <a:gd name="T16" fmla="*/ 98 w 666"/>
                <a:gd name="T17" fmla="*/ 98 h 666"/>
                <a:gd name="T18" fmla="*/ 174 w 666"/>
                <a:gd name="T19" fmla="*/ 40 h 666"/>
                <a:gd name="T20" fmla="*/ 266 w 666"/>
                <a:gd name="T21" fmla="*/ 6 h 666"/>
                <a:gd name="T22" fmla="*/ 334 w 666"/>
                <a:gd name="T23" fmla="*/ 0 h 666"/>
                <a:gd name="T24" fmla="*/ 432 w 666"/>
                <a:gd name="T25" fmla="*/ 14 h 666"/>
                <a:gd name="T26" fmla="*/ 520 w 666"/>
                <a:gd name="T27" fmla="*/ 56 h 666"/>
                <a:gd name="T28" fmla="*/ 590 w 666"/>
                <a:gd name="T29" fmla="*/ 122 h 666"/>
                <a:gd name="T30" fmla="*/ 640 w 666"/>
                <a:gd name="T31" fmla="*/ 204 h 666"/>
                <a:gd name="T32" fmla="*/ 664 w 666"/>
                <a:gd name="T33" fmla="*/ 300 h 666"/>
                <a:gd name="T34" fmla="*/ 664 w 666"/>
                <a:gd name="T35" fmla="*/ 368 h 666"/>
                <a:gd name="T36" fmla="*/ 640 w 666"/>
                <a:gd name="T37" fmla="*/ 462 h 666"/>
                <a:gd name="T38" fmla="*/ 590 w 666"/>
                <a:gd name="T39" fmla="*/ 544 h 666"/>
                <a:gd name="T40" fmla="*/ 520 w 666"/>
                <a:gd name="T41" fmla="*/ 610 h 666"/>
                <a:gd name="T42" fmla="*/ 432 w 666"/>
                <a:gd name="T43" fmla="*/ 652 h 666"/>
                <a:gd name="T44" fmla="*/ 334 w 666"/>
                <a:gd name="T45" fmla="*/ 666 h 666"/>
                <a:gd name="T46" fmla="*/ 334 w 666"/>
                <a:gd name="T47" fmla="*/ 180 h 666"/>
                <a:gd name="T48" fmla="*/ 288 w 666"/>
                <a:gd name="T49" fmla="*/ 186 h 666"/>
                <a:gd name="T50" fmla="*/ 248 w 666"/>
                <a:gd name="T51" fmla="*/ 206 h 666"/>
                <a:gd name="T52" fmla="*/ 214 w 666"/>
                <a:gd name="T53" fmla="*/ 236 h 666"/>
                <a:gd name="T54" fmla="*/ 192 w 666"/>
                <a:gd name="T55" fmla="*/ 274 h 666"/>
                <a:gd name="T56" fmla="*/ 180 w 666"/>
                <a:gd name="T57" fmla="*/ 318 h 666"/>
                <a:gd name="T58" fmla="*/ 180 w 666"/>
                <a:gd name="T59" fmla="*/ 348 h 666"/>
                <a:gd name="T60" fmla="*/ 192 w 666"/>
                <a:gd name="T61" fmla="*/ 392 h 666"/>
                <a:gd name="T62" fmla="*/ 214 w 666"/>
                <a:gd name="T63" fmla="*/ 430 h 666"/>
                <a:gd name="T64" fmla="*/ 248 w 666"/>
                <a:gd name="T65" fmla="*/ 460 h 666"/>
                <a:gd name="T66" fmla="*/ 288 w 666"/>
                <a:gd name="T67" fmla="*/ 480 h 666"/>
                <a:gd name="T68" fmla="*/ 334 w 666"/>
                <a:gd name="T69" fmla="*/ 486 h 666"/>
                <a:gd name="T70" fmla="*/ 364 w 666"/>
                <a:gd name="T71" fmla="*/ 484 h 666"/>
                <a:gd name="T72" fmla="*/ 406 w 666"/>
                <a:gd name="T73" fmla="*/ 468 h 666"/>
                <a:gd name="T74" fmla="*/ 442 w 666"/>
                <a:gd name="T75" fmla="*/ 442 h 666"/>
                <a:gd name="T76" fmla="*/ 468 w 666"/>
                <a:gd name="T77" fmla="*/ 406 h 666"/>
                <a:gd name="T78" fmla="*/ 484 w 666"/>
                <a:gd name="T79" fmla="*/ 364 h 666"/>
                <a:gd name="T80" fmla="*/ 488 w 666"/>
                <a:gd name="T81" fmla="*/ 334 h 666"/>
                <a:gd name="T82" fmla="*/ 480 w 666"/>
                <a:gd name="T83" fmla="*/ 288 h 666"/>
                <a:gd name="T84" fmla="*/ 462 w 666"/>
                <a:gd name="T85" fmla="*/ 248 h 666"/>
                <a:gd name="T86" fmla="*/ 432 w 666"/>
                <a:gd name="T87" fmla="*/ 214 h 666"/>
                <a:gd name="T88" fmla="*/ 394 w 666"/>
                <a:gd name="T89" fmla="*/ 192 h 666"/>
                <a:gd name="T90" fmla="*/ 350 w 666"/>
                <a:gd name="T91" fmla="*/ 180 h 666"/>
                <a:gd name="T92" fmla="*/ 334 w 666"/>
                <a:gd name="T93" fmla="*/ 18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66" h="666">
                  <a:moveTo>
                    <a:pt x="334" y="666"/>
                  </a:moveTo>
                  <a:lnTo>
                    <a:pt x="334" y="666"/>
                  </a:lnTo>
                  <a:lnTo>
                    <a:pt x="300" y="664"/>
                  </a:lnTo>
                  <a:lnTo>
                    <a:pt x="266" y="660"/>
                  </a:lnTo>
                  <a:lnTo>
                    <a:pt x="234" y="652"/>
                  </a:lnTo>
                  <a:lnTo>
                    <a:pt x="204" y="640"/>
                  </a:lnTo>
                  <a:lnTo>
                    <a:pt x="174" y="626"/>
                  </a:lnTo>
                  <a:lnTo>
                    <a:pt x="148" y="610"/>
                  </a:lnTo>
                  <a:lnTo>
                    <a:pt x="122" y="590"/>
                  </a:lnTo>
                  <a:lnTo>
                    <a:pt x="98" y="568"/>
                  </a:lnTo>
                  <a:lnTo>
                    <a:pt x="76" y="544"/>
                  </a:lnTo>
                  <a:lnTo>
                    <a:pt x="58" y="520"/>
                  </a:lnTo>
                  <a:lnTo>
                    <a:pt x="40" y="492"/>
                  </a:lnTo>
                  <a:lnTo>
                    <a:pt x="26" y="462"/>
                  </a:lnTo>
                  <a:lnTo>
                    <a:pt x="16" y="432"/>
                  </a:lnTo>
                  <a:lnTo>
                    <a:pt x="8" y="400"/>
                  </a:lnTo>
                  <a:lnTo>
                    <a:pt x="2" y="368"/>
                  </a:lnTo>
                  <a:lnTo>
                    <a:pt x="0" y="334"/>
                  </a:lnTo>
                  <a:lnTo>
                    <a:pt x="0" y="334"/>
                  </a:lnTo>
                  <a:lnTo>
                    <a:pt x="2" y="300"/>
                  </a:lnTo>
                  <a:lnTo>
                    <a:pt x="8" y="266"/>
                  </a:lnTo>
                  <a:lnTo>
                    <a:pt x="16" y="234"/>
                  </a:lnTo>
                  <a:lnTo>
                    <a:pt x="26" y="204"/>
                  </a:lnTo>
                  <a:lnTo>
                    <a:pt x="40" y="174"/>
                  </a:lnTo>
                  <a:lnTo>
                    <a:pt x="58" y="146"/>
                  </a:lnTo>
                  <a:lnTo>
                    <a:pt x="76" y="122"/>
                  </a:lnTo>
                  <a:lnTo>
                    <a:pt x="98" y="98"/>
                  </a:lnTo>
                  <a:lnTo>
                    <a:pt x="122" y="76"/>
                  </a:lnTo>
                  <a:lnTo>
                    <a:pt x="148" y="56"/>
                  </a:lnTo>
                  <a:lnTo>
                    <a:pt x="174" y="40"/>
                  </a:lnTo>
                  <a:lnTo>
                    <a:pt x="204" y="26"/>
                  </a:lnTo>
                  <a:lnTo>
                    <a:pt x="234" y="14"/>
                  </a:lnTo>
                  <a:lnTo>
                    <a:pt x="266" y="6"/>
                  </a:lnTo>
                  <a:lnTo>
                    <a:pt x="300" y="2"/>
                  </a:lnTo>
                  <a:lnTo>
                    <a:pt x="334" y="0"/>
                  </a:lnTo>
                  <a:lnTo>
                    <a:pt x="334" y="0"/>
                  </a:lnTo>
                  <a:lnTo>
                    <a:pt x="368" y="2"/>
                  </a:lnTo>
                  <a:lnTo>
                    <a:pt x="400" y="6"/>
                  </a:lnTo>
                  <a:lnTo>
                    <a:pt x="432" y="14"/>
                  </a:lnTo>
                  <a:lnTo>
                    <a:pt x="464" y="26"/>
                  </a:lnTo>
                  <a:lnTo>
                    <a:pt x="492" y="40"/>
                  </a:lnTo>
                  <a:lnTo>
                    <a:pt x="520" y="56"/>
                  </a:lnTo>
                  <a:lnTo>
                    <a:pt x="546" y="76"/>
                  </a:lnTo>
                  <a:lnTo>
                    <a:pt x="568" y="98"/>
                  </a:lnTo>
                  <a:lnTo>
                    <a:pt x="590" y="122"/>
                  </a:lnTo>
                  <a:lnTo>
                    <a:pt x="610" y="146"/>
                  </a:lnTo>
                  <a:lnTo>
                    <a:pt x="626" y="174"/>
                  </a:lnTo>
                  <a:lnTo>
                    <a:pt x="640" y="204"/>
                  </a:lnTo>
                  <a:lnTo>
                    <a:pt x="652" y="234"/>
                  </a:lnTo>
                  <a:lnTo>
                    <a:pt x="660" y="266"/>
                  </a:lnTo>
                  <a:lnTo>
                    <a:pt x="664" y="300"/>
                  </a:lnTo>
                  <a:lnTo>
                    <a:pt x="666" y="334"/>
                  </a:lnTo>
                  <a:lnTo>
                    <a:pt x="666" y="334"/>
                  </a:lnTo>
                  <a:lnTo>
                    <a:pt x="664" y="368"/>
                  </a:lnTo>
                  <a:lnTo>
                    <a:pt x="660" y="400"/>
                  </a:lnTo>
                  <a:lnTo>
                    <a:pt x="652" y="432"/>
                  </a:lnTo>
                  <a:lnTo>
                    <a:pt x="640" y="462"/>
                  </a:lnTo>
                  <a:lnTo>
                    <a:pt x="626" y="492"/>
                  </a:lnTo>
                  <a:lnTo>
                    <a:pt x="610" y="520"/>
                  </a:lnTo>
                  <a:lnTo>
                    <a:pt x="590" y="544"/>
                  </a:lnTo>
                  <a:lnTo>
                    <a:pt x="568" y="568"/>
                  </a:lnTo>
                  <a:lnTo>
                    <a:pt x="546" y="590"/>
                  </a:lnTo>
                  <a:lnTo>
                    <a:pt x="520" y="610"/>
                  </a:lnTo>
                  <a:lnTo>
                    <a:pt x="492" y="626"/>
                  </a:lnTo>
                  <a:lnTo>
                    <a:pt x="464" y="640"/>
                  </a:lnTo>
                  <a:lnTo>
                    <a:pt x="432" y="652"/>
                  </a:lnTo>
                  <a:lnTo>
                    <a:pt x="400" y="660"/>
                  </a:lnTo>
                  <a:lnTo>
                    <a:pt x="368" y="664"/>
                  </a:lnTo>
                  <a:lnTo>
                    <a:pt x="334" y="666"/>
                  </a:lnTo>
                  <a:lnTo>
                    <a:pt x="334" y="666"/>
                  </a:lnTo>
                  <a:close/>
                  <a:moveTo>
                    <a:pt x="334" y="180"/>
                  </a:moveTo>
                  <a:lnTo>
                    <a:pt x="334" y="180"/>
                  </a:lnTo>
                  <a:lnTo>
                    <a:pt x="318" y="180"/>
                  </a:lnTo>
                  <a:lnTo>
                    <a:pt x="302" y="182"/>
                  </a:lnTo>
                  <a:lnTo>
                    <a:pt x="288" y="186"/>
                  </a:lnTo>
                  <a:lnTo>
                    <a:pt x="274" y="192"/>
                  </a:lnTo>
                  <a:lnTo>
                    <a:pt x="260" y="198"/>
                  </a:lnTo>
                  <a:lnTo>
                    <a:pt x="248" y="206"/>
                  </a:lnTo>
                  <a:lnTo>
                    <a:pt x="236" y="214"/>
                  </a:lnTo>
                  <a:lnTo>
                    <a:pt x="224" y="224"/>
                  </a:lnTo>
                  <a:lnTo>
                    <a:pt x="214" y="236"/>
                  </a:lnTo>
                  <a:lnTo>
                    <a:pt x="206" y="248"/>
                  </a:lnTo>
                  <a:lnTo>
                    <a:pt x="198" y="260"/>
                  </a:lnTo>
                  <a:lnTo>
                    <a:pt x="192" y="274"/>
                  </a:lnTo>
                  <a:lnTo>
                    <a:pt x="186" y="288"/>
                  </a:lnTo>
                  <a:lnTo>
                    <a:pt x="182" y="302"/>
                  </a:lnTo>
                  <a:lnTo>
                    <a:pt x="180" y="318"/>
                  </a:lnTo>
                  <a:lnTo>
                    <a:pt x="180" y="334"/>
                  </a:lnTo>
                  <a:lnTo>
                    <a:pt x="180" y="334"/>
                  </a:lnTo>
                  <a:lnTo>
                    <a:pt x="180" y="348"/>
                  </a:lnTo>
                  <a:lnTo>
                    <a:pt x="182" y="364"/>
                  </a:lnTo>
                  <a:lnTo>
                    <a:pt x="186" y="378"/>
                  </a:lnTo>
                  <a:lnTo>
                    <a:pt x="192" y="392"/>
                  </a:lnTo>
                  <a:lnTo>
                    <a:pt x="198" y="406"/>
                  </a:lnTo>
                  <a:lnTo>
                    <a:pt x="206" y="420"/>
                  </a:lnTo>
                  <a:lnTo>
                    <a:pt x="214" y="430"/>
                  </a:lnTo>
                  <a:lnTo>
                    <a:pt x="224" y="442"/>
                  </a:lnTo>
                  <a:lnTo>
                    <a:pt x="236" y="452"/>
                  </a:lnTo>
                  <a:lnTo>
                    <a:pt x="248" y="460"/>
                  </a:lnTo>
                  <a:lnTo>
                    <a:pt x="260" y="468"/>
                  </a:lnTo>
                  <a:lnTo>
                    <a:pt x="274" y="474"/>
                  </a:lnTo>
                  <a:lnTo>
                    <a:pt x="288" y="480"/>
                  </a:lnTo>
                  <a:lnTo>
                    <a:pt x="302" y="484"/>
                  </a:lnTo>
                  <a:lnTo>
                    <a:pt x="318" y="486"/>
                  </a:lnTo>
                  <a:lnTo>
                    <a:pt x="334" y="486"/>
                  </a:lnTo>
                  <a:lnTo>
                    <a:pt x="334" y="486"/>
                  </a:lnTo>
                  <a:lnTo>
                    <a:pt x="350" y="486"/>
                  </a:lnTo>
                  <a:lnTo>
                    <a:pt x="364" y="484"/>
                  </a:lnTo>
                  <a:lnTo>
                    <a:pt x="380" y="480"/>
                  </a:lnTo>
                  <a:lnTo>
                    <a:pt x="394" y="474"/>
                  </a:lnTo>
                  <a:lnTo>
                    <a:pt x="406" y="468"/>
                  </a:lnTo>
                  <a:lnTo>
                    <a:pt x="420" y="460"/>
                  </a:lnTo>
                  <a:lnTo>
                    <a:pt x="432" y="452"/>
                  </a:lnTo>
                  <a:lnTo>
                    <a:pt x="442" y="442"/>
                  </a:lnTo>
                  <a:lnTo>
                    <a:pt x="452" y="430"/>
                  </a:lnTo>
                  <a:lnTo>
                    <a:pt x="462" y="420"/>
                  </a:lnTo>
                  <a:lnTo>
                    <a:pt x="468" y="406"/>
                  </a:lnTo>
                  <a:lnTo>
                    <a:pt x="476" y="392"/>
                  </a:lnTo>
                  <a:lnTo>
                    <a:pt x="480" y="378"/>
                  </a:lnTo>
                  <a:lnTo>
                    <a:pt x="484" y="364"/>
                  </a:lnTo>
                  <a:lnTo>
                    <a:pt x="486" y="348"/>
                  </a:lnTo>
                  <a:lnTo>
                    <a:pt x="488" y="334"/>
                  </a:lnTo>
                  <a:lnTo>
                    <a:pt x="488" y="334"/>
                  </a:lnTo>
                  <a:lnTo>
                    <a:pt x="486" y="318"/>
                  </a:lnTo>
                  <a:lnTo>
                    <a:pt x="484" y="302"/>
                  </a:lnTo>
                  <a:lnTo>
                    <a:pt x="480" y="288"/>
                  </a:lnTo>
                  <a:lnTo>
                    <a:pt x="476" y="274"/>
                  </a:lnTo>
                  <a:lnTo>
                    <a:pt x="468" y="260"/>
                  </a:lnTo>
                  <a:lnTo>
                    <a:pt x="462" y="248"/>
                  </a:lnTo>
                  <a:lnTo>
                    <a:pt x="452" y="236"/>
                  </a:lnTo>
                  <a:lnTo>
                    <a:pt x="442" y="224"/>
                  </a:lnTo>
                  <a:lnTo>
                    <a:pt x="432" y="214"/>
                  </a:lnTo>
                  <a:lnTo>
                    <a:pt x="420" y="206"/>
                  </a:lnTo>
                  <a:lnTo>
                    <a:pt x="406" y="198"/>
                  </a:lnTo>
                  <a:lnTo>
                    <a:pt x="394" y="192"/>
                  </a:lnTo>
                  <a:lnTo>
                    <a:pt x="380" y="186"/>
                  </a:lnTo>
                  <a:lnTo>
                    <a:pt x="364" y="182"/>
                  </a:lnTo>
                  <a:lnTo>
                    <a:pt x="350" y="180"/>
                  </a:lnTo>
                  <a:lnTo>
                    <a:pt x="334" y="180"/>
                  </a:lnTo>
                  <a:lnTo>
                    <a:pt x="334" y="180"/>
                  </a:lnTo>
                  <a:close/>
                  <a:moveTo>
                    <a:pt x="334" y="180"/>
                  </a:moveTo>
                  <a:lnTo>
                    <a:pt x="334" y="18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8" name="Line 84">
              <a:extLst>
                <a:ext uri="{FF2B5EF4-FFF2-40B4-BE49-F238E27FC236}">
                  <a16:creationId xmlns:a16="http://schemas.microsoft.com/office/drawing/2014/main" id="{45A55C06-9018-4EA3-B3ED-EFE11CBF04DF}"/>
                </a:ext>
              </a:extLst>
            </p:cNvPr>
            <p:cNvSpPr>
              <a:spLocks noChangeShapeType="1"/>
            </p:cNvSpPr>
            <p:nvPr/>
          </p:nvSpPr>
          <p:spPr bwMode="auto">
            <a:xfrm>
              <a:off x="-4473575" y="223837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85">
              <a:extLst>
                <a:ext uri="{FF2B5EF4-FFF2-40B4-BE49-F238E27FC236}">
                  <a16:creationId xmlns:a16="http://schemas.microsoft.com/office/drawing/2014/main" id="{174A2FC2-D6CE-4CEC-8AAC-EECA779AAEF8}"/>
                </a:ext>
              </a:extLst>
            </p:cNvPr>
            <p:cNvSpPr>
              <a:spLocks noEditPoints="1"/>
            </p:cNvSpPr>
            <p:nvPr/>
          </p:nvSpPr>
          <p:spPr bwMode="auto">
            <a:xfrm>
              <a:off x="-2974975" y="5730875"/>
              <a:ext cx="1130300" cy="1127125"/>
            </a:xfrm>
            <a:custGeom>
              <a:avLst/>
              <a:gdLst>
                <a:gd name="T0" fmla="*/ 320 w 712"/>
                <a:gd name="T1" fmla="*/ 708 h 710"/>
                <a:gd name="T2" fmla="*/ 218 w 712"/>
                <a:gd name="T3" fmla="*/ 682 h 710"/>
                <a:gd name="T4" fmla="*/ 130 w 712"/>
                <a:gd name="T5" fmla="*/ 630 h 710"/>
                <a:gd name="T6" fmla="*/ 62 w 712"/>
                <a:gd name="T7" fmla="*/ 554 h 710"/>
                <a:gd name="T8" fmla="*/ 16 w 712"/>
                <a:gd name="T9" fmla="*/ 460 h 710"/>
                <a:gd name="T10" fmla="*/ 0 w 712"/>
                <a:gd name="T11" fmla="*/ 356 h 710"/>
                <a:gd name="T12" fmla="*/ 8 w 712"/>
                <a:gd name="T13" fmla="*/ 284 h 710"/>
                <a:gd name="T14" fmla="*/ 44 w 712"/>
                <a:gd name="T15" fmla="*/ 186 h 710"/>
                <a:gd name="T16" fmla="*/ 104 w 712"/>
                <a:gd name="T17" fmla="*/ 104 h 710"/>
                <a:gd name="T18" fmla="*/ 186 w 712"/>
                <a:gd name="T19" fmla="*/ 42 h 710"/>
                <a:gd name="T20" fmla="*/ 284 w 712"/>
                <a:gd name="T21" fmla="*/ 8 h 710"/>
                <a:gd name="T22" fmla="*/ 356 w 712"/>
                <a:gd name="T23" fmla="*/ 0 h 710"/>
                <a:gd name="T24" fmla="*/ 462 w 712"/>
                <a:gd name="T25" fmla="*/ 16 h 710"/>
                <a:gd name="T26" fmla="*/ 554 w 712"/>
                <a:gd name="T27" fmla="*/ 60 h 710"/>
                <a:gd name="T28" fmla="*/ 630 w 712"/>
                <a:gd name="T29" fmla="*/ 130 h 710"/>
                <a:gd name="T30" fmla="*/ 684 w 712"/>
                <a:gd name="T31" fmla="*/ 218 h 710"/>
                <a:gd name="T32" fmla="*/ 710 w 712"/>
                <a:gd name="T33" fmla="*/ 320 h 710"/>
                <a:gd name="T34" fmla="*/ 710 w 712"/>
                <a:gd name="T35" fmla="*/ 392 h 710"/>
                <a:gd name="T36" fmla="*/ 684 w 712"/>
                <a:gd name="T37" fmla="*/ 494 h 710"/>
                <a:gd name="T38" fmla="*/ 630 w 712"/>
                <a:gd name="T39" fmla="*/ 582 h 710"/>
                <a:gd name="T40" fmla="*/ 554 w 712"/>
                <a:gd name="T41" fmla="*/ 650 h 710"/>
                <a:gd name="T42" fmla="*/ 462 w 712"/>
                <a:gd name="T43" fmla="*/ 694 h 710"/>
                <a:gd name="T44" fmla="*/ 356 w 712"/>
                <a:gd name="T45" fmla="*/ 710 h 710"/>
                <a:gd name="T46" fmla="*/ 356 w 712"/>
                <a:gd name="T47" fmla="*/ 180 h 710"/>
                <a:gd name="T48" fmla="*/ 304 w 712"/>
                <a:gd name="T49" fmla="*/ 188 h 710"/>
                <a:gd name="T50" fmla="*/ 258 w 712"/>
                <a:gd name="T51" fmla="*/ 210 h 710"/>
                <a:gd name="T52" fmla="*/ 220 w 712"/>
                <a:gd name="T53" fmla="*/ 244 h 710"/>
                <a:gd name="T54" fmla="*/ 194 w 712"/>
                <a:gd name="T55" fmla="*/ 286 h 710"/>
                <a:gd name="T56" fmla="*/ 180 w 712"/>
                <a:gd name="T57" fmla="*/ 338 h 710"/>
                <a:gd name="T58" fmla="*/ 180 w 712"/>
                <a:gd name="T59" fmla="*/ 374 h 710"/>
                <a:gd name="T60" fmla="*/ 194 w 712"/>
                <a:gd name="T61" fmla="*/ 424 h 710"/>
                <a:gd name="T62" fmla="*/ 220 w 712"/>
                <a:gd name="T63" fmla="*/ 468 h 710"/>
                <a:gd name="T64" fmla="*/ 258 w 712"/>
                <a:gd name="T65" fmla="*/ 502 h 710"/>
                <a:gd name="T66" fmla="*/ 304 w 712"/>
                <a:gd name="T67" fmla="*/ 524 h 710"/>
                <a:gd name="T68" fmla="*/ 356 w 712"/>
                <a:gd name="T69" fmla="*/ 532 h 710"/>
                <a:gd name="T70" fmla="*/ 392 w 712"/>
                <a:gd name="T71" fmla="*/ 528 h 710"/>
                <a:gd name="T72" fmla="*/ 440 w 712"/>
                <a:gd name="T73" fmla="*/ 510 h 710"/>
                <a:gd name="T74" fmla="*/ 480 w 712"/>
                <a:gd name="T75" fmla="*/ 480 h 710"/>
                <a:gd name="T76" fmla="*/ 510 w 712"/>
                <a:gd name="T77" fmla="*/ 440 h 710"/>
                <a:gd name="T78" fmla="*/ 528 w 712"/>
                <a:gd name="T79" fmla="*/ 390 h 710"/>
                <a:gd name="T80" fmla="*/ 532 w 712"/>
                <a:gd name="T81" fmla="*/ 356 h 710"/>
                <a:gd name="T82" fmla="*/ 524 w 712"/>
                <a:gd name="T83" fmla="*/ 304 h 710"/>
                <a:gd name="T84" fmla="*/ 502 w 712"/>
                <a:gd name="T85" fmla="*/ 256 h 710"/>
                <a:gd name="T86" fmla="*/ 468 w 712"/>
                <a:gd name="T87" fmla="*/ 220 h 710"/>
                <a:gd name="T88" fmla="*/ 424 w 712"/>
                <a:gd name="T89" fmla="*/ 194 h 710"/>
                <a:gd name="T90" fmla="*/ 374 w 712"/>
                <a:gd name="T91" fmla="*/ 180 h 710"/>
                <a:gd name="T92" fmla="*/ 356 w 712"/>
                <a:gd name="T93" fmla="*/ 18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12" h="710">
                  <a:moveTo>
                    <a:pt x="356" y="710"/>
                  </a:moveTo>
                  <a:lnTo>
                    <a:pt x="356" y="710"/>
                  </a:lnTo>
                  <a:lnTo>
                    <a:pt x="320" y="708"/>
                  </a:lnTo>
                  <a:lnTo>
                    <a:pt x="284" y="704"/>
                  </a:lnTo>
                  <a:lnTo>
                    <a:pt x="250" y="694"/>
                  </a:lnTo>
                  <a:lnTo>
                    <a:pt x="218" y="682"/>
                  </a:lnTo>
                  <a:lnTo>
                    <a:pt x="186" y="668"/>
                  </a:lnTo>
                  <a:lnTo>
                    <a:pt x="158" y="650"/>
                  </a:lnTo>
                  <a:lnTo>
                    <a:pt x="130" y="630"/>
                  </a:lnTo>
                  <a:lnTo>
                    <a:pt x="104" y="606"/>
                  </a:lnTo>
                  <a:lnTo>
                    <a:pt x="82" y="582"/>
                  </a:lnTo>
                  <a:lnTo>
                    <a:pt x="62" y="554"/>
                  </a:lnTo>
                  <a:lnTo>
                    <a:pt x="44" y="524"/>
                  </a:lnTo>
                  <a:lnTo>
                    <a:pt x="28" y="494"/>
                  </a:lnTo>
                  <a:lnTo>
                    <a:pt x="16" y="460"/>
                  </a:lnTo>
                  <a:lnTo>
                    <a:pt x="8" y="426"/>
                  </a:lnTo>
                  <a:lnTo>
                    <a:pt x="2" y="392"/>
                  </a:lnTo>
                  <a:lnTo>
                    <a:pt x="0" y="356"/>
                  </a:lnTo>
                  <a:lnTo>
                    <a:pt x="0" y="356"/>
                  </a:lnTo>
                  <a:lnTo>
                    <a:pt x="2" y="320"/>
                  </a:lnTo>
                  <a:lnTo>
                    <a:pt x="8" y="284"/>
                  </a:lnTo>
                  <a:lnTo>
                    <a:pt x="16" y="250"/>
                  </a:lnTo>
                  <a:lnTo>
                    <a:pt x="28" y="218"/>
                  </a:lnTo>
                  <a:lnTo>
                    <a:pt x="44" y="186"/>
                  </a:lnTo>
                  <a:lnTo>
                    <a:pt x="62" y="156"/>
                  </a:lnTo>
                  <a:lnTo>
                    <a:pt x="82" y="130"/>
                  </a:lnTo>
                  <a:lnTo>
                    <a:pt x="104" y="104"/>
                  </a:lnTo>
                  <a:lnTo>
                    <a:pt x="130" y="82"/>
                  </a:lnTo>
                  <a:lnTo>
                    <a:pt x="158" y="60"/>
                  </a:lnTo>
                  <a:lnTo>
                    <a:pt x="186" y="42"/>
                  </a:lnTo>
                  <a:lnTo>
                    <a:pt x="218" y="28"/>
                  </a:lnTo>
                  <a:lnTo>
                    <a:pt x="250" y="16"/>
                  </a:lnTo>
                  <a:lnTo>
                    <a:pt x="284" y="8"/>
                  </a:lnTo>
                  <a:lnTo>
                    <a:pt x="320" y="2"/>
                  </a:lnTo>
                  <a:lnTo>
                    <a:pt x="356" y="0"/>
                  </a:lnTo>
                  <a:lnTo>
                    <a:pt x="356" y="0"/>
                  </a:lnTo>
                  <a:lnTo>
                    <a:pt x="392" y="2"/>
                  </a:lnTo>
                  <a:lnTo>
                    <a:pt x="428" y="8"/>
                  </a:lnTo>
                  <a:lnTo>
                    <a:pt x="462" y="16"/>
                  </a:lnTo>
                  <a:lnTo>
                    <a:pt x="494" y="28"/>
                  </a:lnTo>
                  <a:lnTo>
                    <a:pt x="526" y="42"/>
                  </a:lnTo>
                  <a:lnTo>
                    <a:pt x="554" y="60"/>
                  </a:lnTo>
                  <a:lnTo>
                    <a:pt x="582" y="82"/>
                  </a:lnTo>
                  <a:lnTo>
                    <a:pt x="608" y="104"/>
                  </a:lnTo>
                  <a:lnTo>
                    <a:pt x="630" y="130"/>
                  </a:lnTo>
                  <a:lnTo>
                    <a:pt x="650" y="156"/>
                  </a:lnTo>
                  <a:lnTo>
                    <a:pt x="668" y="186"/>
                  </a:lnTo>
                  <a:lnTo>
                    <a:pt x="684" y="218"/>
                  </a:lnTo>
                  <a:lnTo>
                    <a:pt x="696" y="250"/>
                  </a:lnTo>
                  <a:lnTo>
                    <a:pt x="704" y="284"/>
                  </a:lnTo>
                  <a:lnTo>
                    <a:pt x="710" y="320"/>
                  </a:lnTo>
                  <a:lnTo>
                    <a:pt x="712" y="356"/>
                  </a:lnTo>
                  <a:lnTo>
                    <a:pt x="712" y="356"/>
                  </a:lnTo>
                  <a:lnTo>
                    <a:pt x="710" y="392"/>
                  </a:lnTo>
                  <a:lnTo>
                    <a:pt x="704" y="426"/>
                  </a:lnTo>
                  <a:lnTo>
                    <a:pt x="696" y="460"/>
                  </a:lnTo>
                  <a:lnTo>
                    <a:pt x="684" y="494"/>
                  </a:lnTo>
                  <a:lnTo>
                    <a:pt x="668" y="524"/>
                  </a:lnTo>
                  <a:lnTo>
                    <a:pt x="650" y="554"/>
                  </a:lnTo>
                  <a:lnTo>
                    <a:pt x="630" y="582"/>
                  </a:lnTo>
                  <a:lnTo>
                    <a:pt x="608" y="606"/>
                  </a:lnTo>
                  <a:lnTo>
                    <a:pt x="582" y="630"/>
                  </a:lnTo>
                  <a:lnTo>
                    <a:pt x="554" y="650"/>
                  </a:lnTo>
                  <a:lnTo>
                    <a:pt x="526" y="668"/>
                  </a:lnTo>
                  <a:lnTo>
                    <a:pt x="494" y="682"/>
                  </a:lnTo>
                  <a:lnTo>
                    <a:pt x="462" y="694"/>
                  </a:lnTo>
                  <a:lnTo>
                    <a:pt x="428" y="704"/>
                  </a:lnTo>
                  <a:lnTo>
                    <a:pt x="392" y="708"/>
                  </a:lnTo>
                  <a:lnTo>
                    <a:pt x="356" y="710"/>
                  </a:lnTo>
                  <a:lnTo>
                    <a:pt x="356" y="710"/>
                  </a:lnTo>
                  <a:close/>
                  <a:moveTo>
                    <a:pt x="356" y="180"/>
                  </a:moveTo>
                  <a:lnTo>
                    <a:pt x="356" y="180"/>
                  </a:lnTo>
                  <a:lnTo>
                    <a:pt x="338" y="180"/>
                  </a:lnTo>
                  <a:lnTo>
                    <a:pt x="320" y="182"/>
                  </a:lnTo>
                  <a:lnTo>
                    <a:pt x="304" y="188"/>
                  </a:lnTo>
                  <a:lnTo>
                    <a:pt x="288" y="194"/>
                  </a:lnTo>
                  <a:lnTo>
                    <a:pt x="272" y="200"/>
                  </a:lnTo>
                  <a:lnTo>
                    <a:pt x="258" y="210"/>
                  </a:lnTo>
                  <a:lnTo>
                    <a:pt x="244" y="220"/>
                  </a:lnTo>
                  <a:lnTo>
                    <a:pt x="232" y="230"/>
                  </a:lnTo>
                  <a:lnTo>
                    <a:pt x="220" y="244"/>
                  </a:lnTo>
                  <a:lnTo>
                    <a:pt x="210" y="256"/>
                  </a:lnTo>
                  <a:lnTo>
                    <a:pt x="202" y="272"/>
                  </a:lnTo>
                  <a:lnTo>
                    <a:pt x="194" y="286"/>
                  </a:lnTo>
                  <a:lnTo>
                    <a:pt x="188" y="304"/>
                  </a:lnTo>
                  <a:lnTo>
                    <a:pt x="184" y="320"/>
                  </a:lnTo>
                  <a:lnTo>
                    <a:pt x="180" y="338"/>
                  </a:lnTo>
                  <a:lnTo>
                    <a:pt x="180" y="356"/>
                  </a:lnTo>
                  <a:lnTo>
                    <a:pt x="180" y="356"/>
                  </a:lnTo>
                  <a:lnTo>
                    <a:pt x="180" y="374"/>
                  </a:lnTo>
                  <a:lnTo>
                    <a:pt x="184" y="390"/>
                  </a:lnTo>
                  <a:lnTo>
                    <a:pt x="188" y="408"/>
                  </a:lnTo>
                  <a:lnTo>
                    <a:pt x="194" y="424"/>
                  </a:lnTo>
                  <a:lnTo>
                    <a:pt x="202" y="440"/>
                  </a:lnTo>
                  <a:lnTo>
                    <a:pt x="210" y="454"/>
                  </a:lnTo>
                  <a:lnTo>
                    <a:pt x="220" y="468"/>
                  </a:lnTo>
                  <a:lnTo>
                    <a:pt x="232" y="480"/>
                  </a:lnTo>
                  <a:lnTo>
                    <a:pt x="244" y="492"/>
                  </a:lnTo>
                  <a:lnTo>
                    <a:pt x="258" y="502"/>
                  </a:lnTo>
                  <a:lnTo>
                    <a:pt x="272" y="510"/>
                  </a:lnTo>
                  <a:lnTo>
                    <a:pt x="288" y="518"/>
                  </a:lnTo>
                  <a:lnTo>
                    <a:pt x="304" y="524"/>
                  </a:lnTo>
                  <a:lnTo>
                    <a:pt x="320" y="528"/>
                  </a:lnTo>
                  <a:lnTo>
                    <a:pt x="338" y="530"/>
                  </a:lnTo>
                  <a:lnTo>
                    <a:pt x="356" y="532"/>
                  </a:lnTo>
                  <a:lnTo>
                    <a:pt x="356" y="532"/>
                  </a:lnTo>
                  <a:lnTo>
                    <a:pt x="374" y="530"/>
                  </a:lnTo>
                  <a:lnTo>
                    <a:pt x="392" y="528"/>
                  </a:lnTo>
                  <a:lnTo>
                    <a:pt x="408" y="524"/>
                  </a:lnTo>
                  <a:lnTo>
                    <a:pt x="424" y="518"/>
                  </a:lnTo>
                  <a:lnTo>
                    <a:pt x="440" y="510"/>
                  </a:lnTo>
                  <a:lnTo>
                    <a:pt x="454" y="502"/>
                  </a:lnTo>
                  <a:lnTo>
                    <a:pt x="468" y="492"/>
                  </a:lnTo>
                  <a:lnTo>
                    <a:pt x="480" y="480"/>
                  </a:lnTo>
                  <a:lnTo>
                    <a:pt x="492" y="468"/>
                  </a:lnTo>
                  <a:lnTo>
                    <a:pt x="502" y="454"/>
                  </a:lnTo>
                  <a:lnTo>
                    <a:pt x="510" y="440"/>
                  </a:lnTo>
                  <a:lnTo>
                    <a:pt x="518" y="424"/>
                  </a:lnTo>
                  <a:lnTo>
                    <a:pt x="524" y="408"/>
                  </a:lnTo>
                  <a:lnTo>
                    <a:pt x="528" y="390"/>
                  </a:lnTo>
                  <a:lnTo>
                    <a:pt x="532" y="374"/>
                  </a:lnTo>
                  <a:lnTo>
                    <a:pt x="532" y="356"/>
                  </a:lnTo>
                  <a:lnTo>
                    <a:pt x="532" y="356"/>
                  </a:lnTo>
                  <a:lnTo>
                    <a:pt x="532" y="338"/>
                  </a:lnTo>
                  <a:lnTo>
                    <a:pt x="528" y="320"/>
                  </a:lnTo>
                  <a:lnTo>
                    <a:pt x="524" y="304"/>
                  </a:lnTo>
                  <a:lnTo>
                    <a:pt x="518" y="286"/>
                  </a:lnTo>
                  <a:lnTo>
                    <a:pt x="510" y="272"/>
                  </a:lnTo>
                  <a:lnTo>
                    <a:pt x="502" y="256"/>
                  </a:lnTo>
                  <a:lnTo>
                    <a:pt x="492" y="244"/>
                  </a:lnTo>
                  <a:lnTo>
                    <a:pt x="480" y="230"/>
                  </a:lnTo>
                  <a:lnTo>
                    <a:pt x="468" y="220"/>
                  </a:lnTo>
                  <a:lnTo>
                    <a:pt x="454" y="210"/>
                  </a:lnTo>
                  <a:lnTo>
                    <a:pt x="440" y="200"/>
                  </a:lnTo>
                  <a:lnTo>
                    <a:pt x="424" y="194"/>
                  </a:lnTo>
                  <a:lnTo>
                    <a:pt x="408" y="188"/>
                  </a:lnTo>
                  <a:lnTo>
                    <a:pt x="392" y="182"/>
                  </a:lnTo>
                  <a:lnTo>
                    <a:pt x="374" y="180"/>
                  </a:lnTo>
                  <a:lnTo>
                    <a:pt x="356" y="180"/>
                  </a:lnTo>
                  <a:lnTo>
                    <a:pt x="356" y="180"/>
                  </a:lnTo>
                  <a:close/>
                  <a:moveTo>
                    <a:pt x="356" y="180"/>
                  </a:moveTo>
                  <a:lnTo>
                    <a:pt x="356" y="18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0" name="Freeform 86">
              <a:extLst>
                <a:ext uri="{FF2B5EF4-FFF2-40B4-BE49-F238E27FC236}">
                  <a16:creationId xmlns:a16="http://schemas.microsoft.com/office/drawing/2014/main" id="{B23DF74B-BBF7-4E1D-BF90-65F9EE418155}"/>
                </a:ext>
              </a:extLst>
            </p:cNvPr>
            <p:cNvSpPr>
              <a:spLocks/>
            </p:cNvSpPr>
            <p:nvPr/>
          </p:nvSpPr>
          <p:spPr bwMode="auto">
            <a:xfrm>
              <a:off x="-2974975" y="5730875"/>
              <a:ext cx="1130300" cy="1127125"/>
            </a:xfrm>
            <a:custGeom>
              <a:avLst/>
              <a:gdLst>
                <a:gd name="T0" fmla="*/ 356 w 712"/>
                <a:gd name="T1" fmla="*/ 710 h 710"/>
                <a:gd name="T2" fmla="*/ 284 w 712"/>
                <a:gd name="T3" fmla="*/ 704 h 710"/>
                <a:gd name="T4" fmla="*/ 218 w 712"/>
                <a:gd name="T5" fmla="*/ 682 h 710"/>
                <a:gd name="T6" fmla="*/ 158 w 712"/>
                <a:gd name="T7" fmla="*/ 650 h 710"/>
                <a:gd name="T8" fmla="*/ 104 w 712"/>
                <a:gd name="T9" fmla="*/ 606 h 710"/>
                <a:gd name="T10" fmla="*/ 62 w 712"/>
                <a:gd name="T11" fmla="*/ 554 h 710"/>
                <a:gd name="T12" fmla="*/ 28 w 712"/>
                <a:gd name="T13" fmla="*/ 494 h 710"/>
                <a:gd name="T14" fmla="*/ 8 w 712"/>
                <a:gd name="T15" fmla="*/ 426 h 710"/>
                <a:gd name="T16" fmla="*/ 0 w 712"/>
                <a:gd name="T17" fmla="*/ 356 h 710"/>
                <a:gd name="T18" fmla="*/ 2 w 712"/>
                <a:gd name="T19" fmla="*/ 320 h 710"/>
                <a:gd name="T20" fmla="*/ 16 w 712"/>
                <a:gd name="T21" fmla="*/ 250 h 710"/>
                <a:gd name="T22" fmla="*/ 44 w 712"/>
                <a:gd name="T23" fmla="*/ 186 h 710"/>
                <a:gd name="T24" fmla="*/ 82 w 712"/>
                <a:gd name="T25" fmla="*/ 130 h 710"/>
                <a:gd name="T26" fmla="*/ 130 w 712"/>
                <a:gd name="T27" fmla="*/ 82 h 710"/>
                <a:gd name="T28" fmla="*/ 186 w 712"/>
                <a:gd name="T29" fmla="*/ 42 h 710"/>
                <a:gd name="T30" fmla="*/ 250 w 712"/>
                <a:gd name="T31" fmla="*/ 16 h 710"/>
                <a:gd name="T32" fmla="*/ 320 w 712"/>
                <a:gd name="T33" fmla="*/ 2 h 710"/>
                <a:gd name="T34" fmla="*/ 356 w 712"/>
                <a:gd name="T35" fmla="*/ 0 h 710"/>
                <a:gd name="T36" fmla="*/ 428 w 712"/>
                <a:gd name="T37" fmla="*/ 8 h 710"/>
                <a:gd name="T38" fmla="*/ 494 w 712"/>
                <a:gd name="T39" fmla="*/ 28 h 710"/>
                <a:gd name="T40" fmla="*/ 554 w 712"/>
                <a:gd name="T41" fmla="*/ 60 h 710"/>
                <a:gd name="T42" fmla="*/ 608 w 712"/>
                <a:gd name="T43" fmla="*/ 104 h 710"/>
                <a:gd name="T44" fmla="*/ 650 w 712"/>
                <a:gd name="T45" fmla="*/ 156 h 710"/>
                <a:gd name="T46" fmla="*/ 684 w 712"/>
                <a:gd name="T47" fmla="*/ 218 h 710"/>
                <a:gd name="T48" fmla="*/ 704 w 712"/>
                <a:gd name="T49" fmla="*/ 284 h 710"/>
                <a:gd name="T50" fmla="*/ 712 w 712"/>
                <a:gd name="T51" fmla="*/ 356 h 710"/>
                <a:gd name="T52" fmla="*/ 710 w 712"/>
                <a:gd name="T53" fmla="*/ 392 h 710"/>
                <a:gd name="T54" fmla="*/ 696 w 712"/>
                <a:gd name="T55" fmla="*/ 460 h 710"/>
                <a:gd name="T56" fmla="*/ 668 w 712"/>
                <a:gd name="T57" fmla="*/ 524 h 710"/>
                <a:gd name="T58" fmla="*/ 630 w 712"/>
                <a:gd name="T59" fmla="*/ 582 h 710"/>
                <a:gd name="T60" fmla="*/ 582 w 712"/>
                <a:gd name="T61" fmla="*/ 630 h 710"/>
                <a:gd name="T62" fmla="*/ 526 w 712"/>
                <a:gd name="T63" fmla="*/ 668 h 710"/>
                <a:gd name="T64" fmla="*/ 462 w 712"/>
                <a:gd name="T65" fmla="*/ 694 h 710"/>
                <a:gd name="T66" fmla="*/ 392 w 712"/>
                <a:gd name="T67" fmla="*/ 708 h 710"/>
                <a:gd name="T68" fmla="*/ 356 w 712"/>
                <a:gd name="T69" fmla="*/ 71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2" h="710">
                  <a:moveTo>
                    <a:pt x="356" y="710"/>
                  </a:moveTo>
                  <a:lnTo>
                    <a:pt x="356" y="710"/>
                  </a:lnTo>
                  <a:lnTo>
                    <a:pt x="320" y="708"/>
                  </a:lnTo>
                  <a:lnTo>
                    <a:pt x="284" y="704"/>
                  </a:lnTo>
                  <a:lnTo>
                    <a:pt x="250" y="694"/>
                  </a:lnTo>
                  <a:lnTo>
                    <a:pt x="218" y="682"/>
                  </a:lnTo>
                  <a:lnTo>
                    <a:pt x="186" y="668"/>
                  </a:lnTo>
                  <a:lnTo>
                    <a:pt x="158" y="650"/>
                  </a:lnTo>
                  <a:lnTo>
                    <a:pt x="130" y="630"/>
                  </a:lnTo>
                  <a:lnTo>
                    <a:pt x="104" y="606"/>
                  </a:lnTo>
                  <a:lnTo>
                    <a:pt x="82" y="582"/>
                  </a:lnTo>
                  <a:lnTo>
                    <a:pt x="62" y="554"/>
                  </a:lnTo>
                  <a:lnTo>
                    <a:pt x="44" y="524"/>
                  </a:lnTo>
                  <a:lnTo>
                    <a:pt x="28" y="494"/>
                  </a:lnTo>
                  <a:lnTo>
                    <a:pt x="16" y="460"/>
                  </a:lnTo>
                  <a:lnTo>
                    <a:pt x="8" y="426"/>
                  </a:lnTo>
                  <a:lnTo>
                    <a:pt x="2" y="392"/>
                  </a:lnTo>
                  <a:lnTo>
                    <a:pt x="0" y="356"/>
                  </a:lnTo>
                  <a:lnTo>
                    <a:pt x="0" y="356"/>
                  </a:lnTo>
                  <a:lnTo>
                    <a:pt x="2" y="320"/>
                  </a:lnTo>
                  <a:lnTo>
                    <a:pt x="8" y="284"/>
                  </a:lnTo>
                  <a:lnTo>
                    <a:pt x="16" y="250"/>
                  </a:lnTo>
                  <a:lnTo>
                    <a:pt x="28" y="218"/>
                  </a:lnTo>
                  <a:lnTo>
                    <a:pt x="44" y="186"/>
                  </a:lnTo>
                  <a:lnTo>
                    <a:pt x="62" y="156"/>
                  </a:lnTo>
                  <a:lnTo>
                    <a:pt x="82" y="130"/>
                  </a:lnTo>
                  <a:lnTo>
                    <a:pt x="104" y="104"/>
                  </a:lnTo>
                  <a:lnTo>
                    <a:pt x="130" y="82"/>
                  </a:lnTo>
                  <a:lnTo>
                    <a:pt x="158" y="60"/>
                  </a:lnTo>
                  <a:lnTo>
                    <a:pt x="186" y="42"/>
                  </a:lnTo>
                  <a:lnTo>
                    <a:pt x="218" y="28"/>
                  </a:lnTo>
                  <a:lnTo>
                    <a:pt x="250" y="16"/>
                  </a:lnTo>
                  <a:lnTo>
                    <a:pt x="284" y="8"/>
                  </a:lnTo>
                  <a:lnTo>
                    <a:pt x="320" y="2"/>
                  </a:lnTo>
                  <a:lnTo>
                    <a:pt x="356" y="0"/>
                  </a:lnTo>
                  <a:lnTo>
                    <a:pt x="356" y="0"/>
                  </a:lnTo>
                  <a:lnTo>
                    <a:pt x="392" y="2"/>
                  </a:lnTo>
                  <a:lnTo>
                    <a:pt x="428" y="8"/>
                  </a:lnTo>
                  <a:lnTo>
                    <a:pt x="462" y="16"/>
                  </a:lnTo>
                  <a:lnTo>
                    <a:pt x="494" y="28"/>
                  </a:lnTo>
                  <a:lnTo>
                    <a:pt x="526" y="42"/>
                  </a:lnTo>
                  <a:lnTo>
                    <a:pt x="554" y="60"/>
                  </a:lnTo>
                  <a:lnTo>
                    <a:pt x="582" y="82"/>
                  </a:lnTo>
                  <a:lnTo>
                    <a:pt x="608" y="104"/>
                  </a:lnTo>
                  <a:lnTo>
                    <a:pt x="630" y="130"/>
                  </a:lnTo>
                  <a:lnTo>
                    <a:pt x="650" y="156"/>
                  </a:lnTo>
                  <a:lnTo>
                    <a:pt x="668" y="186"/>
                  </a:lnTo>
                  <a:lnTo>
                    <a:pt x="684" y="218"/>
                  </a:lnTo>
                  <a:lnTo>
                    <a:pt x="696" y="250"/>
                  </a:lnTo>
                  <a:lnTo>
                    <a:pt x="704" y="284"/>
                  </a:lnTo>
                  <a:lnTo>
                    <a:pt x="710" y="320"/>
                  </a:lnTo>
                  <a:lnTo>
                    <a:pt x="712" y="356"/>
                  </a:lnTo>
                  <a:lnTo>
                    <a:pt x="712" y="356"/>
                  </a:lnTo>
                  <a:lnTo>
                    <a:pt x="710" y="392"/>
                  </a:lnTo>
                  <a:lnTo>
                    <a:pt x="704" y="426"/>
                  </a:lnTo>
                  <a:lnTo>
                    <a:pt x="696" y="460"/>
                  </a:lnTo>
                  <a:lnTo>
                    <a:pt x="684" y="494"/>
                  </a:lnTo>
                  <a:lnTo>
                    <a:pt x="668" y="524"/>
                  </a:lnTo>
                  <a:lnTo>
                    <a:pt x="650" y="554"/>
                  </a:lnTo>
                  <a:lnTo>
                    <a:pt x="630" y="582"/>
                  </a:lnTo>
                  <a:lnTo>
                    <a:pt x="608" y="606"/>
                  </a:lnTo>
                  <a:lnTo>
                    <a:pt x="582" y="630"/>
                  </a:lnTo>
                  <a:lnTo>
                    <a:pt x="554" y="650"/>
                  </a:lnTo>
                  <a:lnTo>
                    <a:pt x="526" y="668"/>
                  </a:lnTo>
                  <a:lnTo>
                    <a:pt x="494" y="682"/>
                  </a:lnTo>
                  <a:lnTo>
                    <a:pt x="462" y="694"/>
                  </a:lnTo>
                  <a:lnTo>
                    <a:pt x="428" y="704"/>
                  </a:lnTo>
                  <a:lnTo>
                    <a:pt x="392" y="708"/>
                  </a:lnTo>
                  <a:lnTo>
                    <a:pt x="356" y="710"/>
                  </a:lnTo>
                  <a:lnTo>
                    <a:pt x="356" y="7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87">
              <a:extLst>
                <a:ext uri="{FF2B5EF4-FFF2-40B4-BE49-F238E27FC236}">
                  <a16:creationId xmlns:a16="http://schemas.microsoft.com/office/drawing/2014/main" id="{A2FA51A0-A240-45F7-93A5-EAB46D188080}"/>
                </a:ext>
              </a:extLst>
            </p:cNvPr>
            <p:cNvSpPr>
              <a:spLocks/>
            </p:cNvSpPr>
            <p:nvPr/>
          </p:nvSpPr>
          <p:spPr bwMode="auto">
            <a:xfrm>
              <a:off x="-2689225" y="6016625"/>
              <a:ext cx="558800" cy="558800"/>
            </a:xfrm>
            <a:custGeom>
              <a:avLst/>
              <a:gdLst>
                <a:gd name="T0" fmla="*/ 176 w 352"/>
                <a:gd name="T1" fmla="*/ 0 h 352"/>
                <a:gd name="T2" fmla="*/ 140 w 352"/>
                <a:gd name="T3" fmla="*/ 2 h 352"/>
                <a:gd name="T4" fmla="*/ 108 w 352"/>
                <a:gd name="T5" fmla="*/ 14 h 352"/>
                <a:gd name="T6" fmla="*/ 78 w 352"/>
                <a:gd name="T7" fmla="*/ 30 h 352"/>
                <a:gd name="T8" fmla="*/ 52 w 352"/>
                <a:gd name="T9" fmla="*/ 50 h 352"/>
                <a:gd name="T10" fmla="*/ 30 w 352"/>
                <a:gd name="T11" fmla="*/ 76 h 352"/>
                <a:gd name="T12" fmla="*/ 14 w 352"/>
                <a:gd name="T13" fmla="*/ 106 h 352"/>
                <a:gd name="T14" fmla="*/ 4 w 352"/>
                <a:gd name="T15" fmla="*/ 140 h 352"/>
                <a:gd name="T16" fmla="*/ 0 w 352"/>
                <a:gd name="T17" fmla="*/ 176 h 352"/>
                <a:gd name="T18" fmla="*/ 0 w 352"/>
                <a:gd name="T19" fmla="*/ 194 h 352"/>
                <a:gd name="T20" fmla="*/ 8 w 352"/>
                <a:gd name="T21" fmla="*/ 228 h 352"/>
                <a:gd name="T22" fmla="*/ 22 w 352"/>
                <a:gd name="T23" fmla="*/ 260 h 352"/>
                <a:gd name="T24" fmla="*/ 40 w 352"/>
                <a:gd name="T25" fmla="*/ 288 h 352"/>
                <a:gd name="T26" fmla="*/ 64 w 352"/>
                <a:gd name="T27" fmla="*/ 312 h 352"/>
                <a:gd name="T28" fmla="*/ 92 w 352"/>
                <a:gd name="T29" fmla="*/ 330 h 352"/>
                <a:gd name="T30" fmla="*/ 124 w 352"/>
                <a:gd name="T31" fmla="*/ 344 h 352"/>
                <a:gd name="T32" fmla="*/ 158 w 352"/>
                <a:gd name="T33" fmla="*/ 350 h 352"/>
                <a:gd name="T34" fmla="*/ 176 w 352"/>
                <a:gd name="T35" fmla="*/ 352 h 352"/>
                <a:gd name="T36" fmla="*/ 212 w 352"/>
                <a:gd name="T37" fmla="*/ 348 h 352"/>
                <a:gd name="T38" fmla="*/ 244 w 352"/>
                <a:gd name="T39" fmla="*/ 338 h 352"/>
                <a:gd name="T40" fmla="*/ 274 w 352"/>
                <a:gd name="T41" fmla="*/ 322 h 352"/>
                <a:gd name="T42" fmla="*/ 300 w 352"/>
                <a:gd name="T43" fmla="*/ 300 h 352"/>
                <a:gd name="T44" fmla="*/ 322 w 352"/>
                <a:gd name="T45" fmla="*/ 274 h 352"/>
                <a:gd name="T46" fmla="*/ 338 w 352"/>
                <a:gd name="T47" fmla="*/ 244 h 352"/>
                <a:gd name="T48" fmla="*/ 348 w 352"/>
                <a:gd name="T49" fmla="*/ 210 h 352"/>
                <a:gd name="T50" fmla="*/ 352 w 352"/>
                <a:gd name="T51" fmla="*/ 176 h 352"/>
                <a:gd name="T52" fmla="*/ 352 w 352"/>
                <a:gd name="T53" fmla="*/ 158 h 352"/>
                <a:gd name="T54" fmla="*/ 344 w 352"/>
                <a:gd name="T55" fmla="*/ 124 h 352"/>
                <a:gd name="T56" fmla="*/ 330 w 352"/>
                <a:gd name="T57" fmla="*/ 92 h 352"/>
                <a:gd name="T58" fmla="*/ 312 w 352"/>
                <a:gd name="T59" fmla="*/ 64 h 352"/>
                <a:gd name="T60" fmla="*/ 288 w 352"/>
                <a:gd name="T61" fmla="*/ 40 h 352"/>
                <a:gd name="T62" fmla="*/ 260 w 352"/>
                <a:gd name="T63" fmla="*/ 20 h 352"/>
                <a:gd name="T64" fmla="*/ 228 w 352"/>
                <a:gd name="T65" fmla="*/ 8 h 352"/>
                <a:gd name="T66" fmla="*/ 194 w 352"/>
                <a:gd name="T67" fmla="*/ 0 h 352"/>
                <a:gd name="T68" fmla="*/ 176 w 352"/>
                <a:gd name="T69"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2" h="352">
                  <a:moveTo>
                    <a:pt x="176" y="0"/>
                  </a:moveTo>
                  <a:lnTo>
                    <a:pt x="176" y="0"/>
                  </a:lnTo>
                  <a:lnTo>
                    <a:pt x="158" y="0"/>
                  </a:lnTo>
                  <a:lnTo>
                    <a:pt x="140" y="2"/>
                  </a:lnTo>
                  <a:lnTo>
                    <a:pt x="124" y="8"/>
                  </a:lnTo>
                  <a:lnTo>
                    <a:pt x="108" y="14"/>
                  </a:lnTo>
                  <a:lnTo>
                    <a:pt x="92" y="20"/>
                  </a:lnTo>
                  <a:lnTo>
                    <a:pt x="78" y="30"/>
                  </a:lnTo>
                  <a:lnTo>
                    <a:pt x="64" y="40"/>
                  </a:lnTo>
                  <a:lnTo>
                    <a:pt x="52" y="50"/>
                  </a:lnTo>
                  <a:lnTo>
                    <a:pt x="40" y="64"/>
                  </a:lnTo>
                  <a:lnTo>
                    <a:pt x="30" y="76"/>
                  </a:lnTo>
                  <a:lnTo>
                    <a:pt x="22" y="92"/>
                  </a:lnTo>
                  <a:lnTo>
                    <a:pt x="14" y="106"/>
                  </a:lnTo>
                  <a:lnTo>
                    <a:pt x="8" y="124"/>
                  </a:lnTo>
                  <a:lnTo>
                    <a:pt x="4" y="140"/>
                  </a:lnTo>
                  <a:lnTo>
                    <a:pt x="0" y="158"/>
                  </a:lnTo>
                  <a:lnTo>
                    <a:pt x="0" y="176"/>
                  </a:lnTo>
                  <a:lnTo>
                    <a:pt x="0" y="176"/>
                  </a:lnTo>
                  <a:lnTo>
                    <a:pt x="0" y="194"/>
                  </a:lnTo>
                  <a:lnTo>
                    <a:pt x="4" y="210"/>
                  </a:lnTo>
                  <a:lnTo>
                    <a:pt x="8" y="228"/>
                  </a:lnTo>
                  <a:lnTo>
                    <a:pt x="14" y="244"/>
                  </a:lnTo>
                  <a:lnTo>
                    <a:pt x="22" y="260"/>
                  </a:lnTo>
                  <a:lnTo>
                    <a:pt x="30" y="274"/>
                  </a:lnTo>
                  <a:lnTo>
                    <a:pt x="40" y="288"/>
                  </a:lnTo>
                  <a:lnTo>
                    <a:pt x="52" y="300"/>
                  </a:lnTo>
                  <a:lnTo>
                    <a:pt x="64" y="312"/>
                  </a:lnTo>
                  <a:lnTo>
                    <a:pt x="78" y="322"/>
                  </a:lnTo>
                  <a:lnTo>
                    <a:pt x="92" y="330"/>
                  </a:lnTo>
                  <a:lnTo>
                    <a:pt x="108" y="338"/>
                  </a:lnTo>
                  <a:lnTo>
                    <a:pt x="124" y="344"/>
                  </a:lnTo>
                  <a:lnTo>
                    <a:pt x="140" y="348"/>
                  </a:lnTo>
                  <a:lnTo>
                    <a:pt x="158" y="350"/>
                  </a:lnTo>
                  <a:lnTo>
                    <a:pt x="176" y="352"/>
                  </a:lnTo>
                  <a:lnTo>
                    <a:pt x="176" y="352"/>
                  </a:lnTo>
                  <a:lnTo>
                    <a:pt x="194" y="350"/>
                  </a:lnTo>
                  <a:lnTo>
                    <a:pt x="212" y="348"/>
                  </a:lnTo>
                  <a:lnTo>
                    <a:pt x="228" y="344"/>
                  </a:lnTo>
                  <a:lnTo>
                    <a:pt x="244" y="338"/>
                  </a:lnTo>
                  <a:lnTo>
                    <a:pt x="260" y="330"/>
                  </a:lnTo>
                  <a:lnTo>
                    <a:pt x="274" y="322"/>
                  </a:lnTo>
                  <a:lnTo>
                    <a:pt x="288" y="312"/>
                  </a:lnTo>
                  <a:lnTo>
                    <a:pt x="300" y="300"/>
                  </a:lnTo>
                  <a:lnTo>
                    <a:pt x="312" y="288"/>
                  </a:lnTo>
                  <a:lnTo>
                    <a:pt x="322" y="274"/>
                  </a:lnTo>
                  <a:lnTo>
                    <a:pt x="330" y="260"/>
                  </a:lnTo>
                  <a:lnTo>
                    <a:pt x="338" y="244"/>
                  </a:lnTo>
                  <a:lnTo>
                    <a:pt x="344" y="228"/>
                  </a:lnTo>
                  <a:lnTo>
                    <a:pt x="348" y="210"/>
                  </a:lnTo>
                  <a:lnTo>
                    <a:pt x="352" y="194"/>
                  </a:lnTo>
                  <a:lnTo>
                    <a:pt x="352" y="176"/>
                  </a:lnTo>
                  <a:lnTo>
                    <a:pt x="352" y="176"/>
                  </a:lnTo>
                  <a:lnTo>
                    <a:pt x="352" y="158"/>
                  </a:lnTo>
                  <a:lnTo>
                    <a:pt x="348" y="140"/>
                  </a:lnTo>
                  <a:lnTo>
                    <a:pt x="344" y="124"/>
                  </a:lnTo>
                  <a:lnTo>
                    <a:pt x="338" y="106"/>
                  </a:lnTo>
                  <a:lnTo>
                    <a:pt x="330" y="92"/>
                  </a:lnTo>
                  <a:lnTo>
                    <a:pt x="322" y="76"/>
                  </a:lnTo>
                  <a:lnTo>
                    <a:pt x="312" y="64"/>
                  </a:lnTo>
                  <a:lnTo>
                    <a:pt x="300" y="50"/>
                  </a:lnTo>
                  <a:lnTo>
                    <a:pt x="288" y="40"/>
                  </a:lnTo>
                  <a:lnTo>
                    <a:pt x="274" y="30"/>
                  </a:lnTo>
                  <a:lnTo>
                    <a:pt x="260" y="20"/>
                  </a:lnTo>
                  <a:lnTo>
                    <a:pt x="244" y="14"/>
                  </a:lnTo>
                  <a:lnTo>
                    <a:pt x="228" y="8"/>
                  </a:lnTo>
                  <a:lnTo>
                    <a:pt x="212" y="2"/>
                  </a:lnTo>
                  <a:lnTo>
                    <a:pt x="194" y="0"/>
                  </a:lnTo>
                  <a:lnTo>
                    <a:pt x="176" y="0"/>
                  </a:lnTo>
                  <a:lnTo>
                    <a:pt x="176" y="0"/>
                  </a:ln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2" name="Line 88">
              <a:extLst>
                <a:ext uri="{FF2B5EF4-FFF2-40B4-BE49-F238E27FC236}">
                  <a16:creationId xmlns:a16="http://schemas.microsoft.com/office/drawing/2014/main" id="{07E0C9A8-526A-41BC-940B-2C8C16931442}"/>
                </a:ext>
              </a:extLst>
            </p:cNvPr>
            <p:cNvSpPr>
              <a:spLocks noChangeShapeType="1"/>
            </p:cNvSpPr>
            <p:nvPr/>
          </p:nvSpPr>
          <p:spPr bwMode="auto">
            <a:xfrm>
              <a:off x="-2409825" y="601662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89">
              <a:extLst>
                <a:ext uri="{FF2B5EF4-FFF2-40B4-BE49-F238E27FC236}">
                  <a16:creationId xmlns:a16="http://schemas.microsoft.com/office/drawing/2014/main" id="{65651DA2-A1DA-493D-A0E2-B20AE2C0717B}"/>
                </a:ext>
              </a:extLst>
            </p:cNvPr>
            <p:cNvSpPr>
              <a:spLocks noEditPoints="1"/>
            </p:cNvSpPr>
            <p:nvPr/>
          </p:nvSpPr>
          <p:spPr bwMode="auto">
            <a:xfrm>
              <a:off x="-1981200" y="2451100"/>
              <a:ext cx="854075" cy="850900"/>
            </a:xfrm>
            <a:custGeom>
              <a:avLst/>
              <a:gdLst>
                <a:gd name="T0" fmla="*/ 270 w 538"/>
                <a:gd name="T1" fmla="*/ 536 h 536"/>
                <a:gd name="T2" fmla="*/ 216 w 538"/>
                <a:gd name="T3" fmla="*/ 532 h 536"/>
                <a:gd name="T4" fmla="*/ 164 w 538"/>
                <a:gd name="T5" fmla="*/ 516 h 536"/>
                <a:gd name="T6" fmla="*/ 120 w 538"/>
                <a:gd name="T7" fmla="*/ 490 h 536"/>
                <a:gd name="T8" fmla="*/ 80 w 538"/>
                <a:gd name="T9" fmla="*/ 458 h 536"/>
                <a:gd name="T10" fmla="*/ 46 w 538"/>
                <a:gd name="T11" fmla="*/ 418 h 536"/>
                <a:gd name="T12" fmla="*/ 22 w 538"/>
                <a:gd name="T13" fmla="*/ 372 h 536"/>
                <a:gd name="T14" fmla="*/ 6 w 538"/>
                <a:gd name="T15" fmla="*/ 322 h 536"/>
                <a:gd name="T16" fmla="*/ 0 w 538"/>
                <a:gd name="T17" fmla="*/ 268 h 536"/>
                <a:gd name="T18" fmla="*/ 2 w 538"/>
                <a:gd name="T19" fmla="*/ 240 h 536"/>
                <a:gd name="T20" fmla="*/ 12 w 538"/>
                <a:gd name="T21" fmla="*/ 188 h 536"/>
                <a:gd name="T22" fmla="*/ 34 w 538"/>
                <a:gd name="T23" fmla="*/ 140 h 536"/>
                <a:gd name="T24" fmla="*/ 62 w 538"/>
                <a:gd name="T25" fmla="*/ 98 h 536"/>
                <a:gd name="T26" fmla="*/ 98 w 538"/>
                <a:gd name="T27" fmla="*/ 60 h 536"/>
                <a:gd name="T28" fmla="*/ 142 w 538"/>
                <a:gd name="T29" fmla="*/ 32 h 536"/>
                <a:gd name="T30" fmla="*/ 190 w 538"/>
                <a:gd name="T31" fmla="*/ 12 h 536"/>
                <a:gd name="T32" fmla="*/ 242 w 538"/>
                <a:gd name="T33" fmla="*/ 0 h 536"/>
                <a:gd name="T34" fmla="*/ 270 w 538"/>
                <a:gd name="T35" fmla="*/ 0 h 536"/>
                <a:gd name="T36" fmla="*/ 324 w 538"/>
                <a:gd name="T37" fmla="*/ 6 h 536"/>
                <a:gd name="T38" fmla="*/ 374 w 538"/>
                <a:gd name="T39" fmla="*/ 20 h 536"/>
                <a:gd name="T40" fmla="*/ 420 w 538"/>
                <a:gd name="T41" fmla="*/ 46 h 536"/>
                <a:gd name="T42" fmla="*/ 458 w 538"/>
                <a:gd name="T43" fmla="*/ 78 h 536"/>
                <a:gd name="T44" fmla="*/ 492 w 538"/>
                <a:gd name="T45" fmla="*/ 118 h 536"/>
                <a:gd name="T46" fmla="*/ 516 w 538"/>
                <a:gd name="T47" fmla="*/ 164 h 536"/>
                <a:gd name="T48" fmla="*/ 532 w 538"/>
                <a:gd name="T49" fmla="*/ 214 h 536"/>
                <a:gd name="T50" fmla="*/ 538 w 538"/>
                <a:gd name="T51" fmla="*/ 268 h 536"/>
                <a:gd name="T52" fmla="*/ 536 w 538"/>
                <a:gd name="T53" fmla="*/ 296 h 536"/>
                <a:gd name="T54" fmla="*/ 526 w 538"/>
                <a:gd name="T55" fmla="*/ 348 h 536"/>
                <a:gd name="T56" fmla="*/ 506 w 538"/>
                <a:gd name="T57" fmla="*/ 396 h 536"/>
                <a:gd name="T58" fmla="*/ 476 w 538"/>
                <a:gd name="T59" fmla="*/ 438 h 536"/>
                <a:gd name="T60" fmla="*/ 440 w 538"/>
                <a:gd name="T61" fmla="*/ 476 h 536"/>
                <a:gd name="T62" fmla="*/ 398 w 538"/>
                <a:gd name="T63" fmla="*/ 504 h 536"/>
                <a:gd name="T64" fmla="*/ 348 w 538"/>
                <a:gd name="T65" fmla="*/ 524 h 536"/>
                <a:gd name="T66" fmla="*/ 296 w 538"/>
                <a:gd name="T67" fmla="*/ 536 h 536"/>
                <a:gd name="T68" fmla="*/ 270 w 538"/>
                <a:gd name="T69" fmla="*/ 536 h 536"/>
                <a:gd name="T70" fmla="*/ 270 w 538"/>
                <a:gd name="T71" fmla="*/ 178 h 536"/>
                <a:gd name="T72" fmla="*/ 234 w 538"/>
                <a:gd name="T73" fmla="*/ 186 h 536"/>
                <a:gd name="T74" fmla="*/ 206 w 538"/>
                <a:gd name="T75" fmla="*/ 204 h 536"/>
                <a:gd name="T76" fmla="*/ 186 w 538"/>
                <a:gd name="T77" fmla="*/ 234 h 536"/>
                <a:gd name="T78" fmla="*/ 180 w 538"/>
                <a:gd name="T79" fmla="*/ 268 h 536"/>
                <a:gd name="T80" fmla="*/ 182 w 538"/>
                <a:gd name="T81" fmla="*/ 286 h 536"/>
                <a:gd name="T82" fmla="*/ 196 w 538"/>
                <a:gd name="T83" fmla="*/ 318 h 536"/>
                <a:gd name="T84" fmla="*/ 220 w 538"/>
                <a:gd name="T85" fmla="*/ 342 h 536"/>
                <a:gd name="T86" fmla="*/ 252 w 538"/>
                <a:gd name="T87" fmla="*/ 356 h 536"/>
                <a:gd name="T88" fmla="*/ 270 w 538"/>
                <a:gd name="T89" fmla="*/ 358 h 536"/>
                <a:gd name="T90" fmla="*/ 304 w 538"/>
                <a:gd name="T91" fmla="*/ 350 h 536"/>
                <a:gd name="T92" fmla="*/ 332 w 538"/>
                <a:gd name="T93" fmla="*/ 332 h 536"/>
                <a:gd name="T94" fmla="*/ 352 w 538"/>
                <a:gd name="T95" fmla="*/ 302 h 536"/>
                <a:gd name="T96" fmla="*/ 358 w 538"/>
                <a:gd name="T97" fmla="*/ 268 h 536"/>
                <a:gd name="T98" fmla="*/ 356 w 538"/>
                <a:gd name="T99" fmla="*/ 250 h 536"/>
                <a:gd name="T100" fmla="*/ 344 w 538"/>
                <a:gd name="T101" fmla="*/ 218 h 536"/>
                <a:gd name="T102" fmla="*/ 320 w 538"/>
                <a:gd name="T103" fmla="*/ 194 h 536"/>
                <a:gd name="T104" fmla="*/ 288 w 538"/>
                <a:gd name="T105" fmla="*/ 180 h 536"/>
                <a:gd name="T106" fmla="*/ 270 w 538"/>
                <a:gd name="T107" fmla="*/ 178 h 536"/>
                <a:gd name="T108" fmla="*/ 270 w 538"/>
                <a:gd name="T109" fmla="*/ 178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8" h="536">
                  <a:moveTo>
                    <a:pt x="270" y="536"/>
                  </a:moveTo>
                  <a:lnTo>
                    <a:pt x="270" y="536"/>
                  </a:lnTo>
                  <a:lnTo>
                    <a:pt x="242" y="536"/>
                  </a:lnTo>
                  <a:lnTo>
                    <a:pt x="216" y="532"/>
                  </a:lnTo>
                  <a:lnTo>
                    <a:pt x="190" y="524"/>
                  </a:lnTo>
                  <a:lnTo>
                    <a:pt x="164" y="516"/>
                  </a:lnTo>
                  <a:lnTo>
                    <a:pt x="142" y="504"/>
                  </a:lnTo>
                  <a:lnTo>
                    <a:pt x="120" y="490"/>
                  </a:lnTo>
                  <a:lnTo>
                    <a:pt x="98" y="476"/>
                  </a:lnTo>
                  <a:lnTo>
                    <a:pt x="80" y="458"/>
                  </a:lnTo>
                  <a:lnTo>
                    <a:pt x="62" y="438"/>
                  </a:lnTo>
                  <a:lnTo>
                    <a:pt x="46" y="418"/>
                  </a:lnTo>
                  <a:lnTo>
                    <a:pt x="34" y="396"/>
                  </a:lnTo>
                  <a:lnTo>
                    <a:pt x="22" y="372"/>
                  </a:lnTo>
                  <a:lnTo>
                    <a:pt x="12" y="348"/>
                  </a:lnTo>
                  <a:lnTo>
                    <a:pt x="6" y="322"/>
                  </a:lnTo>
                  <a:lnTo>
                    <a:pt x="2" y="296"/>
                  </a:lnTo>
                  <a:lnTo>
                    <a:pt x="0" y="268"/>
                  </a:lnTo>
                  <a:lnTo>
                    <a:pt x="0" y="268"/>
                  </a:lnTo>
                  <a:lnTo>
                    <a:pt x="2" y="240"/>
                  </a:lnTo>
                  <a:lnTo>
                    <a:pt x="6" y="214"/>
                  </a:lnTo>
                  <a:lnTo>
                    <a:pt x="12" y="188"/>
                  </a:lnTo>
                  <a:lnTo>
                    <a:pt x="22" y="164"/>
                  </a:lnTo>
                  <a:lnTo>
                    <a:pt x="34" y="140"/>
                  </a:lnTo>
                  <a:lnTo>
                    <a:pt x="46" y="118"/>
                  </a:lnTo>
                  <a:lnTo>
                    <a:pt x="62" y="98"/>
                  </a:lnTo>
                  <a:lnTo>
                    <a:pt x="80" y="78"/>
                  </a:lnTo>
                  <a:lnTo>
                    <a:pt x="98" y="60"/>
                  </a:lnTo>
                  <a:lnTo>
                    <a:pt x="120" y="46"/>
                  </a:lnTo>
                  <a:lnTo>
                    <a:pt x="142" y="32"/>
                  </a:lnTo>
                  <a:lnTo>
                    <a:pt x="164" y="20"/>
                  </a:lnTo>
                  <a:lnTo>
                    <a:pt x="190" y="12"/>
                  </a:lnTo>
                  <a:lnTo>
                    <a:pt x="216" y="6"/>
                  </a:lnTo>
                  <a:lnTo>
                    <a:pt x="242" y="0"/>
                  </a:lnTo>
                  <a:lnTo>
                    <a:pt x="270" y="0"/>
                  </a:lnTo>
                  <a:lnTo>
                    <a:pt x="270" y="0"/>
                  </a:lnTo>
                  <a:lnTo>
                    <a:pt x="296" y="0"/>
                  </a:lnTo>
                  <a:lnTo>
                    <a:pt x="324" y="6"/>
                  </a:lnTo>
                  <a:lnTo>
                    <a:pt x="348" y="12"/>
                  </a:lnTo>
                  <a:lnTo>
                    <a:pt x="374" y="20"/>
                  </a:lnTo>
                  <a:lnTo>
                    <a:pt x="398" y="32"/>
                  </a:lnTo>
                  <a:lnTo>
                    <a:pt x="420" y="46"/>
                  </a:lnTo>
                  <a:lnTo>
                    <a:pt x="440" y="60"/>
                  </a:lnTo>
                  <a:lnTo>
                    <a:pt x="458" y="78"/>
                  </a:lnTo>
                  <a:lnTo>
                    <a:pt x="476" y="98"/>
                  </a:lnTo>
                  <a:lnTo>
                    <a:pt x="492" y="118"/>
                  </a:lnTo>
                  <a:lnTo>
                    <a:pt x="506" y="140"/>
                  </a:lnTo>
                  <a:lnTo>
                    <a:pt x="516" y="164"/>
                  </a:lnTo>
                  <a:lnTo>
                    <a:pt x="526" y="188"/>
                  </a:lnTo>
                  <a:lnTo>
                    <a:pt x="532" y="214"/>
                  </a:lnTo>
                  <a:lnTo>
                    <a:pt x="536" y="240"/>
                  </a:lnTo>
                  <a:lnTo>
                    <a:pt x="538" y="268"/>
                  </a:lnTo>
                  <a:lnTo>
                    <a:pt x="538" y="268"/>
                  </a:lnTo>
                  <a:lnTo>
                    <a:pt x="536" y="296"/>
                  </a:lnTo>
                  <a:lnTo>
                    <a:pt x="532" y="322"/>
                  </a:lnTo>
                  <a:lnTo>
                    <a:pt x="526" y="348"/>
                  </a:lnTo>
                  <a:lnTo>
                    <a:pt x="516" y="372"/>
                  </a:lnTo>
                  <a:lnTo>
                    <a:pt x="506" y="396"/>
                  </a:lnTo>
                  <a:lnTo>
                    <a:pt x="492" y="418"/>
                  </a:lnTo>
                  <a:lnTo>
                    <a:pt x="476" y="438"/>
                  </a:lnTo>
                  <a:lnTo>
                    <a:pt x="458" y="458"/>
                  </a:lnTo>
                  <a:lnTo>
                    <a:pt x="440" y="476"/>
                  </a:lnTo>
                  <a:lnTo>
                    <a:pt x="420" y="490"/>
                  </a:lnTo>
                  <a:lnTo>
                    <a:pt x="398" y="504"/>
                  </a:lnTo>
                  <a:lnTo>
                    <a:pt x="374" y="516"/>
                  </a:lnTo>
                  <a:lnTo>
                    <a:pt x="348" y="524"/>
                  </a:lnTo>
                  <a:lnTo>
                    <a:pt x="324" y="532"/>
                  </a:lnTo>
                  <a:lnTo>
                    <a:pt x="296" y="536"/>
                  </a:lnTo>
                  <a:lnTo>
                    <a:pt x="270" y="536"/>
                  </a:lnTo>
                  <a:lnTo>
                    <a:pt x="270" y="536"/>
                  </a:lnTo>
                  <a:close/>
                  <a:moveTo>
                    <a:pt x="270" y="178"/>
                  </a:moveTo>
                  <a:lnTo>
                    <a:pt x="270" y="178"/>
                  </a:lnTo>
                  <a:lnTo>
                    <a:pt x="252" y="180"/>
                  </a:lnTo>
                  <a:lnTo>
                    <a:pt x="234" y="186"/>
                  </a:lnTo>
                  <a:lnTo>
                    <a:pt x="220" y="194"/>
                  </a:lnTo>
                  <a:lnTo>
                    <a:pt x="206" y="204"/>
                  </a:lnTo>
                  <a:lnTo>
                    <a:pt x="196" y="218"/>
                  </a:lnTo>
                  <a:lnTo>
                    <a:pt x="186" y="234"/>
                  </a:lnTo>
                  <a:lnTo>
                    <a:pt x="182" y="250"/>
                  </a:lnTo>
                  <a:lnTo>
                    <a:pt x="180" y="268"/>
                  </a:lnTo>
                  <a:lnTo>
                    <a:pt x="180" y="268"/>
                  </a:lnTo>
                  <a:lnTo>
                    <a:pt x="182" y="286"/>
                  </a:lnTo>
                  <a:lnTo>
                    <a:pt x="186" y="302"/>
                  </a:lnTo>
                  <a:lnTo>
                    <a:pt x="196" y="318"/>
                  </a:lnTo>
                  <a:lnTo>
                    <a:pt x="206" y="332"/>
                  </a:lnTo>
                  <a:lnTo>
                    <a:pt x="220" y="342"/>
                  </a:lnTo>
                  <a:lnTo>
                    <a:pt x="234" y="350"/>
                  </a:lnTo>
                  <a:lnTo>
                    <a:pt x="252" y="356"/>
                  </a:lnTo>
                  <a:lnTo>
                    <a:pt x="270" y="358"/>
                  </a:lnTo>
                  <a:lnTo>
                    <a:pt x="270" y="358"/>
                  </a:lnTo>
                  <a:lnTo>
                    <a:pt x="288" y="356"/>
                  </a:lnTo>
                  <a:lnTo>
                    <a:pt x="304" y="350"/>
                  </a:lnTo>
                  <a:lnTo>
                    <a:pt x="320" y="342"/>
                  </a:lnTo>
                  <a:lnTo>
                    <a:pt x="332" y="332"/>
                  </a:lnTo>
                  <a:lnTo>
                    <a:pt x="344" y="318"/>
                  </a:lnTo>
                  <a:lnTo>
                    <a:pt x="352" y="302"/>
                  </a:lnTo>
                  <a:lnTo>
                    <a:pt x="356" y="286"/>
                  </a:lnTo>
                  <a:lnTo>
                    <a:pt x="358" y="268"/>
                  </a:lnTo>
                  <a:lnTo>
                    <a:pt x="358" y="268"/>
                  </a:lnTo>
                  <a:lnTo>
                    <a:pt x="356" y="250"/>
                  </a:lnTo>
                  <a:lnTo>
                    <a:pt x="352" y="234"/>
                  </a:lnTo>
                  <a:lnTo>
                    <a:pt x="344" y="218"/>
                  </a:lnTo>
                  <a:lnTo>
                    <a:pt x="332" y="204"/>
                  </a:lnTo>
                  <a:lnTo>
                    <a:pt x="320" y="194"/>
                  </a:lnTo>
                  <a:lnTo>
                    <a:pt x="304" y="186"/>
                  </a:lnTo>
                  <a:lnTo>
                    <a:pt x="288" y="180"/>
                  </a:lnTo>
                  <a:lnTo>
                    <a:pt x="270" y="178"/>
                  </a:lnTo>
                  <a:lnTo>
                    <a:pt x="270" y="178"/>
                  </a:lnTo>
                  <a:close/>
                  <a:moveTo>
                    <a:pt x="270" y="178"/>
                  </a:moveTo>
                  <a:lnTo>
                    <a:pt x="270" y="1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 name="Freeform 90">
              <a:extLst>
                <a:ext uri="{FF2B5EF4-FFF2-40B4-BE49-F238E27FC236}">
                  <a16:creationId xmlns:a16="http://schemas.microsoft.com/office/drawing/2014/main" id="{61252909-E8A5-4A21-AAB5-30B550A6CF98}"/>
                </a:ext>
              </a:extLst>
            </p:cNvPr>
            <p:cNvSpPr>
              <a:spLocks/>
            </p:cNvSpPr>
            <p:nvPr/>
          </p:nvSpPr>
          <p:spPr bwMode="auto">
            <a:xfrm>
              <a:off x="-1981200" y="2451100"/>
              <a:ext cx="854075" cy="850900"/>
            </a:xfrm>
            <a:custGeom>
              <a:avLst/>
              <a:gdLst>
                <a:gd name="T0" fmla="*/ 270 w 538"/>
                <a:gd name="T1" fmla="*/ 536 h 536"/>
                <a:gd name="T2" fmla="*/ 216 w 538"/>
                <a:gd name="T3" fmla="*/ 532 h 536"/>
                <a:gd name="T4" fmla="*/ 164 w 538"/>
                <a:gd name="T5" fmla="*/ 516 h 536"/>
                <a:gd name="T6" fmla="*/ 120 w 538"/>
                <a:gd name="T7" fmla="*/ 490 h 536"/>
                <a:gd name="T8" fmla="*/ 80 w 538"/>
                <a:gd name="T9" fmla="*/ 458 h 536"/>
                <a:gd name="T10" fmla="*/ 46 w 538"/>
                <a:gd name="T11" fmla="*/ 418 h 536"/>
                <a:gd name="T12" fmla="*/ 22 w 538"/>
                <a:gd name="T13" fmla="*/ 372 h 536"/>
                <a:gd name="T14" fmla="*/ 6 w 538"/>
                <a:gd name="T15" fmla="*/ 322 h 536"/>
                <a:gd name="T16" fmla="*/ 0 w 538"/>
                <a:gd name="T17" fmla="*/ 268 h 536"/>
                <a:gd name="T18" fmla="*/ 2 w 538"/>
                <a:gd name="T19" fmla="*/ 240 h 536"/>
                <a:gd name="T20" fmla="*/ 12 w 538"/>
                <a:gd name="T21" fmla="*/ 188 h 536"/>
                <a:gd name="T22" fmla="*/ 34 w 538"/>
                <a:gd name="T23" fmla="*/ 140 h 536"/>
                <a:gd name="T24" fmla="*/ 62 w 538"/>
                <a:gd name="T25" fmla="*/ 98 h 536"/>
                <a:gd name="T26" fmla="*/ 98 w 538"/>
                <a:gd name="T27" fmla="*/ 60 h 536"/>
                <a:gd name="T28" fmla="*/ 142 w 538"/>
                <a:gd name="T29" fmla="*/ 32 h 536"/>
                <a:gd name="T30" fmla="*/ 190 w 538"/>
                <a:gd name="T31" fmla="*/ 12 h 536"/>
                <a:gd name="T32" fmla="*/ 242 w 538"/>
                <a:gd name="T33" fmla="*/ 0 h 536"/>
                <a:gd name="T34" fmla="*/ 270 w 538"/>
                <a:gd name="T35" fmla="*/ 0 h 536"/>
                <a:gd name="T36" fmla="*/ 324 w 538"/>
                <a:gd name="T37" fmla="*/ 6 h 536"/>
                <a:gd name="T38" fmla="*/ 374 w 538"/>
                <a:gd name="T39" fmla="*/ 20 h 536"/>
                <a:gd name="T40" fmla="*/ 420 w 538"/>
                <a:gd name="T41" fmla="*/ 46 h 536"/>
                <a:gd name="T42" fmla="*/ 458 w 538"/>
                <a:gd name="T43" fmla="*/ 78 h 536"/>
                <a:gd name="T44" fmla="*/ 492 w 538"/>
                <a:gd name="T45" fmla="*/ 118 h 536"/>
                <a:gd name="T46" fmla="*/ 516 w 538"/>
                <a:gd name="T47" fmla="*/ 164 h 536"/>
                <a:gd name="T48" fmla="*/ 532 w 538"/>
                <a:gd name="T49" fmla="*/ 214 h 536"/>
                <a:gd name="T50" fmla="*/ 538 w 538"/>
                <a:gd name="T51" fmla="*/ 268 h 536"/>
                <a:gd name="T52" fmla="*/ 536 w 538"/>
                <a:gd name="T53" fmla="*/ 296 h 536"/>
                <a:gd name="T54" fmla="*/ 526 w 538"/>
                <a:gd name="T55" fmla="*/ 348 h 536"/>
                <a:gd name="T56" fmla="*/ 506 w 538"/>
                <a:gd name="T57" fmla="*/ 396 h 536"/>
                <a:gd name="T58" fmla="*/ 476 w 538"/>
                <a:gd name="T59" fmla="*/ 438 h 536"/>
                <a:gd name="T60" fmla="*/ 440 w 538"/>
                <a:gd name="T61" fmla="*/ 476 h 536"/>
                <a:gd name="T62" fmla="*/ 398 w 538"/>
                <a:gd name="T63" fmla="*/ 504 h 536"/>
                <a:gd name="T64" fmla="*/ 348 w 538"/>
                <a:gd name="T65" fmla="*/ 524 h 536"/>
                <a:gd name="T66" fmla="*/ 296 w 538"/>
                <a:gd name="T67" fmla="*/ 536 h 536"/>
                <a:gd name="T68" fmla="*/ 270 w 538"/>
                <a:gd name="T69" fmla="*/ 536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38" h="536">
                  <a:moveTo>
                    <a:pt x="270" y="536"/>
                  </a:moveTo>
                  <a:lnTo>
                    <a:pt x="270" y="536"/>
                  </a:lnTo>
                  <a:lnTo>
                    <a:pt x="242" y="536"/>
                  </a:lnTo>
                  <a:lnTo>
                    <a:pt x="216" y="532"/>
                  </a:lnTo>
                  <a:lnTo>
                    <a:pt x="190" y="524"/>
                  </a:lnTo>
                  <a:lnTo>
                    <a:pt x="164" y="516"/>
                  </a:lnTo>
                  <a:lnTo>
                    <a:pt x="142" y="504"/>
                  </a:lnTo>
                  <a:lnTo>
                    <a:pt x="120" y="490"/>
                  </a:lnTo>
                  <a:lnTo>
                    <a:pt x="98" y="476"/>
                  </a:lnTo>
                  <a:lnTo>
                    <a:pt x="80" y="458"/>
                  </a:lnTo>
                  <a:lnTo>
                    <a:pt x="62" y="438"/>
                  </a:lnTo>
                  <a:lnTo>
                    <a:pt x="46" y="418"/>
                  </a:lnTo>
                  <a:lnTo>
                    <a:pt x="34" y="396"/>
                  </a:lnTo>
                  <a:lnTo>
                    <a:pt x="22" y="372"/>
                  </a:lnTo>
                  <a:lnTo>
                    <a:pt x="12" y="348"/>
                  </a:lnTo>
                  <a:lnTo>
                    <a:pt x="6" y="322"/>
                  </a:lnTo>
                  <a:lnTo>
                    <a:pt x="2" y="296"/>
                  </a:lnTo>
                  <a:lnTo>
                    <a:pt x="0" y="268"/>
                  </a:lnTo>
                  <a:lnTo>
                    <a:pt x="0" y="268"/>
                  </a:lnTo>
                  <a:lnTo>
                    <a:pt x="2" y="240"/>
                  </a:lnTo>
                  <a:lnTo>
                    <a:pt x="6" y="214"/>
                  </a:lnTo>
                  <a:lnTo>
                    <a:pt x="12" y="188"/>
                  </a:lnTo>
                  <a:lnTo>
                    <a:pt x="22" y="164"/>
                  </a:lnTo>
                  <a:lnTo>
                    <a:pt x="34" y="140"/>
                  </a:lnTo>
                  <a:lnTo>
                    <a:pt x="46" y="118"/>
                  </a:lnTo>
                  <a:lnTo>
                    <a:pt x="62" y="98"/>
                  </a:lnTo>
                  <a:lnTo>
                    <a:pt x="80" y="78"/>
                  </a:lnTo>
                  <a:lnTo>
                    <a:pt x="98" y="60"/>
                  </a:lnTo>
                  <a:lnTo>
                    <a:pt x="120" y="46"/>
                  </a:lnTo>
                  <a:lnTo>
                    <a:pt x="142" y="32"/>
                  </a:lnTo>
                  <a:lnTo>
                    <a:pt x="164" y="20"/>
                  </a:lnTo>
                  <a:lnTo>
                    <a:pt x="190" y="12"/>
                  </a:lnTo>
                  <a:lnTo>
                    <a:pt x="216" y="6"/>
                  </a:lnTo>
                  <a:lnTo>
                    <a:pt x="242" y="0"/>
                  </a:lnTo>
                  <a:lnTo>
                    <a:pt x="270" y="0"/>
                  </a:lnTo>
                  <a:lnTo>
                    <a:pt x="270" y="0"/>
                  </a:lnTo>
                  <a:lnTo>
                    <a:pt x="296" y="0"/>
                  </a:lnTo>
                  <a:lnTo>
                    <a:pt x="324" y="6"/>
                  </a:lnTo>
                  <a:lnTo>
                    <a:pt x="348" y="12"/>
                  </a:lnTo>
                  <a:lnTo>
                    <a:pt x="374" y="20"/>
                  </a:lnTo>
                  <a:lnTo>
                    <a:pt x="398" y="32"/>
                  </a:lnTo>
                  <a:lnTo>
                    <a:pt x="420" y="46"/>
                  </a:lnTo>
                  <a:lnTo>
                    <a:pt x="440" y="60"/>
                  </a:lnTo>
                  <a:lnTo>
                    <a:pt x="458" y="78"/>
                  </a:lnTo>
                  <a:lnTo>
                    <a:pt x="476" y="98"/>
                  </a:lnTo>
                  <a:lnTo>
                    <a:pt x="492" y="118"/>
                  </a:lnTo>
                  <a:lnTo>
                    <a:pt x="506" y="140"/>
                  </a:lnTo>
                  <a:lnTo>
                    <a:pt x="516" y="164"/>
                  </a:lnTo>
                  <a:lnTo>
                    <a:pt x="526" y="188"/>
                  </a:lnTo>
                  <a:lnTo>
                    <a:pt x="532" y="214"/>
                  </a:lnTo>
                  <a:lnTo>
                    <a:pt x="536" y="240"/>
                  </a:lnTo>
                  <a:lnTo>
                    <a:pt x="538" y="268"/>
                  </a:lnTo>
                  <a:lnTo>
                    <a:pt x="538" y="268"/>
                  </a:lnTo>
                  <a:lnTo>
                    <a:pt x="536" y="296"/>
                  </a:lnTo>
                  <a:lnTo>
                    <a:pt x="532" y="322"/>
                  </a:lnTo>
                  <a:lnTo>
                    <a:pt x="526" y="348"/>
                  </a:lnTo>
                  <a:lnTo>
                    <a:pt x="516" y="372"/>
                  </a:lnTo>
                  <a:lnTo>
                    <a:pt x="506" y="396"/>
                  </a:lnTo>
                  <a:lnTo>
                    <a:pt x="492" y="418"/>
                  </a:lnTo>
                  <a:lnTo>
                    <a:pt x="476" y="438"/>
                  </a:lnTo>
                  <a:lnTo>
                    <a:pt x="458" y="458"/>
                  </a:lnTo>
                  <a:lnTo>
                    <a:pt x="440" y="476"/>
                  </a:lnTo>
                  <a:lnTo>
                    <a:pt x="420" y="490"/>
                  </a:lnTo>
                  <a:lnTo>
                    <a:pt x="398" y="504"/>
                  </a:lnTo>
                  <a:lnTo>
                    <a:pt x="374" y="516"/>
                  </a:lnTo>
                  <a:lnTo>
                    <a:pt x="348" y="524"/>
                  </a:lnTo>
                  <a:lnTo>
                    <a:pt x="324" y="532"/>
                  </a:lnTo>
                  <a:lnTo>
                    <a:pt x="296" y="536"/>
                  </a:lnTo>
                  <a:lnTo>
                    <a:pt x="270" y="536"/>
                  </a:lnTo>
                  <a:lnTo>
                    <a:pt x="270" y="5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91">
              <a:extLst>
                <a:ext uri="{FF2B5EF4-FFF2-40B4-BE49-F238E27FC236}">
                  <a16:creationId xmlns:a16="http://schemas.microsoft.com/office/drawing/2014/main" id="{3F06BF6C-DE28-48B8-A17C-2945BC1295CA}"/>
                </a:ext>
              </a:extLst>
            </p:cNvPr>
            <p:cNvSpPr>
              <a:spLocks/>
            </p:cNvSpPr>
            <p:nvPr/>
          </p:nvSpPr>
          <p:spPr bwMode="auto">
            <a:xfrm>
              <a:off x="-1695450" y="2733675"/>
              <a:ext cx="282575" cy="285750"/>
            </a:xfrm>
            <a:custGeom>
              <a:avLst/>
              <a:gdLst>
                <a:gd name="T0" fmla="*/ 90 w 178"/>
                <a:gd name="T1" fmla="*/ 0 h 180"/>
                <a:gd name="T2" fmla="*/ 90 w 178"/>
                <a:gd name="T3" fmla="*/ 0 h 180"/>
                <a:gd name="T4" fmla="*/ 72 w 178"/>
                <a:gd name="T5" fmla="*/ 2 h 180"/>
                <a:gd name="T6" fmla="*/ 54 w 178"/>
                <a:gd name="T7" fmla="*/ 8 h 180"/>
                <a:gd name="T8" fmla="*/ 40 w 178"/>
                <a:gd name="T9" fmla="*/ 16 h 180"/>
                <a:gd name="T10" fmla="*/ 26 w 178"/>
                <a:gd name="T11" fmla="*/ 26 h 180"/>
                <a:gd name="T12" fmla="*/ 16 w 178"/>
                <a:gd name="T13" fmla="*/ 40 h 180"/>
                <a:gd name="T14" fmla="*/ 6 w 178"/>
                <a:gd name="T15" fmla="*/ 56 h 180"/>
                <a:gd name="T16" fmla="*/ 2 w 178"/>
                <a:gd name="T17" fmla="*/ 72 h 180"/>
                <a:gd name="T18" fmla="*/ 0 w 178"/>
                <a:gd name="T19" fmla="*/ 90 h 180"/>
                <a:gd name="T20" fmla="*/ 0 w 178"/>
                <a:gd name="T21" fmla="*/ 90 h 180"/>
                <a:gd name="T22" fmla="*/ 2 w 178"/>
                <a:gd name="T23" fmla="*/ 108 h 180"/>
                <a:gd name="T24" fmla="*/ 6 w 178"/>
                <a:gd name="T25" fmla="*/ 124 h 180"/>
                <a:gd name="T26" fmla="*/ 16 w 178"/>
                <a:gd name="T27" fmla="*/ 140 h 180"/>
                <a:gd name="T28" fmla="*/ 26 w 178"/>
                <a:gd name="T29" fmla="*/ 154 h 180"/>
                <a:gd name="T30" fmla="*/ 40 w 178"/>
                <a:gd name="T31" fmla="*/ 164 h 180"/>
                <a:gd name="T32" fmla="*/ 54 w 178"/>
                <a:gd name="T33" fmla="*/ 172 h 180"/>
                <a:gd name="T34" fmla="*/ 72 w 178"/>
                <a:gd name="T35" fmla="*/ 178 h 180"/>
                <a:gd name="T36" fmla="*/ 90 w 178"/>
                <a:gd name="T37" fmla="*/ 180 h 180"/>
                <a:gd name="T38" fmla="*/ 90 w 178"/>
                <a:gd name="T39" fmla="*/ 180 h 180"/>
                <a:gd name="T40" fmla="*/ 108 w 178"/>
                <a:gd name="T41" fmla="*/ 178 h 180"/>
                <a:gd name="T42" fmla="*/ 124 w 178"/>
                <a:gd name="T43" fmla="*/ 172 h 180"/>
                <a:gd name="T44" fmla="*/ 140 w 178"/>
                <a:gd name="T45" fmla="*/ 164 h 180"/>
                <a:gd name="T46" fmla="*/ 152 w 178"/>
                <a:gd name="T47" fmla="*/ 154 h 180"/>
                <a:gd name="T48" fmla="*/ 164 w 178"/>
                <a:gd name="T49" fmla="*/ 140 h 180"/>
                <a:gd name="T50" fmla="*/ 172 w 178"/>
                <a:gd name="T51" fmla="*/ 124 h 180"/>
                <a:gd name="T52" fmla="*/ 176 w 178"/>
                <a:gd name="T53" fmla="*/ 108 h 180"/>
                <a:gd name="T54" fmla="*/ 178 w 178"/>
                <a:gd name="T55" fmla="*/ 90 h 180"/>
                <a:gd name="T56" fmla="*/ 178 w 178"/>
                <a:gd name="T57" fmla="*/ 90 h 180"/>
                <a:gd name="T58" fmla="*/ 176 w 178"/>
                <a:gd name="T59" fmla="*/ 72 h 180"/>
                <a:gd name="T60" fmla="*/ 172 w 178"/>
                <a:gd name="T61" fmla="*/ 56 h 180"/>
                <a:gd name="T62" fmla="*/ 164 w 178"/>
                <a:gd name="T63" fmla="*/ 40 h 180"/>
                <a:gd name="T64" fmla="*/ 152 w 178"/>
                <a:gd name="T65" fmla="*/ 26 h 180"/>
                <a:gd name="T66" fmla="*/ 140 w 178"/>
                <a:gd name="T67" fmla="*/ 16 h 180"/>
                <a:gd name="T68" fmla="*/ 124 w 178"/>
                <a:gd name="T69" fmla="*/ 8 h 180"/>
                <a:gd name="T70" fmla="*/ 108 w 178"/>
                <a:gd name="T71" fmla="*/ 2 h 180"/>
                <a:gd name="T72" fmla="*/ 90 w 178"/>
                <a:gd name="T73" fmla="*/ 0 h 180"/>
                <a:gd name="T74" fmla="*/ 90 w 178"/>
                <a:gd name="T75"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8" h="180">
                  <a:moveTo>
                    <a:pt x="90" y="0"/>
                  </a:moveTo>
                  <a:lnTo>
                    <a:pt x="90" y="0"/>
                  </a:lnTo>
                  <a:lnTo>
                    <a:pt x="72" y="2"/>
                  </a:lnTo>
                  <a:lnTo>
                    <a:pt x="54" y="8"/>
                  </a:lnTo>
                  <a:lnTo>
                    <a:pt x="40" y="16"/>
                  </a:lnTo>
                  <a:lnTo>
                    <a:pt x="26" y="26"/>
                  </a:lnTo>
                  <a:lnTo>
                    <a:pt x="16" y="40"/>
                  </a:lnTo>
                  <a:lnTo>
                    <a:pt x="6" y="56"/>
                  </a:lnTo>
                  <a:lnTo>
                    <a:pt x="2" y="72"/>
                  </a:lnTo>
                  <a:lnTo>
                    <a:pt x="0" y="90"/>
                  </a:lnTo>
                  <a:lnTo>
                    <a:pt x="0" y="90"/>
                  </a:lnTo>
                  <a:lnTo>
                    <a:pt x="2" y="108"/>
                  </a:lnTo>
                  <a:lnTo>
                    <a:pt x="6" y="124"/>
                  </a:lnTo>
                  <a:lnTo>
                    <a:pt x="16" y="140"/>
                  </a:lnTo>
                  <a:lnTo>
                    <a:pt x="26" y="154"/>
                  </a:lnTo>
                  <a:lnTo>
                    <a:pt x="40" y="164"/>
                  </a:lnTo>
                  <a:lnTo>
                    <a:pt x="54" y="172"/>
                  </a:lnTo>
                  <a:lnTo>
                    <a:pt x="72" y="178"/>
                  </a:lnTo>
                  <a:lnTo>
                    <a:pt x="90" y="180"/>
                  </a:lnTo>
                  <a:lnTo>
                    <a:pt x="90" y="180"/>
                  </a:lnTo>
                  <a:lnTo>
                    <a:pt x="108" y="178"/>
                  </a:lnTo>
                  <a:lnTo>
                    <a:pt x="124" y="172"/>
                  </a:lnTo>
                  <a:lnTo>
                    <a:pt x="140" y="164"/>
                  </a:lnTo>
                  <a:lnTo>
                    <a:pt x="152" y="154"/>
                  </a:lnTo>
                  <a:lnTo>
                    <a:pt x="164" y="140"/>
                  </a:lnTo>
                  <a:lnTo>
                    <a:pt x="172" y="124"/>
                  </a:lnTo>
                  <a:lnTo>
                    <a:pt x="176" y="108"/>
                  </a:lnTo>
                  <a:lnTo>
                    <a:pt x="178" y="90"/>
                  </a:lnTo>
                  <a:lnTo>
                    <a:pt x="178" y="90"/>
                  </a:lnTo>
                  <a:lnTo>
                    <a:pt x="176" y="72"/>
                  </a:lnTo>
                  <a:lnTo>
                    <a:pt x="172" y="56"/>
                  </a:lnTo>
                  <a:lnTo>
                    <a:pt x="164" y="40"/>
                  </a:lnTo>
                  <a:lnTo>
                    <a:pt x="152" y="26"/>
                  </a:lnTo>
                  <a:lnTo>
                    <a:pt x="140" y="16"/>
                  </a:lnTo>
                  <a:lnTo>
                    <a:pt x="124" y="8"/>
                  </a:lnTo>
                  <a:lnTo>
                    <a:pt x="108" y="2"/>
                  </a:lnTo>
                  <a:lnTo>
                    <a:pt x="90" y="0"/>
                  </a:lnTo>
                  <a:lnTo>
                    <a:pt x="90" y="0"/>
                  </a:ln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 name="Line 92">
              <a:extLst>
                <a:ext uri="{FF2B5EF4-FFF2-40B4-BE49-F238E27FC236}">
                  <a16:creationId xmlns:a16="http://schemas.microsoft.com/office/drawing/2014/main" id="{95B43E83-4CAA-4056-ACA8-D7ECE58A15B2}"/>
                </a:ext>
              </a:extLst>
            </p:cNvPr>
            <p:cNvSpPr>
              <a:spLocks noChangeShapeType="1"/>
            </p:cNvSpPr>
            <p:nvPr/>
          </p:nvSpPr>
          <p:spPr bwMode="auto">
            <a:xfrm>
              <a:off x="-1552575" y="273367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93">
              <a:extLst>
                <a:ext uri="{FF2B5EF4-FFF2-40B4-BE49-F238E27FC236}">
                  <a16:creationId xmlns:a16="http://schemas.microsoft.com/office/drawing/2014/main" id="{5A50D1CA-30A3-450D-AC6F-2D02624EF652}"/>
                </a:ext>
              </a:extLst>
            </p:cNvPr>
            <p:cNvSpPr>
              <a:spLocks noEditPoints="1"/>
            </p:cNvSpPr>
            <p:nvPr/>
          </p:nvSpPr>
          <p:spPr bwMode="auto">
            <a:xfrm>
              <a:off x="-1419225" y="3902075"/>
              <a:ext cx="704850" cy="704850"/>
            </a:xfrm>
            <a:custGeom>
              <a:avLst/>
              <a:gdLst>
                <a:gd name="T0" fmla="*/ 444 w 444"/>
                <a:gd name="T1" fmla="*/ 222 h 444"/>
                <a:gd name="T2" fmla="*/ 438 w 444"/>
                <a:gd name="T3" fmla="*/ 266 h 444"/>
                <a:gd name="T4" fmla="*/ 426 w 444"/>
                <a:gd name="T5" fmla="*/ 308 h 444"/>
                <a:gd name="T6" fmla="*/ 406 w 444"/>
                <a:gd name="T7" fmla="*/ 346 h 444"/>
                <a:gd name="T8" fmla="*/ 378 w 444"/>
                <a:gd name="T9" fmla="*/ 378 h 444"/>
                <a:gd name="T10" fmla="*/ 346 w 444"/>
                <a:gd name="T11" fmla="*/ 406 h 444"/>
                <a:gd name="T12" fmla="*/ 308 w 444"/>
                <a:gd name="T13" fmla="*/ 426 h 444"/>
                <a:gd name="T14" fmla="*/ 266 w 444"/>
                <a:gd name="T15" fmla="*/ 440 h 444"/>
                <a:gd name="T16" fmla="*/ 222 w 444"/>
                <a:gd name="T17" fmla="*/ 444 h 444"/>
                <a:gd name="T18" fmla="*/ 198 w 444"/>
                <a:gd name="T19" fmla="*/ 442 h 444"/>
                <a:gd name="T20" fmla="*/ 156 w 444"/>
                <a:gd name="T21" fmla="*/ 434 h 444"/>
                <a:gd name="T22" fmla="*/ 116 w 444"/>
                <a:gd name="T23" fmla="*/ 418 h 444"/>
                <a:gd name="T24" fmla="*/ 80 w 444"/>
                <a:gd name="T25" fmla="*/ 394 h 444"/>
                <a:gd name="T26" fmla="*/ 50 w 444"/>
                <a:gd name="T27" fmla="*/ 364 h 444"/>
                <a:gd name="T28" fmla="*/ 26 w 444"/>
                <a:gd name="T29" fmla="*/ 328 h 444"/>
                <a:gd name="T30" fmla="*/ 10 w 444"/>
                <a:gd name="T31" fmla="*/ 288 h 444"/>
                <a:gd name="T32" fmla="*/ 0 w 444"/>
                <a:gd name="T33" fmla="*/ 244 h 444"/>
                <a:gd name="T34" fmla="*/ 0 w 444"/>
                <a:gd name="T35" fmla="*/ 222 h 444"/>
                <a:gd name="T36" fmla="*/ 4 w 444"/>
                <a:gd name="T37" fmla="*/ 178 h 444"/>
                <a:gd name="T38" fmla="*/ 18 w 444"/>
                <a:gd name="T39" fmla="*/ 136 h 444"/>
                <a:gd name="T40" fmla="*/ 38 w 444"/>
                <a:gd name="T41" fmla="*/ 98 h 444"/>
                <a:gd name="T42" fmla="*/ 64 w 444"/>
                <a:gd name="T43" fmla="*/ 66 h 444"/>
                <a:gd name="T44" fmla="*/ 98 w 444"/>
                <a:gd name="T45" fmla="*/ 38 h 444"/>
                <a:gd name="T46" fmla="*/ 136 w 444"/>
                <a:gd name="T47" fmla="*/ 18 h 444"/>
                <a:gd name="T48" fmla="*/ 176 w 444"/>
                <a:gd name="T49" fmla="*/ 4 h 444"/>
                <a:gd name="T50" fmla="*/ 222 w 444"/>
                <a:gd name="T51" fmla="*/ 0 h 444"/>
                <a:gd name="T52" fmla="*/ 244 w 444"/>
                <a:gd name="T53" fmla="*/ 2 h 444"/>
                <a:gd name="T54" fmla="*/ 288 w 444"/>
                <a:gd name="T55" fmla="*/ 10 h 444"/>
                <a:gd name="T56" fmla="*/ 328 w 444"/>
                <a:gd name="T57" fmla="*/ 28 h 444"/>
                <a:gd name="T58" fmla="*/ 362 w 444"/>
                <a:gd name="T59" fmla="*/ 50 h 444"/>
                <a:gd name="T60" fmla="*/ 392 w 444"/>
                <a:gd name="T61" fmla="*/ 80 h 444"/>
                <a:gd name="T62" fmla="*/ 416 w 444"/>
                <a:gd name="T63" fmla="*/ 116 h 444"/>
                <a:gd name="T64" fmla="*/ 434 w 444"/>
                <a:gd name="T65" fmla="*/ 156 h 444"/>
                <a:gd name="T66" fmla="*/ 442 w 444"/>
                <a:gd name="T67" fmla="*/ 200 h 444"/>
                <a:gd name="T68" fmla="*/ 444 w 444"/>
                <a:gd name="T69" fmla="*/ 222 h 444"/>
                <a:gd name="T70" fmla="*/ 444 w 444"/>
                <a:gd name="T71" fmla="*/ 22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4" h="444">
                  <a:moveTo>
                    <a:pt x="444" y="222"/>
                  </a:moveTo>
                  <a:lnTo>
                    <a:pt x="444" y="222"/>
                  </a:lnTo>
                  <a:lnTo>
                    <a:pt x="442" y="244"/>
                  </a:lnTo>
                  <a:lnTo>
                    <a:pt x="438" y="266"/>
                  </a:lnTo>
                  <a:lnTo>
                    <a:pt x="434" y="288"/>
                  </a:lnTo>
                  <a:lnTo>
                    <a:pt x="426" y="308"/>
                  </a:lnTo>
                  <a:lnTo>
                    <a:pt x="416" y="328"/>
                  </a:lnTo>
                  <a:lnTo>
                    <a:pt x="406" y="346"/>
                  </a:lnTo>
                  <a:lnTo>
                    <a:pt x="392" y="364"/>
                  </a:lnTo>
                  <a:lnTo>
                    <a:pt x="378" y="378"/>
                  </a:lnTo>
                  <a:lnTo>
                    <a:pt x="362" y="394"/>
                  </a:lnTo>
                  <a:lnTo>
                    <a:pt x="346" y="406"/>
                  </a:lnTo>
                  <a:lnTo>
                    <a:pt x="328" y="418"/>
                  </a:lnTo>
                  <a:lnTo>
                    <a:pt x="308" y="426"/>
                  </a:lnTo>
                  <a:lnTo>
                    <a:pt x="288" y="434"/>
                  </a:lnTo>
                  <a:lnTo>
                    <a:pt x="266" y="440"/>
                  </a:lnTo>
                  <a:lnTo>
                    <a:pt x="244" y="442"/>
                  </a:lnTo>
                  <a:lnTo>
                    <a:pt x="222" y="444"/>
                  </a:lnTo>
                  <a:lnTo>
                    <a:pt x="222" y="444"/>
                  </a:lnTo>
                  <a:lnTo>
                    <a:pt x="198" y="442"/>
                  </a:lnTo>
                  <a:lnTo>
                    <a:pt x="176" y="440"/>
                  </a:lnTo>
                  <a:lnTo>
                    <a:pt x="156" y="434"/>
                  </a:lnTo>
                  <a:lnTo>
                    <a:pt x="136" y="426"/>
                  </a:lnTo>
                  <a:lnTo>
                    <a:pt x="116" y="418"/>
                  </a:lnTo>
                  <a:lnTo>
                    <a:pt x="98" y="406"/>
                  </a:lnTo>
                  <a:lnTo>
                    <a:pt x="80" y="394"/>
                  </a:lnTo>
                  <a:lnTo>
                    <a:pt x="64" y="378"/>
                  </a:lnTo>
                  <a:lnTo>
                    <a:pt x="50" y="364"/>
                  </a:lnTo>
                  <a:lnTo>
                    <a:pt x="38" y="346"/>
                  </a:lnTo>
                  <a:lnTo>
                    <a:pt x="26" y="328"/>
                  </a:lnTo>
                  <a:lnTo>
                    <a:pt x="18" y="308"/>
                  </a:lnTo>
                  <a:lnTo>
                    <a:pt x="10" y="288"/>
                  </a:lnTo>
                  <a:lnTo>
                    <a:pt x="4" y="266"/>
                  </a:lnTo>
                  <a:lnTo>
                    <a:pt x="0" y="244"/>
                  </a:lnTo>
                  <a:lnTo>
                    <a:pt x="0" y="222"/>
                  </a:lnTo>
                  <a:lnTo>
                    <a:pt x="0" y="222"/>
                  </a:lnTo>
                  <a:lnTo>
                    <a:pt x="0" y="200"/>
                  </a:lnTo>
                  <a:lnTo>
                    <a:pt x="4" y="178"/>
                  </a:lnTo>
                  <a:lnTo>
                    <a:pt x="10" y="156"/>
                  </a:lnTo>
                  <a:lnTo>
                    <a:pt x="18" y="136"/>
                  </a:lnTo>
                  <a:lnTo>
                    <a:pt x="26" y="116"/>
                  </a:lnTo>
                  <a:lnTo>
                    <a:pt x="38" y="98"/>
                  </a:lnTo>
                  <a:lnTo>
                    <a:pt x="50" y="80"/>
                  </a:lnTo>
                  <a:lnTo>
                    <a:pt x="64" y="66"/>
                  </a:lnTo>
                  <a:lnTo>
                    <a:pt x="80" y="50"/>
                  </a:lnTo>
                  <a:lnTo>
                    <a:pt x="98" y="38"/>
                  </a:lnTo>
                  <a:lnTo>
                    <a:pt x="116" y="28"/>
                  </a:lnTo>
                  <a:lnTo>
                    <a:pt x="136" y="18"/>
                  </a:lnTo>
                  <a:lnTo>
                    <a:pt x="156" y="10"/>
                  </a:lnTo>
                  <a:lnTo>
                    <a:pt x="176" y="4"/>
                  </a:lnTo>
                  <a:lnTo>
                    <a:pt x="198" y="2"/>
                  </a:lnTo>
                  <a:lnTo>
                    <a:pt x="222" y="0"/>
                  </a:lnTo>
                  <a:lnTo>
                    <a:pt x="222" y="0"/>
                  </a:lnTo>
                  <a:lnTo>
                    <a:pt x="244" y="2"/>
                  </a:lnTo>
                  <a:lnTo>
                    <a:pt x="266" y="4"/>
                  </a:lnTo>
                  <a:lnTo>
                    <a:pt x="288" y="10"/>
                  </a:lnTo>
                  <a:lnTo>
                    <a:pt x="308" y="18"/>
                  </a:lnTo>
                  <a:lnTo>
                    <a:pt x="328" y="28"/>
                  </a:lnTo>
                  <a:lnTo>
                    <a:pt x="346" y="38"/>
                  </a:lnTo>
                  <a:lnTo>
                    <a:pt x="362" y="50"/>
                  </a:lnTo>
                  <a:lnTo>
                    <a:pt x="378" y="66"/>
                  </a:lnTo>
                  <a:lnTo>
                    <a:pt x="392" y="80"/>
                  </a:lnTo>
                  <a:lnTo>
                    <a:pt x="406" y="98"/>
                  </a:lnTo>
                  <a:lnTo>
                    <a:pt x="416" y="116"/>
                  </a:lnTo>
                  <a:lnTo>
                    <a:pt x="426" y="136"/>
                  </a:lnTo>
                  <a:lnTo>
                    <a:pt x="434" y="156"/>
                  </a:lnTo>
                  <a:lnTo>
                    <a:pt x="438" y="178"/>
                  </a:lnTo>
                  <a:lnTo>
                    <a:pt x="442" y="200"/>
                  </a:lnTo>
                  <a:lnTo>
                    <a:pt x="444" y="222"/>
                  </a:lnTo>
                  <a:lnTo>
                    <a:pt x="444" y="222"/>
                  </a:lnTo>
                  <a:close/>
                  <a:moveTo>
                    <a:pt x="444" y="222"/>
                  </a:moveTo>
                  <a:lnTo>
                    <a:pt x="444" y="222"/>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8" name="Line 95">
              <a:extLst>
                <a:ext uri="{FF2B5EF4-FFF2-40B4-BE49-F238E27FC236}">
                  <a16:creationId xmlns:a16="http://schemas.microsoft.com/office/drawing/2014/main" id="{1426AE8B-C98B-44CC-B257-B413470342D9}"/>
                </a:ext>
              </a:extLst>
            </p:cNvPr>
            <p:cNvSpPr>
              <a:spLocks noChangeShapeType="1"/>
            </p:cNvSpPr>
            <p:nvPr/>
          </p:nvSpPr>
          <p:spPr bwMode="auto">
            <a:xfrm>
              <a:off x="-466725" y="42545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96">
              <a:extLst>
                <a:ext uri="{FF2B5EF4-FFF2-40B4-BE49-F238E27FC236}">
                  <a16:creationId xmlns:a16="http://schemas.microsoft.com/office/drawing/2014/main" id="{DE9D826E-08DB-45BB-9FBE-05659F12094E}"/>
                </a:ext>
              </a:extLst>
            </p:cNvPr>
            <p:cNvSpPr>
              <a:spLocks noEditPoints="1"/>
            </p:cNvSpPr>
            <p:nvPr/>
          </p:nvSpPr>
          <p:spPr bwMode="auto">
            <a:xfrm>
              <a:off x="-1581150" y="3759200"/>
              <a:ext cx="987425" cy="990600"/>
            </a:xfrm>
            <a:custGeom>
              <a:avLst/>
              <a:gdLst>
                <a:gd name="T0" fmla="*/ 280 w 622"/>
                <a:gd name="T1" fmla="*/ 622 h 624"/>
                <a:gd name="T2" fmla="*/ 190 w 622"/>
                <a:gd name="T3" fmla="*/ 598 h 624"/>
                <a:gd name="T4" fmla="*/ 114 w 622"/>
                <a:gd name="T5" fmla="*/ 552 h 624"/>
                <a:gd name="T6" fmla="*/ 54 w 622"/>
                <a:gd name="T7" fmla="*/ 486 h 624"/>
                <a:gd name="T8" fmla="*/ 14 w 622"/>
                <a:gd name="T9" fmla="*/ 404 h 624"/>
                <a:gd name="T10" fmla="*/ 0 w 622"/>
                <a:gd name="T11" fmla="*/ 312 h 624"/>
                <a:gd name="T12" fmla="*/ 6 w 622"/>
                <a:gd name="T13" fmla="*/ 250 h 624"/>
                <a:gd name="T14" fmla="*/ 38 w 622"/>
                <a:gd name="T15" fmla="*/ 164 h 624"/>
                <a:gd name="T16" fmla="*/ 92 w 622"/>
                <a:gd name="T17" fmla="*/ 92 h 624"/>
                <a:gd name="T18" fmla="*/ 164 w 622"/>
                <a:gd name="T19" fmla="*/ 38 h 624"/>
                <a:gd name="T20" fmla="*/ 248 w 622"/>
                <a:gd name="T21" fmla="*/ 8 h 624"/>
                <a:gd name="T22" fmla="*/ 312 w 622"/>
                <a:gd name="T23" fmla="*/ 0 h 624"/>
                <a:gd name="T24" fmla="*/ 404 w 622"/>
                <a:gd name="T25" fmla="*/ 14 h 624"/>
                <a:gd name="T26" fmla="*/ 486 w 622"/>
                <a:gd name="T27" fmla="*/ 54 h 624"/>
                <a:gd name="T28" fmla="*/ 552 w 622"/>
                <a:gd name="T29" fmla="*/ 114 h 624"/>
                <a:gd name="T30" fmla="*/ 598 w 622"/>
                <a:gd name="T31" fmla="*/ 190 h 624"/>
                <a:gd name="T32" fmla="*/ 622 w 622"/>
                <a:gd name="T33" fmla="*/ 280 h 624"/>
                <a:gd name="T34" fmla="*/ 622 w 622"/>
                <a:gd name="T35" fmla="*/ 344 h 624"/>
                <a:gd name="T36" fmla="*/ 598 w 622"/>
                <a:gd name="T37" fmla="*/ 434 h 624"/>
                <a:gd name="T38" fmla="*/ 552 w 622"/>
                <a:gd name="T39" fmla="*/ 510 h 624"/>
                <a:gd name="T40" fmla="*/ 486 w 622"/>
                <a:gd name="T41" fmla="*/ 570 h 624"/>
                <a:gd name="T42" fmla="*/ 404 w 622"/>
                <a:gd name="T43" fmla="*/ 610 h 624"/>
                <a:gd name="T44" fmla="*/ 312 w 622"/>
                <a:gd name="T45" fmla="*/ 624 h 624"/>
                <a:gd name="T46" fmla="*/ 312 w 622"/>
                <a:gd name="T47" fmla="*/ 180 h 624"/>
                <a:gd name="T48" fmla="*/ 272 w 622"/>
                <a:gd name="T49" fmla="*/ 186 h 624"/>
                <a:gd name="T50" fmla="*/ 238 w 622"/>
                <a:gd name="T51" fmla="*/ 202 h 624"/>
                <a:gd name="T52" fmla="*/ 210 w 622"/>
                <a:gd name="T53" fmla="*/ 228 h 624"/>
                <a:gd name="T54" fmla="*/ 190 w 622"/>
                <a:gd name="T55" fmla="*/ 260 h 624"/>
                <a:gd name="T56" fmla="*/ 180 w 622"/>
                <a:gd name="T57" fmla="*/ 298 h 624"/>
                <a:gd name="T58" fmla="*/ 180 w 622"/>
                <a:gd name="T59" fmla="*/ 326 h 624"/>
                <a:gd name="T60" fmla="*/ 190 w 622"/>
                <a:gd name="T61" fmla="*/ 364 h 624"/>
                <a:gd name="T62" fmla="*/ 210 w 622"/>
                <a:gd name="T63" fmla="*/ 396 h 624"/>
                <a:gd name="T64" fmla="*/ 238 w 622"/>
                <a:gd name="T65" fmla="*/ 422 h 624"/>
                <a:gd name="T66" fmla="*/ 272 w 622"/>
                <a:gd name="T67" fmla="*/ 438 h 624"/>
                <a:gd name="T68" fmla="*/ 312 w 622"/>
                <a:gd name="T69" fmla="*/ 444 h 624"/>
                <a:gd name="T70" fmla="*/ 338 w 622"/>
                <a:gd name="T71" fmla="*/ 442 h 624"/>
                <a:gd name="T72" fmla="*/ 374 w 622"/>
                <a:gd name="T73" fmla="*/ 428 h 624"/>
                <a:gd name="T74" fmla="*/ 404 w 622"/>
                <a:gd name="T75" fmla="*/ 406 h 624"/>
                <a:gd name="T76" fmla="*/ 428 w 622"/>
                <a:gd name="T77" fmla="*/ 376 h 624"/>
                <a:gd name="T78" fmla="*/ 440 w 622"/>
                <a:gd name="T79" fmla="*/ 338 h 624"/>
                <a:gd name="T80" fmla="*/ 444 w 622"/>
                <a:gd name="T81" fmla="*/ 312 h 624"/>
                <a:gd name="T82" fmla="*/ 438 w 622"/>
                <a:gd name="T83" fmla="*/ 272 h 624"/>
                <a:gd name="T84" fmla="*/ 422 w 622"/>
                <a:gd name="T85" fmla="*/ 238 h 624"/>
                <a:gd name="T86" fmla="*/ 396 w 622"/>
                <a:gd name="T87" fmla="*/ 210 h 624"/>
                <a:gd name="T88" fmla="*/ 362 w 622"/>
                <a:gd name="T89" fmla="*/ 190 h 624"/>
                <a:gd name="T90" fmla="*/ 324 w 622"/>
                <a:gd name="T91" fmla="*/ 180 h 624"/>
                <a:gd name="T92" fmla="*/ 312 w 622"/>
                <a:gd name="T93" fmla="*/ 18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2" h="624">
                  <a:moveTo>
                    <a:pt x="312" y="624"/>
                  </a:moveTo>
                  <a:lnTo>
                    <a:pt x="312" y="624"/>
                  </a:lnTo>
                  <a:lnTo>
                    <a:pt x="280" y="622"/>
                  </a:lnTo>
                  <a:lnTo>
                    <a:pt x="248" y="618"/>
                  </a:lnTo>
                  <a:lnTo>
                    <a:pt x="220" y="610"/>
                  </a:lnTo>
                  <a:lnTo>
                    <a:pt x="190" y="598"/>
                  </a:lnTo>
                  <a:lnTo>
                    <a:pt x="164" y="586"/>
                  </a:lnTo>
                  <a:lnTo>
                    <a:pt x="138" y="570"/>
                  </a:lnTo>
                  <a:lnTo>
                    <a:pt x="114" y="552"/>
                  </a:lnTo>
                  <a:lnTo>
                    <a:pt x="92" y="532"/>
                  </a:lnTo>
                  <a:lnTo>
                    <a:pt x="72" y="510"/>
                  </a:lnTo>
                  <a:lnTo>
                    <a:pt x="54" y="486"/>
                  </a:lnTo>
                  <a:lnTo>
                    <a:pt x="38" y="460"/>
                  </a:lnTo>
                  <a:lnTo>
                    <a:pt x="24" y="434"/>
                  </a:lnTo>
                  <a:lnTo>
                    <a:pt x="14" y="404"/>
                  </a:lnTo>
                  <a:lnTo>
                    <a:pt x="6" y="374"/>
                  </a:lnTo>
                  <a:lnTo>
                    <a:pt x="2" y="344"/>
                  </a:lnTo>
                  <a:lnTo>
                    <a:pt x="0" y="312"/>
                  </a:lnTo>
                  <a:lnTo>
                    <a:pt x="0" y="312"/>
                  </a:lnTo>
                  <a:lnTo>
                    <a:pt x="2" y="280"/>
                  </a:lnTo>
                  <a:lnTo>
                    <a:pt x="6" y="250"/>
                  </a:lnTo>
                  <a:lnTo>
                    <a:pt x="14" y="220"/>
                  </a:lnTo>
                  <a:lnTo>
                    <a:pt x="24" y="190"/>
                  </a:lnTo>
                  <a:lnTo>
                    <a:pt x="38" y="164"/>
                  </a:lnTo>
                  <a:lnTo>
                    <a:pt x="54" y="138"/>
                  </a:lnTo>
                  <a:lnTo>
                    <a:pt x="72" y="114"/>
                  </a:lnTo>
                  <a:lnTo>
                    <a:pt x="92" y="92"/>
                  </a:lnTo>
                  <a:lnTo>
                    <a:pt x="114" y="72"/>
                  </a:lnTo>
                  <a:lnTo>
                    <a:pt x="138" y="54"/>
                  </a:lnTo>
                  <a:lnTo>
                    <a:pt x="164" y="38"/>
                  </a:lnTo>
                  <a:lnTo>
                    <a:pt x="190" y="26"/>
                  </a:lnTo>
                  <a:lnTo>
                    <a:pt x="220" y="14"/>
                  </a:lnTo>
                  <a:lnTo>
                    <a:pt x="248" y="8"/>
                  </a:lnTo>
                  <a:lnTo>
                    <a:pt x="280" y="2"/>
                  </a:lnTo>
                  <a:lnTo>
                    <a:pt x="312" y="0"/>
                  </a:lnTo>
                  <a:lnTo>
                    <a:pt x="312" y="0"/>
                  </a:lnTo>
                  <a:lnTo>
                    <a:pt x="344" y="2"/>
                  </a:lnTo>
                  <a:lnTo>
                    <a:pt x="374" y="8"/>
                  </a:lnTo>
                  <a:lnTo>
                    <a:pt x="404" y="14"/>
                  </a:lnTo>
                  <a:lnTo>
                    <a:pt x="432" y="26"/>
                  </a:lnTo>
                  <a:lnTo>
                    <a:pt x="460" y="38"/>
                  </a:lnTo>
                  <a:lnTo>
                    <a:pt x="486" y="54"/>
                  </a:lnTo>
                  <a:lnTo>
                    <a:pt x="510" y="72"/>
                  </a:lnTo>
                  <a:lnTo>
                    <a:pt x="532" y="92"/>
                  </a:lnTo>
                  <a:lnTo>
                    <a:pt x="552" y="114"/>
                  </a:lnTo>
                  <a:lnTo>
                    <a:pt x="570" y="138"/>
                  </a:lnTo>
                  <a:lnTo>
                    <a:pt x="586" y="164"/>
                  </a:lnTo>
                  <a:lnTo>
                    <a:pt x="598" y="190"/>
                  </a:lnTo>
                  <a:lnTo>
                    <a:pt x="608" y="220"/>
                  </a:lnTo>
                  <a:lnTo>
                    <a:pt x="616" y="250"/>
                  </a:lnTo>
                  <a:lnTo>
                    <a:pt x="622" y="280"/>
                  </a:lnTo>
                  <a:lnTo>
                    <a:pt x="622" y="312"/>
                  </a:lnTo>
                  <a:lnTo>
                    <a:pt x="622" y="312"/>
                  </a:lnTo>
                  <a:lnTo>
                    <a:pt x="622" y="344"/>
                  </a:lnTo>
                  <a:lnTo>
                    <a:pt x="616" y="374"/>
                  </a:lnTo>
                  <a:lnTo>
                    <a:pt x="608" y="404"/>
                  </a:lnTo>
                  <a:lnTo>
                    <a:pt x="598" y="434"/>
                  </a:lnTo>
                  <a:lnTo>
                    <a:pt x="586" y="460"/>
                  </a:lnTo>
                  <a:lnTo>
                    <a:pt x="570" y="486"/>
                  </a:lnTo>
                  <a:lnTo>
                    <a:pt x="552" y="510"/>
                  </a:lnTo>
                  <a:lnTo>
                    <a:pt x="532" y="532"/>
                  </a:lnTo>
                  <a:lnTo>
                    <a:pt x="510" y="552"/>
                  </a:lnTo>
                  <a:lnTo>
                    <a:pt x="486" y="570"/>
                  </a:lnTo>
                  <a:lnTo>
                    <a:pt x="460" y="586"/>
                  </a:lnTo>
                  <a:lnTo>
                    <a:pt x="432" y="598"/>
                  </a:lnTo>
                  <a:lnTo>
                    <a:pt x="404" y="610"/>
                  </a:lnTo>
                  <a:lnTo>
                    <a:pt x="374" y="618"/>
                  </a:lnTo>
                  <a:lnTo>
                    <a:pt x="344" y="622"/>
                  </a:lnTo>
                  <a:lnTo>
                    <a:pt x="312" y="624"/>
                  </a:lnTo>
                  <a:lnTo>
                    <a:pt x="312" y="624"/>
                  </a:lnTo>
                  <a:close/>
                  <a:moveTo>
                    <a:pt x="312" y="180"/>
                  </a:moveTo>
                  <a:lnTo>
                    <a:pt x="312" y="180"/>
                  </a:lnTo>
                  <a:lnTo>
                    <a:pt x="298" y="180"/>
                  </a:lnTo>
                  <a:lnTo>
                    <a:pt x="284" y="182"/>
                  </a:lnTo>
                  <a:lnTo>
                    <a:pt x="272" y="186"/>
                  </a:lnTo>
                  <a:lnTo>
                    <a:pt x="260" y="190"/>
                  </a:lnTo>
                  <a:lnTo>
                    <a:pt x="248" y="196"/>
                  </a:lnTo>
                  <a:lnTo>
                    <a:pt x="238" y="202"/>
                  </a:lnTo>
                  <a:lnTo>
                    <a:pt x="228" y="210"/>
                  </a:lnTo>
                  <a:lnTo>
                    <a:pt x="218" y="218"/>
                  </a:lnTo>
                  <a:lnTo>
                    <a:pt x="210" y="228"/>
                  </a:lnTo>
                  <a:lnTo>
                    <a:pt x="202" y="238"/>
                  </a:lnTo>
                  <a:lnTo>
                    <a:pt x="196" y="250"/>
                  </a:lnTo>
                  <a:lnTo>
                    <a:pt x="190" y="260"/>
                  </a:lnTo>
                  <a:lnTo>
                    <a:pt x="186" y="272"/>
                  </a:lnTo>
                  <a:lnTo>
                    <a:pt x="182" y="286"/>
                  </a:lnTo>
                  <a:lnTo>
                    <a:pt x="180" y="298"/>
                  </a:lnTo>
                  <a:lnTo>
                    <a:pt x="180" y="312"/>
                  </a:lnTo>
                  <a:lnTo>
                    <a:pt x="180" y="312"/>
                  </a:lnTo>
                  <a:lnTo>
                    <a:pt x="180" y="326"/>
                  </a:lnTo>
                  <a:lnTo>
                    <a:pt x="182" y="338"/>
                  </a:lnTo>
                  <a:lnTo>
                    <a:pt x="186" y="352"/>
                  </a:lnTo>
                  <a:lnTo>
                    <a:pt x="190" y="364"/>
                  </a:lnTo>
                  <a:lnTo>
                    <a:pt x="196" y="376"/>
                  </a:lnTo>
                  <a:lnTo>
                    <a:pt x="202" y="386"/>
                  </a:lnTo>
                  <a:lnTo>
                    <a:pt x="210" y="396"/>
                  </a:lnTo>
                  <a:lnTo>
                    <a:pt x="218" y="406"/>
                  </a:lnTo>
                  <a:lnTo>
                    <a:pt x="228" y="414"/>
                  </a:lnTo>
                  <a:lnTo>
                    <a:pt x="238" y="422"/>
                  </a:lnTo>
                  <a:lnTo>
                    <a:pt x="248" y="428"/>
                  </a:lnTo>
                  <a:lnTo>
                    <a:pt x="260" y="434"/>
                  </a:lnTo>
                  <a:lnTo>
                    <a:pt x="272" y="438"/>
                  </a:lnTo>
                  <a:lnTo>
                    <a:pt x="284" y="442"/>
                  </a:lnTo>
                  <a:lnTo>
                    <a:pt x="298" y="444"/>
                  </a:lnTo>
                  <a:lnTo>
                    <a:pt x="312" y="444"/>
                  </a:lnTo>
                  <a:lnTo>
                    <a:pt x="312" y="444"/>
                  </a:lnTo>
                  <a:lnTo>
                    <a:pt x="324" y="444"/>
                  </a:lnTo>
                  <a:lnTo>
                    <a:pt x="338" y="442"/>
                  </a:lnTo>
                  <a:lnTo>
                    <a:pt x="350" y="438"/>
                  </a:lnTo>
                  <a:lnTo>
                    <a:pt x="362" y="434"/>
                  </a:lnTo>
                  <a:lnTo>
                    <a:pt x="374" y="428"/>
                  </a:lnTo>
                  <a:lnTo>
                    <a:pt x="386" y="422"/>
                  </a:lnTo>
                  <a:lnTo>
                    <a:pt x="396" y="414"/>
                  </a:lnTo>
                  <a:lnTo>
                    <a:pt x="404" y="406"/>
                  </a:lnTo>
                  <a:lnTo>
                    <a:pt x="414" y="396"/>
                  </a:lnTo>
                  <a:lnTo>
                    <a:pt x="422" y="386"/>
                  </a:lnTo>
                  <a:lnTo>
                    <a:pt x="428" y="376"/>
                  </a:lnTo>
                  <a:lnTo>
                    <a:pt x="434" y="364"/>
                  </a:lnTo>
                  <a:lnTo>
                    <a:pt x="438" y="352"/>
                  </a:lnTo>
                  <a:lnTo>
                    <a:pt x="440" y="338"/>
                  </a:lnTo>
                  <a:lnTo>
                    <a:pt x="442" y="326"/>
                  </a:lnTo>
                  <a:lnTo>
                    <a:pt x="444" y="312"/>
                  </a:lnTo>
                  <a:lnTo>
                    <a:pt x="444" y="312"/>
                  </a:lnTo>
                  <a:lnTo>
                    <a:pt x="442" y="298"/>
                  </a:lnTo>
                  <a:lnTo>
                    <a:pt x="440" y="286"/>
                  </a:lnTo>
                  <a:lnTo>
                    <a:pt x="438" y="272"/>
                  </a:lnTo>
                  <a:lnTo>
                    <a:pt x="434" y="260"/>
                  </a:lnTo>
                  <a:lnTo>
                    <a:pt x="428" y="250"/>
                  </a:lnTo>
                  <a:lnTo>
                    <a:pt x="422" y="238"/>
                  </a:lnTo>
                  <a:lnTo>
                    <a:pt x="414" y="228"/>
                  </a:lnTo>
                  <a:lnTo>
                    <a:pt x="404" y="218"/>
                  </a:lnTo>
                  <a:lnTo>
                    <a:pt x="396" y="210"/>
                  </a:lnTo>
                  <a:lnTo>
                    <a:pt x="386" y="202"/>
                  </a:lnTo>
                  <a:lnTo>
                    <a:pt x="374" y="196"/>
                  </a:lnTo>
                  <a:lnTo>
                    <a:pt x="362" y="190"/>
                  </a:lnTo>
                  <a:lnTo>
                    <a:pt x="350" y="186"/>
                  </a:lnTo>
                  <a:lnTo>
                    <a:pt x="338" y="182"/>
                  </a:lnTo>
                  <a:lnTo>
                    <a:pt x="324" y="180"/>
                  </a:lnTo>
                  <a:lnTo>
                    <a:pt x="312" y="180"/>
                  </a:lnTo>
                  <a:lnTo>
                    <a:pt x="312" y="180"/>
                  </a:lnTo>
                  <a:close/>
                  <a:moveTo>
                    <a:pt x="312" y="180"/>
                  </a:moveTo>
                  <a:lnTo>
                    <a:pt x="312" y="18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0" name="Freeform 97">
              <a:extLst>
                <a:ext uri="{FF2B5EF4-FFF2-40B4-BE49-F238E27FC236}">
                  <a16:creationId xmlns:a16="http://schemas.microsoft.com/office/drawing/2014/main" id="{2D84AAA2-F4B3-496E-823B-5A3D295FAE3D}"/>
                </a:ext>
              </a:extLst>
            </p:cNvPr>
            <p:cNvSpPr>
              <a:spLocks/>
            </p:cNvSpPr>
            <p:nvPr/>
          </p:nvSpPr>
          <p:spPr bwMode="auto">
            <a:xfrm>
              <a:off x="-1314450" y="3759200"/>
              <a:ext cx="987425" cy="990600"/>
            </a:xfrm>
            <a:custGeom>
              <a:avLst/>
              <a:gdLst>
                <a:gd name="T0" fmla="*/ 312 w 622"/>
                <a:gd name="T1" fmla="*/ 624 h 624"/>
                <a:gd name="T2" fmla="*/ 248 w 622"/>
                <a:gd name="T3" fmla="*/ 618 h 624"/>
                <a:gd name="T4" fmla="*/ 190 w 622"/>
                <a:gd name="T5" fmla="*/ 598 h 624"/>
                <a:gd name="T6" fmla="*/ 138 w 622"/>
                <a:gd name="T7" fmla="*/ 570 h 624"/>
                <a:gd name="T8" fmla="*/ 92 w 622"/>
                <a:gd name="T9" fmla="*/ 532 h 624"/>
                <a:gd name="T10" fmla="*/ 54 w 622"/>
                <a:gd name="T11" fmla="*/ 486 h 624"/>
                <a:gd name="T12" fmla="*/ 24 w 622"/>
                <a:gd name="T13" fmla="*/ 434 h 624"/>
                <a:gd name="T14" fmla="*/ 6 w 622"/>
                <a:gd name="T15" fmla="*/ 374 h 624"/>
                <a:gd name="T16" fmla="*/ 0 w 622"/>
                <a:gd name="T17" fmla="*/ 312 h 624"/>
                <a:gd name="T18" fmla="*/ 2 w 622"/>
                <a:gd name="T19" fmla="*/ 280 h 624"/>
                <a:gd name="T20" fmla="*/ 14 w 622"/>
                <a:gd name="T21" fmla="*/ 220 h 624"/>
                <a:gd name="T22" fmla="*/ 38 w 622"/>
                <a:gd name="T23" fmla="*/ 164 h 624"/>
                <a:gd name="T24" fmla="*/ 72 w 622"/>
                <a:gd name="T25" fmla="*/ 114 h 624"/>
                <a:gd name="T26" fmla="*/ 114 w 622"/>
                <a:gd name="T27" fmla="*/ 72 h 624"/>
                <a:gd name="T28" fmla="*/ 164 w 622"/>
                <a:gd name="T29" fmla="*/ 38 h 624"/>
                <a:gd name="T30" fmla="*/ 220 w 622"/>
                <a:gd name="T31" fmla="*/ 14 h 624"/>
                <a:gd name="T32" fmla="*/ 280 w 622"/>
                <a:gd name="T33" fmla="*/ 2 h 624"/>
                <a:gd name="T34" fmla="*/ 312 w 622"/>
                <a:gd name="T35" fmla="*/ 0 h 624"/>
                <a:gd name="T36" fmla="*/ 374 w 622"/>
                <a:gd name="T37" fmla="*/ 8 h 624"/>
                <a:gd name="T38" fmla="*/ 432 w 622"/>
                <a:gd name="T39" fmla="*/ 26 h 624"/>
                <a:gd name="T40" fmla="*/ 486 w 622"/>
                <a:gd name="T41" fmla="*/ 54 h 624"/>
                <a:gd name="T42" fmla="*/ 532 w 622"/>
                <a:gd name="T43" fmla="*/ 92 h 624"/>
                <a:gd name="T44" fmla="*/ 570 w 622"/>
                <a:gd name="T45" fmla="*/ 138 h 624"/>
                <a:gd name="T46" fmla="*/ 598 w 622"/>
                <a:gd name="T47" fmla="*/ 190 h 624"/>
                <a:gd name="T48" fmla="*/ 616 w 622"/>
                <a:gd name="T49" fmla="*/ 250 h 624"/>
                <a:gd name="T50" fmla="*/ 622 w 622"/>
                <a:gd name="T51" fmla="*/ 312 h 624"/>
                <a:gd name="T52" fmla="*/ 622 w 622"/>
                <a:gd name="T53" fmla="*/ 344 h 624"/>
                <a:gd name="T54" fmla="*/ 608 w 622"/>
                <a:gd name="T55" fmla="*/ 404 h 624"/>
                <a:gd name="T56" fmla="*/ 586 w 622"/>
                <a:gd name="T57" fmla="*/ 460 h 624"/>
                <a:gd name="T58" fmla="*/ 552 w 622"/>
                <a:gd name="T59" fmla="*/ 510 h 624"/>
                <a:gd name="T60" fmla="*/ 510 w 622"/>
                <a:gd name="T61" fmla="*/ 552 h 624"/>
                <a:gd name="T62" fmla="*/ 460 w 622"/>
                <a:gd name="T63" fmla="*/ 586 h 624"/>
                <a:gd name="T64" fmla="*/ 404 w 622"/>
                <a:gd name="T65" fmla="*/ 610 h 624"/>
                <a:gd name="T66" fmla="*/ 344 w 622"/>
                <a:gd name="T67" fmla="*/ 622 h 624"/>
                <a:gd name="T68" fmla="*/ 312 w 622"/>
                <a:gd name="T69" fmla="*/ 624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22" h="624">
                  <a:moveTo>
                    <a:pt x="312" y="624"/>
                  </a:moveTo>
                  <a:lnTo>
                    <a:pt x="312" y="624"/>
                  </a:lnTo>
                  <a:lnTo>
                    <a:pt x="280" y="622"/>
                  </a:lnTo>
                  <a:lnTo>
                    <a:pt x="248" y="618"/>
                  </a:lnTo>
                  <a:lnTo>
                    <a:pt x="220" y="610"/>
                  </a:lnTo>
                  <a:lnTo>
                    <a:pt x="190" y="598"/>
                  </a:lnTo>
                  <a:lnTo>
                    <a:pt x="164" y="586"/>
                  </a:lnTo>
                  <a:lnTo>
                    <a:pt x="138" y="570"/>
                  </a:lnTo>
                  <a:lnTo>
                    <a:pt x="114" y="552"/>
                  </a:lnTo>
                  <a:lnTo>
                    <a:pt x="92" y="532"/>
                  </a:lnTo>
                  <a:lnTo>
                    <a:pt x="72" y="510"/>
                  </a:lnTo>
                  <a:lnTo>
                    <a:pt x="54" y="486"/>
                  </a:lnTo>
                  <a:lnTo>
                    <a:pt x="38" y="460"/>
                  </a:lnTo>
                  <a:lnTo>
                    <a:pt x="24" y="434"/>
                  </a:lnTo>
                  <a:lnTo>
                    <a:pt x="14" y="404"/>
                  </a:lnTo>
                  <a:lnTo>
                    <a:pt x="6" y="374"/>
                  </a:lnTo>
                  <a:lnTo>
                    <a:pt x="2" y="344"/>
                  </a:lnTo>
                  <a:lnTo>
                    <a:pt x="0" y="312"/>
                  </a:lnTo>
                  <a:lnTo>
                    <a:pt x="0" y="312"/>
                  </a:lnTo>
                  <a:lnTo>
                    <a:pt x="2" y="280"/>
                  </a:lnTo>
                  <a:lnTo>
                    <a:pt x="6" y="250"/>
                  </a:lnTo>
                  <a:lnTo>
                    <a:pt x="14" y="220"/>
                  </a:lnTo>
                  <a:lnTo>
                    <a:pt x="24" y="190"/>
                  </a:lnTo>
                  <a:lnTo>
                    <a:pt x="38" y="164"/>
                  </a:lnTo>
                  <a:lnTo>
                    <a:pt x="54" y="138"/>
                  </a:lnTo>
                  <a:lnTo>
                    <a:pt x="72" y="114"/>
                  </a:lnTo>
                  <a:lnTo>
                    <a:pt x="92" y="92"/>
                  </a:lnTo>
                  <a:lnTo>
                    <a:pt x="114" y="72"/>
                  </a:lnTo>
                  <a:lnTo>
                    <a:pt x="138" y="54"/>
                  </a:lnTo>
                  <a:lnTo>
                    <a:pt x="164" y="38"/>
                  </a:lnTo>
                  <a:lnTo>
                    <a:pt x="190" y="26"/>
                  </a:lnTo>
                  <a:lnTo>
                    <a:pt x="220" y="14"/>
                  </a:lnTo>
                  <a:lnTo>
                    <a:pt x="248" y="8"/>
                  </a:lnTo>
                  <a:lnTo>
                    <a:pt x="280" y="2"/>
                  </a:lnTo>
                  <a:lnTo>
                    <a:pt x="312" y="0"/>
                  </a:lnTo>
                  <a:lnTo>
                    <a:pt x="312" y="0"/>
                  </a:lnTo>
                  <a:lnTo>
                    <a:pt x="344" y="2"/>
                  </a:lnTo>
                  <a:lnTo>
                    <a:pt x="374" y="8"/>
                  </a:lnTo>
                  <a:lnTo>
                    <a:pt x="404" y="14"/>
                  </a:lnTo>
                  <a:lnTo>
                    <a:pt x="432" y="26"/>
                  </a:lnTo>
                  <a:lnTo>
                    <a:pt x="460" y="38"/>
                  </a:lnTo>
                  <a:lnTo>
                    <a:pt x="486" y="54"/>
                  </a:lnTo>
                  <a:lnTo>
                    <a:pt x="510" y="72"/>
                  </a:lnTo>
                  <a:lnTo>
                    <a:pt x="532" y="92"/>
                  </a:lnTo>
                  <a:lnTo>
                    <a:pt x="552" y="114"/>
                  </a:lnTo>
                  <a:lnTo>
                    <a:pt x="570" y="138"/>
                  </a:lnTo>
                  <a:lnTo>
                    <a:pt x="586" y="164"/>
                  </a:lnTo>
                  <a:lnTo>
                    <a:pt x="598" y="190"/>
                  </a:lnTo>
                  <a:lnTo>
                    <a:pt x="608" y="220"/>
                  </a:lnTo>
                  <a:lnTo>
                    <a:pt x="616" y="250"/>
                  </a:lnTo>
                  <a:lnTo>
                    <a:pt x="622" y="280"/>
                  </a:lnTo>
                  <a:lnTo>
                    <a:pt x="622" y="312"/>
                  </a:lnTo>
                  <a:lnTo>
                    <a:pt x="622" y="312"/>
                  </a:lnTo>
                  <a:lnTo>
                    <a:pt x="622" y="344"/>
                  </a:lnTo>
                  <a:lnTo>
                    <a:pt x="616" y="374"/>
                  </a:lnTo>
                  <a:lnTo>
                    <a:pt x="608" y="404"/>
                  </a:lnTo>
                  <a:lnTo>
                    <a:pt x="598" y="434"/>
                  </a:lnTo>
                  <a:lnTo>
                    <a:pt x="586" y="460"/>
                  </a:lnTo>
                  <a:lnTo>
                    <a:pt x="570" y="486"/>
                  </a:lnTo>
                  <a:lnTo>
                    <a:pt x="552" y="510"/>
                  </a:lnTo>
                  <a:lnTo>
                    <a:pt x="532" y="532"/>
                  </a:lnTo>
                  <a:lnTo>
                    <a:pt x="510" y="552"/>
                  </a:lnTo>
                  <a:lnTo>
                    <a:pt x="486" y="570"/>
                  </a:lnTo>
                  <a:lnTo>
                    <a:pt x="460" y="586"/>
                  </a:lnTo>
                  <a:lnTo>
                    <a:pt x="432" y="598"/>
                  </a:lnTo>
                  <a:lnTo>
                    <a:pt x="404" y="610"/>
                  </a:lnTo>
                  <a:lnTo>
                    <a:pt x="374" y="618"/>
                  </a:lnTo>
                  <a:lnTo>
                    <a:pt x="344" y="622"/>
                  </a:lnTo>
                  <a:lnTo>
                    <a:pt x="312" y="624"/>
                  </a:lnTo>
                  <a:lnTo>
                    <a:pt x="312" y="6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98">
              <a:extLst>
                <a:ext uri="{FF2B5EF4-FFF2-40B4-BE49-F238E27FC236}">
                  <a16:creationId xmlns:a16="http://schemas.microsoft.com/office/drawing/2014/main" id="{9FC54E62-24F0-4DAC-AE92-12E9334BD0F9}"/>
                </a:ext>
              </a:extLst>
            </p:cNvPr>
            <p:cNvSpPr>
              <a:spLocks/>
            </p:cNvSpPr>
            <p:nvPr/>
          </p:nvSpPr>
          <p:spPr bwMode="auto">
            <a:xfrm>
              <a:off x="-1028700" y="4044950"/>
              <a:ext cx="419100" cy="419100"/>
            </a:xfrm>
            <a:custGeom>
              <a:avLst/>
              <a:gdLst>
                <a:gd name="T0" fmla="*/ 132 w 264"/>
                <a:gd name="T1" fmla="*/ 0 h 264"/>
                <a:gd name="T2" fmla="*/ 104 w 264"/>
                <a:gd name="T3" fmla="*/ 2 h 264"/>
                <a:gd name="T4" fmla="*/ 80 w 264"/>
                <a:gd name="T5" fmla="*/ 10 h 264"/>
                <a:gd name="T6" fmla="*/ 58 w 264"/>
                <a:gd name="T7" fmla="*/ 22 h 264"/>
                <a:gd name="T8" fmla="*/ 38 w 264"/>
                <a:gd name="T9" fmla="*/ 38 h 264"/>
                <a:gd name="T10" fmla="*/ 22 w 264"/>
                <a:gd name="T11" fmla="*/ 58 h 264"/>
                <a:gd name="T12" fmla="*/ 10 w 264"/>
                <a:gd name="T13" fmla="*/ 80 h 264"/>
                <a:gd name="T14" fmla="*/ 2 w 264"/>
                <a:gd name="T15" fmla="*/ 106 h 264"/>
                <a:gd name="T16" fmla="*/ 0 w 264"/>
                <a:gd name="T17" fmla="*/ 132 h 264"/>
                <a:gd name="T18" fmla="*/ 0 w 264"/>
                <a:gd name="T19" fmla="*/ 146 h 264"/>
                <a:gd name="T20" fmla="*/ 6 w 264"/>
                <a:gd name="T21" fmla="*/ 172 h 264"/>
                <a:gd name="T22" fmla="*/ 16 w 264"/>
                <a:gd name="T23" fmla="*/ 196 h 264"/>
                <a:gd name="T24" fmla="*/ 30 w 264"/>
                <a:gd name="T25" fmla="*/ 216 h 264"/>
                <a:gd name="T26" fmla="*/ 48 w 264"/>
                <a:gd name="T27" fmla="*/ 234 h 264"/>
                <a:gd name="T28" fmla="*/ 68 w 264"/>
                <a:gd name="T29" fmla="*/ 248 h 264"/>
                <a:gd name="T30" fmla="*/ 92 w 264"/>
                <a:gd name="T31" fmla="*/ 258 h 264"/>
                <a:gd name="T32" fmla="*/ 118 w 264"/>
                <a:gd name="T33" fmla="*/ 264 h 264"/>
                <a:gd name="T34" fmla="*/ 132 w 264"/>
                <a:gd name="T35" fmla="*/ 264 h 264"/>
                <a:gd name="T36" fmla="*/ 158 w 264"/>
                <a:gd name="T37" fmla="*/ 262 h 264"/>
                <a:gd name="T38" fmla="*/ 182 w 264"/>
                <a:gd name="T39" fmla="*/ 254 h 264"/>
                <a:gd name="T40" fmla="*/ 206 w 264"/>
                <a:gd name="T41" fmla="*/ 242 h 264"/>
                <a:gd name="T42" fmla="*/ 224 w 264"/>
                <a:gd name="T43" fmla="*/ 226 h 264"/>
                <a:gd name="T44" fmla="*/ 242 w 264"/>
                <a:gd name="T45" fmla="*/ 206 h 264"/>
                <a:gd name="T46" fmla="*/ 254 w 264"/>
                <a:gd name="T47" fmla="*/ 184 h 264"/>
                <a:gd name="T48" fmla="*/ 260 w 264"/>
                <a:gd name="T49" fmla="*/ 158 h 264"/>
                <a:gd name="T50" fmla="*/ 264 w 264"/>
                <a:gd name="T51" fmla="*/ 132 h 264"/>
                <a:gd name="T52" fmla="*/ 262 w 264"/>
                <a:gd name="T53" fmla="*/ 118 h 264"/>
                <a:gd name="T54" fmla="*/ 258 w 264"/>
                <a:gd name="T55" fmla="*/ 92 h 264"/>
                <a:gd name="T56" fmla="*/ 248 w 264"/>
                <a:gd name="T57" fmla="*/ 70 h 264"/>
                <a:gd name="T58" fmla="*/ 234 w 264"/>
                <a:gd name="T59" fmla="*/ 48 h 264"/>
                <a:gd name="T60" fmla="*/ 216 w 264"/>
                <a:gd name="T61" fmla="*/ 30 h 264"/>
                <a:gd name="T62" fmla="*/ 194 w 264"/>
                <a:gd name="T63" fmla="*/ 16 h 264"/>
                <a:gd name="T64" fmla="*/ 170 w 264"/>
                <a:gd name="T65" fmla="*/ 6 h 264"/>
                <a:gd name="T66" fmla="*/ 144 w 264"/>
                <a:gd name="T67" fmla="*/ 0 h 264"/>
                <a:gd name="T68" fmla="*/ 132 w 264"/>
                <a:gd name="T69"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4" h="264">
                  <a:moveTo>
                    <a:pt x="132" y="0"/>
                  </a:moveTo>
                  <a:lnTo>
                    <a:pt x="132" y="0"/>
                  </a:lnTo>
                  <a:lnTo>
                    <a:pt x="118" y="0"/>
                  </a:lnTo>
                  <a:lnTo>
                    <a:pt x="104" y="2"/>
                  </a:lnTo>
                  <a:lnTo>
                    <a:pt x="92" y="6"/>
                  </a:lnTo>
                  <a:lnTo>
                    <a:pt x="80" y="10"/>
                  </a:lnTo>
                  <a:lnTo>
                    <a:pt x="68" y="16"/>
                  </a:lnTo>
                  <a:lnTo>
                    <a:pt x="58" y="22"/>
                  </a:lnTo>
                  <a:lnTo>
                    <a:pt x="48" y="30"/>
                  </a:lnTo>
                  <a:lnTo>
                    <a:pt x="38" y="38"/>
                  </a:lnTo>
                  <a:lnTo>
                    <a:pt x="30" y="48"/>
                  </a:lnTo>
                  <a:lnTo>
                    <a:pt x="22" y="58"/>
                  </a:lnTo>
                  <a:lnTo>
                    <a:pt x="16" y="70"/>
                  </a:lnTo>
                  <a:lnTo>
                    <a:pt x="10" y="80"/>
                  </a:lnTo>
                  <a:lnTo>
                    <a:pt x="6" y="92"/>
                  </a:lnTo>
                  <a:lnTo>
                    <a:pt x="2" y="106"/>
                  </a:lnTo>
                  <a:lnTo>
                    <a:pt x="0" y="118"/>
                  </a:lnTo>
                  <a:lnTo>
                    <a:pt x="0" y="132"/>
                  </a:lnTo>
                  <a:lnTo>
                    <a:pt x="0" y="132"/>
                  </a:lnTo>
                  <a:lnTo>
                    <a:pt x="0" y="146"/>
                  </a:lnTo>
                  <a:lnTo>
                    <a:pt x="2" y="158"/>
                  </a:lnTo>
                  <a:lnTo>
                    <a:pt x="6" y="172"/>
                  </a:lnTo>
                  <a:lnTo>
                    <a:pt x="10" y="184"/>
                  </a:lnTo>
                  <a:lnTo>
                    <a:pt x="16" y="196"/>
                  </a:lnTo>
                  <a:lnTo>
                    <a:pt x="22" y="206"/>
                  </a:lnTo>
                  <a:lnTo>
                    <a:pt x="30" y="216"/>
                  </a:lnTo>
                  <a:lnTo>
                    <a:pt x="38" y="226"/>
                  </a:lnTo>
                  <a:lnTo>
                    <a:pt x="48" y="234"/>
                  </a:lnTo>
                  <a:lnTo>
                    <a:pt x="58" y="242"/>
                  </a:lnTo>
                  <a:lnTo>
                    <a:pt x="68" y="248"/>
                  </a:lnTo>
                  <a:lnTo>
                    <a:pt x="80" y="254"/>
                  </a:lnTo>
                  <a:lnTo>
                    <a:pt x="92" y="258"/>
                  </a:lnTo>
                  <a:lnTo>
                    <a:pt x="104" y="262"/>
                  </a:lnTo>
                  <a:lnTo>
                    <a:pt x="118" y="264"/>
                  </a:lnTo>
                  <a:lnTo>
                    <a:pt x="132" y="264"/>
                  </a:lnTo>
                  <a:lnTo>
                    <a:pt x="132" y="264"/>
                  </a:lnTo>
                  <a:lnTo>
                    <a:pt x="144" y="264"/>
                  </a:lnTo>
                  <a:lnTo>
                    <a:pt x="158" y="262"/>
                  </a:lnTo>
                  <a:lnTo>
                    <a:pt x="170" y="258"/>
                  </a:lnTo>
                  <a:lnTo>
                    <a:pt x="182" y="254"/>
                  </a:lnTo>
                  <a:lnTo>
                    <a:pt x="194" y="248"/>
                  </a:lnTo>
                  <a:lnTo>
                    <a:pt x="206" y="242"/>
                  </a:lnTo>
                  <a:lnTo>
                    <a:pt x="216" y="234"/>
                  </a:lnTo>
                  <a:lnTo>
                    <a:pt x="224" y="226"/>
                  </a:lnTo>
                  <a:lnTo>
                    <a:pt x="234" y="216"/>
                  </a:lnTo>
                  <a:lnTo>
                    <a:pt x="242" y="206"/>
                  </a:lnTo>
                  <a:lnTo>
                    <a:pt x="248" y="196"/>
                  </a:lnTo>
                  <a:lnTo>
                    <a:pt x="254" y="184"/>
                  </a:lnTo>
                  <a:lnTo>
                    <a:pt x="258" y="172"/>
                  </a:lnTo>
                  <a:lnTo>
                    <a:pt x="260" y="158"/>
                  </a:lnTo>
                  <a:lnTo>
                    <a:pt x="262" y="146"/>
                  </a:lnTo>
                  <a:lnTo>
                    <a:pt x="264" y="132"/>
                  </a:lnTo>
                  <a:lnTo>
                    <a:pt x="264" y="132"/>
                  </a:lnTo>
                  <a:lnTo>
                    <a:pt x="262" y="118"/>
                  </a:lnTo>
                  <a:lnTo>
                    <a:pt x="260" y="106"/>
                  </a:lnTo>
                  <a:lnTo>
                    <a:pt x="258" y="92"/>
                  </a:lnTo>
                  <a:lnTo>
                    <a:pt x="254" y="80"/>
                  </a:lnTo>
                  <a:lnTo>
                    <a:pt x="248" y="70"/>
                  </a:lnTo>
                  <a:lnTo>
                    <a:pt x="242" y="58"/>
                  </a:lnTo>
                  <a:lnTo>
                    <a:pt x="234" y="48"/>
                  </a:lnTo>
                  <a:lnTo>
                    <a:pt x="224" y="38"/>
                  </a:lnTo>
                  <a:lnTo>
                    <a:pt x="216" y="30"/>
                  </a:lnTo>
                  <a:lnTo>
                    <a:pt x="206" y="22"/>
                  </a:lnTo>
                  <a:lnTo>
                    <a:pt x="194" y="16"/>
                  </a:lnTo>
                  <a:lnTo>
                    <a:pt x="182" y="10"/>
                  </a:lnTo>
                  <a:lnTo>
                    <a:pt x="170" y="6"/>
                  </a:lnTo>
                  <a:lnTo>
                    <a:pt x="158" y="2"/>
                  </a:lnTo>
                  <a:lnTo>
                    <a:pt x="144" y="0"/>
                  </a:lnTo>
                  <a:lnTo>
                    <a:pt x="132" y="0"/>
                  </a:lnTo>
                  <a:lnTo>
                    <a:pt x="1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Line 99">
              <a:extLst>
                <a:ext uri="{FF2B5EF4-FFF2-40B4-BE49-F238E27FC236}">
                  <a16:creationId xmlns:a16="http://schemas.microsoft.com/office/drawing/2014/main" id="{365CE25A-A672-4EC2-97FB-D6BD14A6827F}"/>
                </a:ext>
              </a:extLst>
            </p:cNvPr>
            <p:cNvSpPr>
              <a:spLocks noChangeShapeType="1"/>
            </p:cNvSpPr>
            <p:nvPr/>
          </p:nvSpPr>
          <p:spPr bwMode="auto">
            <a:xfrm>
              <a:off x="-819150" y="40449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100">
              <a:extLst>
                <a:ext uri="{FF2B5EF4-FFF2-40B4-BE49-F238E27FC236}">
                  <a16:creationId xmlns:a16="http://schemas.microsoft.com/office/drawing/2014/main" id="{80FAD024-60BB-43BD-9067-887D4B199989}"/>
                </a:ext>
              </a:extLst>
            </p:cNvPr>
            <p:cNvSpPr>
              <a:spLocks noEditPoints="1"/>
            </p:cNvSpPr>
            <p:nvPr/>
          </p:nvSpPr>
          <p:spPr bwMode="auto">
            <a:xfrm>
              <a:off x="-4908550" y="5038725"/>
              <a:ext cx="771525" cy="774700"/>
            </a:xfrm>
            <a:custGeom>
              <a:avLst/>
              <a:gdLst>
                <a:gd name="T0" fmla="*/ 486 w 486"/>
                <a:gd name="T1" fmla="*/ 244 h 488"/>
                <a:gd name="T2" fmla="*/ 482 w 486"/>
                <a:gd name="T3" fmla="*/ 294 h 488"/>
                <a:gd name="T4" fmla="*/ 468 w 486"/>
                <a:gd name="T5" fmla="*/ 338 h 488"/>
                <a:gd name="T6" fmla="*/ 444 w 486"/>
                <a:gd name="T7" fmla="*/ 380 h 488"/>
                <a:gd name="T8" fmla="*/ 416 w 486"/>
                <a:gd name="T9" fmla="*/ 416 h 488"/>
                <a:gd name="T10" fmla="*/ 380 w 486"/>
                <a:gd name="T11" fmla="*/ 446 h 488"/>
                <a:gd name="T12" fmla="*/ 338 w 486"/>
                <a:gd name="T13" fmla="*/ 468 h 488"/>
                <a:gd name="T14" fmla="*/ 292 w 486"/>
                <a:gd name="T15" fmla="*/ 482 h 488"/>
                <a:gd name="T16" fmla="*/ 244 w 486"/>
                <a:gd name="T17" fmla="*/ 488 h 488"/>
                <a:gd name="T18" fmla="*/ 218 w 486"/>
                <a:gd name="T19" fmla="*/ 486 h 488"/>
                <a:gd name="T20" fmla="*/ 170 w 486"/>
                <a:gd name="T21" fmla="*/ 476 h 488"/>
                <a:gd name="T22" fmla="*/ 126 w 486"/>
                <a:gd name="T23" fmla="*/ 458 h 488"/>
                <a:gd name="T24" fmla="*/ 88 w 486"/>
                <a:gd name="T25" fmla="*/ 432 h 488"/>
                <a:gd name="T26" fmla="*/ 56 w 486"/>
                <a:gd name="T27" fmla="*/ 398 h 488"/>
                <a:gd name="T28" fmla="*/ 28 w 486"/>
                <a:gd name="T29" fmla="*/ 360 h 488"/>
                <a:gd name="T30" fmla="*/ 10 w 486"/>
                <a:gd name="T31" fmla="*/ 316 h 488"/>
                <a:gd name="T32" fmla="*/ 0 w 486"/>
                <a:gd name="T33" fmla="*/ 268 h 488"/>
                <a:gd name="T34" fmla="*/ 0 w 486"/>
                <a:gd name="T35" fmla="*/ 244 h 488"/>
                <a:gd name="T36" fmla="*/ 4 w 486"/>
                <a:gd name="T37" fmla="*/ 194 h 488"/>
                <a:gd name="T38" fmla="*/ 18 w 486"/>
                <a:gd name="T39" fmla="*/ 150 h 488"/>
                <a:gd name="T40" fmla="*/ 42 w 486"/>
                <a:gd name="T41" fmla="*/ 108 h 488"/>
                <a:gd name="T42" fmla="*/ 70 w 486"/>
                <a:gd name="T43" fmla="*/ 72 h 488"/>
                <a:gd name="T44" fmla="*/ 106 w 486"/>
                <a:gd name="T45" fmla="*/ 42 h 488"/>
                <a:gd name="T46" fmla="*/ 148 w 486"/>
                <a:gd name="T47" fmla="*/ 20 h 488"/>
                <a:gd name="T48" fmla="*/ 194 w 486"/>
                <a:gd name="T49" fmla="*/ 6 h 488"/>
                <a:gd name="T50" fmla="*/ 244 w 486"/>
                <a:gd name="T51" fmla="*/ 0 h 488"/>
                <a:gd name="T52" fmla="*/ 268 w 486"/>
                <a:gd name="T53" fmla="*/ 2 h 488"/>
                <a:gd name="T54" fmla="*/ 316 w 486"/>
                <a:gd name="T55" fmla="*/ 12 h 488"/>
                <a:gd name="T56" fmla="*/ 360 w 486"/>
                <a:gd name="T57" fmla="*/ 30 h 488"/>
                <a:gd name="T58" fmla="*/ 398 w 486"/>
                <a:gd name="T59" fmla="*/ 56 h 488"/>
                <a:gd name="T60" fmla="*/ 430 w 486"/>
                <a:gd name="T61" fmla="*/ 90 h 488"/>
                <a:gd name="T62" fmla="*/ 458 w 486"/>
                <a:gd name="T63" fmla="*/ 128 h 488"/>
                <a:gd name="T64" fmla="*/ 476 w 486"/>
                <a:gd name="T65" fmla="*/ 172 h 488"/>
                <a:gd name="T66" fmla="*/ 486 w 486"/>
                <a:gd name="T67" fmla="*/ 220 h 488"/>
                <a:gd name="T68" fmla="*/ 486 w 486"/>
                <a:gd name="T69" fmla="*/ 244 h 488"/>
                <a:gd name="T70" fmla="*/ 486 w 486"/>
                <a:gd name="T71" fmla="*/ 244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6" h="488">
                  <a:moveTo>
                    <a:pt x="486" y="244"/>
                  </a:moveTo>
                  <a:lnTo>
                    <a:pt x="486" y="244"/>
                  </a:lnTo>
                  <a:lnTo>
                    <a:pt x="486" y="268"/>
                  </a:lnTo>
                  <a:lnTo>
                    <a:pt x="482" y="294"/>
                  </a:lnTo>
                  <a:lnTo>
                    <a:pt x="476" y="316"/>
                  </a:lnTo>
                  <a:lnTo>
                    <a:pt x="468" y="338"/>
                  </a:lnTo>
                  <a:lnTo>
                    <a:pt x="458" y="360"/>
                  </a:lnTo>
                  <a:lnTo>
                    <a:pt x="444" y="380"/>
                  </a:lnTo>
                  <a:lnTo>
                    <a:pt x="430" y="398"/>
                  </a:lnTo>
                  <a:lnTo>
                    <a:pt x="416" y="416"/>
                  </a:lnTo>
                  <a:lnTo>
                    <a:pt x="398" y="432"/>
                  </a:lnTo>
                  <a:lnTo>
                    <a:pt x="380" y="446"/>
                  </a:lnTo>
                  <a:lnTo>
                    <a:pt x="360" y="458"/>
                  </a:lnTo>
                  <a:lnTo>
                    <a:pt x="338" y="468"/>
                  </a:lnTo>
                  <a:lnTo>
                    <a:pt x="316" y="476"/>
                  </a:lnTo>
                  <a:lnTo>
                    <a:pt x="292" y="482"/>
                  </a:lnTo>
                  <a:lnTo>
                    <a:pt x="268" y="486"/>
                  </a:lnTo>
                  <a:lnTo>
                    <a:pt x="244" y="488"/>
                  </a:lnTo>
                  <a:lnTo>
                    <a:pt x="244" y="488"/>
                  </a:lnTo>
                  <a:lnTo>
                    <a:pt x="218" y="486"/>
                  </a:lnTo>
                  <a:lnTo>
                    <a:pt x="194" y="482"/>
                  </a:lnTo>
                  <a:lnTo>
                    <a:pt x="170" y="476"/>
                  </a:lnTo>
                  <a:lnTo>
                    <a:pt x="148" y="468"/>
                  </a:lnTo>
                  <a:lnTo>
                    <a:pt x="126" y="458"/>
                  </a:lnTo>
                  <a:lnTo>
                    <a:pt x="106" y="446"/>
                  </a:lnTo>
                  <a:lnTo>
                    <a:pt x="88" y="432"/>
                  </a:lnTo>
                  <a:lnTo>
                    <a:pt x="70" y="416"/>
                  </a:lnTo>
                  <a:lnTo>
                    <a:pt x="56" y="398"/>
                  </a:lnTo>
                  <a:lnTo>
                    <a:pt x="42" y="380"/>
                  </a:lnTo>
                  <a:lnTo>
                    <a:pt x="28" y="360"/>
                  </a:lnTo>
                  <a:lnTo>
                    <a:pt x="18" y="338"/>
                  </a:lnTo>
                  <a:lnTo>
                    <a:pt x="10" y="316"/>
                  </a:lnTo>
                  <a:lnTo>
                    <a:pt x="4" y="294"/>
                  </a:lnTo>
                  <a:lnTo>
                    <a:pt x="0" y="268"/>
                  </a:lnTo>
                  <a:lnTo>
                    <a:pt x="0" y="244"/>
                  </a:lnTo>
                  <a:lnTo>
                    <a:pt x="0" y="244"/>
                  </a:lnTo>
                  <a:lnTo>
                    <a:pt x="0" y="220"/>
                  </a:lnTo>
                  <a:lnTo>
                    <a:pt x="4" y="194"/>
                  </a:lnTo>
                  <a:lnTo>
                    <a:pt x="10" y="172"/>
                  </a:lnTo>
                  <a:lnTo>
                    <a:pt x="18" y="150"/>
                  </a:lnTo>
                  <a:lnTo>
                    <a:pt x="28" y="128"/>
                  </a:lnTo>
                  <a:lnTo>
                    <a:pt x="42" y="108"/>
                  </a:lnTo>
                  <a:lnTo>
                    <a:pt x="56" y="90"/>
                  </a:lnTo>
                  <a:lnTo>
                    <a:pt x="70" y="72"/>
                  </a:lnTo>
                  <a:lnTo>
                    <a:pt x="88" y="56"/>
                  </a:lnTo>
                  <a:lnTo>
                    <a:pt x="106" y="42"/>
                  </a:lnTo>
                  <a:lnTo>
                    <a:pt x="126" y="30"/>
                  </a:lnTo>
                  <a:lnTo>
                    <a:pt x="148" y="20"/>
                  </a:lnTo>
                  <a:lnTo>
                    <a:pt x="170" y="12"/>
                  </a:lnTo>
                  <a:lnTo>
                    <a:pt x="194" y="6"/>
                  </a:lnTo>
                  <a:lnTo>
                    <a:pt x="218" y="2"/>
                  </a:lnTo>
                  <a:lnTo>
                    <a:pt x="244" y="0"/>
                  </a:lnTo>
                  <a:lnTo>
                    <a:pt x="244" y="0"/>
                  </a:lnTo>
                  <a:lnTo>
                    <a:pt x="268" y="2"/>
                  </a:lnTo>
                  <a:lnTo>
                    <a:pt x="292" y="6"/>
                  </a:lnTo>
                  <a:lnTo>
                    <a:pt x="316" y="12"/>
                  </a:lnTo>
                  <a:lnTo>
                    <a:pt x="338" y="20"/>
                  </a:lnTo>
                  <a:lnTo>
                    <a:pt x="360" y="30"/>
                  </a:lnTo>
                  <a:lnTo>
                    <a:pt x="380" y="42"/>
                  </a:lnTo>
                  <a:lnTo>
                    <a:pt x="398" y="56"/>
                  </a:lnTo>
                  <a:lnTo>
                    <a:pt x="416" y="72"/>
                  </a:lnTo>
                  <a:lnTo>
                    <a:pt x="430" y="90"/>
                  </a:lnTo>
                  <a:lnTo>
                    <a:pt x="444" y="108"/>
                  </a:lnTo>
                  <a:lnTo>
                    <a:pt x="458" y="128"/>
                  </a:lnTo>
                  <a:lnTo>
                    <a:pt x="468" y="150"/>
                  </a:lnTo>
                  <a:lnTo>
                    <a:pt x="476" y="172"/>
                  </a:lnTo>
                  <a:lnTo>
                    <a:pt x="482" y="194"/>
                  </a:lnTo>
                  <a:lnTo>
                    <a:pt x="486" y="220"/>
                  </a:lnTo>
                  <a:lnTo>
                    <a:pt x="486" y="244"/>
                  </a:lnTo>
                  <a:lnTo>
                    <a:pt x="486" y="244"/>
                  </a:lnTo>
                  <a:close/>
                  <a:moveTo>
                    <a:pt x="486" y="244"/>
                  </a:moveTo>
                  <a:lnTo>
                    <a:pt x="486" y="244"/>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 name="Freeform 101">
              <a:extLst>
                <a:ext uri="{FF2B5EF4-FFF2-40B4-BE49-F238E27FC236}">
                  <a16:creationId xmlns:a16="http://schemas.microsoft.com/office/drawing/2014/main" id="{AF5EBAE7-77DC-45B8-AAFA-F7F5CA4BFB4B}"/>
                </a:ext>
              </a:extLst>
            </p:cNvPr>
            <p:cNvSpPr>
              <a:spLocks/>
            </p:cNvSpPr>
            <p:nvPr/>
          </p:nvSpPr>
          <p:spPr bwMode="auto">
            <a:xfrm>
              <a:off x="-4908550" y="5038725"/>
              <a:ext cx="771525" cy="774700"/>
            </a:xfrm>
            <a:custGeom>
              <a:avLst/>
              <a:gdLst>
                <a:gd name="T0" fmla="*/ 486 w 486"/>
                <a:gd name="T1" fmla="*/ 244 h 488"/>
                <a:gd name="T2" fmla="*/ 482 w 486"/>
                <a:gd name="T3" fmla="*/ 294 h 488"/>
                <a:gd name="T4" fmla="*/ 468 w 486"/>
                <a:gd name="T5" fmla="*/ 338 h 488"/>
                <a:gd name="T6" fmla="*/ 444 w 486"/>
                <a:gd name="T7" fmla="*/ 380 h 488"/>
                <a:gd name="T8" fmla="*/ 416 w 486"/>
                <a:gd name="T9" fmla="*/ 416 h 488"/>
                <a:gd name="T10" fmla="*/ 380 w 486"/>
                <a:gd name="T11" fmla="*/ 446 h 488"/>
                <a:gd name="T12" fmla="*/ 338 w 486"/>
                <a:gd name="T13" fmla="*/ 468 h 488"/>
                <a:gd name="T14" fmla="*/ 292 w 486"/>
                <a:gd name="T15" fmla="*/ 482 h 488"/>
                <a:gd name="T16" fmla="*/ 244 w 486"/>
                <a:gd name="T17" fmla="*/ 488 h 488"/>
                <a:gd name="T18" fmla="*/ 218 w 486"/>
                <a:gd name="T19" fmla="*/ 486 h 488"/>
                <a:gd name="T20" fmla="*/ 170 w 486"/>
                <a:gd name="T21" fmla="*/ 476 h 488"/>
                <a:gd name="T22" fmla="*/ 126 w 486"/>
                <a:gd name="T23" fmla="*/ 458 h 488"/>
                <a:gd name="T24" fmla="*/ 88 w 486"/>
                <a:gd name="T25" fmla="*/ 432 h 488"/>
                <a:gd name="T26" fmla="*/ 56 w 486"/>
                <a:gd name="T27" fmla="*/ 398 h 488"/>
                <a:gd name="T28" fmla="*/ 28 w 486"/>
                <a:gd name="T29" fmla="*/ 360 h 488"/>
                <a:gd name="T30" fmla="*/ 10 w 486"/>
                <a:gd name="T31" fmla="*/ 316 h 488"/>
                <a:gd name="T32" fmla="*/ 0 w 486"/>
                <a:gd name="T33" fmla="*/ 268 h 488"/>
                <a:gd name="T34" fmla="*/ 0 w 486"/>
                <a:gd name="T35" fmla="*/ 244 h 488"/>
                <a:gd name="T36" fmla="*/ 4 w 486"/>
                <a:gd name="T37" fmla="*/ 194 h 488"/>
                <a:gd name="T38" fmla="*/ 18 w 486"/>
                <a:gd name="T39" fmla="*/ 150 h 488"/>
                <a:gd name="T40" fmla="*/ 42 w 486"/>
                <a:gd name="T41" fmla="*/ 108 h 488"/>
                <a:gd name="T42" fmla="*/ 70 w 486"/>
                <a:gd name="T43" fmla="*/ 72 h 488"/>
                <a:gd name="T44" fmla="*/ 106 w 486"/>
                <a:gd name="T45" fmla="*/ 42 h 488"/>
                <a:gd name="T46" fmla="*/ 148 w 486"/>
                <a:gd name="T47" fmla="*/ 20 h 488"/>
                <a:gd name="T48" fmla="*/ 194 w 486"/>
                <a:gd name="T49" fmla="*/ 6 h 488"/>
                <a:gd name="T50" fmla="*/ 244 w 486"/>
                <a:gd name="T51" fmla="*/ 0 h 488"/>
                <a:gd name="T52" fmla="*/ 268 w 486"/>
                <a:gd name="T53" fmla="*/ 2 h 488"/>
                <a:gd name="T54" fmla="*/ 316 w 486"/>
                <a:gd name="T55" fmla="*/ 12 h 488"/>
                <a:gd name="T56" fmla="*/ 360 w 486"/>
                <a:gd name="T57" fmla="*/ 30 h 488"/>
                <a:gd name="T58" fmla="*/ 398 w 486"/>
                <a:gd name="T59" fmla="*/ 56 h 488"/>
                <a:gd name="T60" fmla="*/ 430 w 486"/>
                <a:gd name="T61" fmla="*/ 90 h 488"/>
                <a:gd name="T62" fmla="*/ 458 w 486"/>
                <a:gd name="T63" fmla="*/ 128 h 488"/>
                <a:gd name="T64" fmla="*/ 476 w 486"/>
                <a:gd name="T65" fmla="*/ 172 h 488"/>
                <a:gd name="T66" fmla="*/ 486 w 486"/>
                <a:gd name="T67" fmla="*/ 220 h 488"/>
                <a:gd name="T68" fmla="*/ 486 w 486"/>
                <a:gd name="T69" fmla="*/ 244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6" h="488">
                  <a:moveTo>
                    <a:pt x="486" y="244"/>
                  </a:moveTo>
                  <a:lnTo>
                    <a:pt x="486" y="244"/>
                  </a:lnTo>
                  <a:lnTo>
                    <a:pt x="486" y="268"/>
                  </a:lnTo>
                  <a:lnTo>
                    <a:pt x="482" y="294"/>
                  </a:lnTo>
                  <a:lnTo>
                    <a:pt x="476" y="316"/>
                  </a:lnTo>
                  <a:lnTo>
                    <a:pt x="468" y="338"/>
                  </a:lnTo>
                  <a:lnTo>
                    <a:pt x="458" y="360"/>
                  </a:lnTo>
                  <a:lnTo>
                    <a:pt x="444" y="380"/>
                  </a:lnTo>
                  <a:lnTo>
                    <a:pt x="430" y="398"/>
                  </a:lnTo>
                  <a:lnTo>
                    <a:pt x="416" y="416"/>
                  </a:lnTo>
                  <a:lnTo>
                    <a:pt x="398" y="432"/>
                  </a:lnTo>
                  <a:lnTo>
                    <a:pt x="380" y="446"/>
                  </a:lnTo>
                  <a:lnTo>
                    <a:pt x="360" y="458"/>
                  </a:lnTo>
                  <a:lnTo>
                    <a:pt x="338" y="468"/>
                  </a:lnTo>
                  <a:lnTo>
                    <a:pt x="316" y="476"/>
                  </a:lnTo>
                  <a:lnTo>
                    <a:pt x="292" y="482"/>
                  </a:lnTo>
                  <a:lnTo>
                    <a:pt x="268" y="486"/>
                  </a:lnTo>
                  <a:lnTo>
                    <a:pt x="244" y="488"/>
                  </a:lnTo>
                  <a:lnTo>
                    <a:pt x="244" y="488"/>
                  </a:lnTo>
                  <a:lnTo>
                    <a:pt x="218" y="486"/>
                  </a:lnTo>
                  <a:lnTo>
                    <a:pt x="194" y="482"/>
                  </a:lnTo>
                  <a:lnTo>
                    <a:pt x="170" y="476"/>
                  </a:lnTo>
                  <a:lnTo>
                    <a:pt x="148" y="468"/>
                  </a:lnTo>
                  <a:lnTo>
                    <a:pt x="126" y="458"/>
                  </a:lnTo>
                  <a:lnTo>
                    <a:pt x="106" y="446"/>
                  </a:lnTo>
                  <a:lnTo>
                    <a:pt x="88" y="432"/>
                  </a:lnTo>
                  <a:lnTo>
                    <a:pt x="70" y="416"/>
                  </a:lnTo>
                  <a:lnTo>
                    <a:pt x="56" y="398"/>
                  </a:lnTo>
                  <a:lnTo>
                    <a:pt x="42" y="380"/>
                  </a:lnTo>
                  <a:lnTo>
                    <a:pt x="28" y="360"/>
                  </a:lnTo>
                  <a:lnTo>
                    <a:pt x="18" y="338"/>
                  </a:lnTo>
                  <a:lnTo>
                    <a:pt x="10" y="316"/>
                  </a:lnTo>
                  <a:lnTo>
                    <a:pt x="4" y="294"/>
                  </a:lnTo>
                  <a:lnTo>
                    <a:pt x="0" y="268"/>
                  </a:lnTo>
                  <a:lnTo>
                    <a:pt x="0" y="244"/>
                  </a:lnTo>
                  <a:lnTo>
                    <a:pt x="0" y="244"/>
                  </a:lnTo>
                  <a:lnTo>
                    <a:pt x="0" y="220"/>
                  </a:lnTo>
                  <a:lnTo>
                    <a:pt x="4" y="194"/>
                  </a:lnTo>
                  <a:lnTo>
                    <a:pt x="10" y="172"/>
                  </a:lnTo>
                  <a:lnTo>
                    <a:pt x="18" y="150"/>
                  </a:lnTo>
                  <a:lnTo>
                    <a:pt x="28" y="128"/>
                  </a:lnTo>
                  <a:lnTo>
                    <a:pt x="42" y="108"/>
                  </a:lnTo>
                  <a:lnTo>
                    <a:pt x="56" y="90"/>
                  </a:lnTo>
                  <a:lnTo>
                    <a:pt x="70" y="72"/>
                  </a:lnTo>
                  <a:lnTo>
                    <a:pt x="88" y="56"/>
                  </a:lnTo>
                  <a:lnTo>
                    <a:pt x="106" y="42"/>
                  </a:lnTo>
                  <a:lnTo>
                    <a:pt x="126" y="30"/>
                  </a:lnTo>
                  <a:lnTo>
                    <a:pt x="148" y="20"/>
                  </a:lnTo>
                  <a:lnTo>
                    <a:pt x="170" y="12"/>
                  </a:lnTo>
                  <a:lnTo>
                    <a:pt x="194" y="6"/>
                  </a:lnTo>
                  <a:lnTo>
                    <a:pt x="218" y="2"/>
                  </a:lnTo>
                  <a:lnTo>
                    <a:pt x="244" y="0"/>
                  </a:lnTo>
                  <a:lnTo>
                    <a:pt x="244" y="0"/>
                  </a:lnTo>
                  <a:lnTo>
                    <a:pt x="268" y="2"/>
                  </a:lnTo>
                  <a:lnTo>
                    <a:pt x="292" y="6"/>
                  </a:lnTo>
                  <a:lnTo>
                    <a:pt x="316" y="12"/>
                  </a:lnTo>
                  <a:lnTo>
                    <a:pt x="338" y="20"/>
                  </a:lnTo>
                  <a:lnTo>
                    <a:pt x="360" y="30"/>
                  </a:lnTo>
                  <a:lnTo>
                    <a:pt x="380" y="42"/>
                  </a:lnTo>
                  <a:lnTo>
                    <a:pt x="398" y="56"/>
                  </a:lnTo>
                  <a:lnTo>
                    <a:pt x="416" y="72"/>
                  </a:lnTo>
                  <a:lnTo>
                    <a:pt x="430" y="90"/>
                  </a:lnTo>
                  <a:lnTo>
                    <a:pt x="444" y="108"/>
                  </a:lnTo>
                  <a:lnTo>
                    <a:pt x="458" y="128"/>
                  </a:lnTo>
                  <a:lnTo>
                    <a:pt x="468" y="150"/>
                  </a:lnTo>
                  <a:lnTo>
                    <a:pt x="476" y="172"/>
                  </a:lnTo>
                  <a:lnTo>
                    <a:pt x="482" y="194"/>
                  </a:lnTo>
                  <a:lnTo>
                    <a:pt x="486" y="220"/>
                  </a:lnTo>
                  <a:lnTo>
                    <a:pt x="486" y="244"/>
                  </a:lnTo>
                  <a:lnTo>
                    <a:pt x="486" y="2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Line 102">
              <a:extLst>
                <a:ext uri="{FF2B5EF4-FFF2-40B4-BE49-F238E27FC236}">
                  <a16:creationId xmlns:a16="http://schemas.microsoft.com/office/drawing/2014/main" id="{EEFCFD92-370B-43F3-AC89-A264E6276C7F}"/>
                </a:ext>
              </a:extLst>
            </p:cNvPr>
            <p:cNvSpPr>
              <a:spLocks noChangeShapeType="1"/>
            </p:cNvSpPr>
            <p:nvPr/>
          </p:nvSpPr>
          <p:spPr bwMode="auto">
            <a:xfrm>
              <a:off x="-4137025" y="542607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03">
              <a:extLst>
                <a:ext uri="{FF2B5EF4-FFF2-40B4-BE49-F238E27FC236}">
                  <a16:creationId xmlns:a16="http://schemas.microsoft.com/office/drawing/2014/main" id="{1C186B96-50F3-4114-A668-286B14D0115D}"/>
                </a:ext>
              </a:extLst>
            </p:cNvPr>
            <p:cNvSpPr>
              <a:spLocks noEditPoints="1"/>
            </p:cNvSpPr>
            <p:nvPr/>
          </p:nvSpPr>
          <p:spPr bwMode="auto">
            <a:xfrm>
              <a:off x="-5051425" y="4895850"/>
              <a:ext cx="1057275" cy="1060450"/>
            </a:xfrm>
            <a:custGeom>
              <a:avLst/>
              <a:gdLst>
                <a:gd name="T0" fmla="*/ 300 w 666"/>
                <a:gd name="T1" fmla="*/ 666 h 668"/>
                <a:gd name="T2" fmla="*/ 204 w 666"/>
                <a:gd name="T3" fmla="*/ 640 h 668"/>
                <a:gd name="T4" fmla="*/ 122 w 666"/>
                <a:gd name="T5" fmla="*/ 590 h 668"/>
                <a:gd name="T6" fmla="*/ 56 w 666"/>
                <a:gd name="T7" fmla="*/ 520 h 668"/>
                <a:gd name="T8" fmla="*/ 14 w 666"/>
                <a:gd name="T9" fmla="*/ 432 h 668"/>
                <a:gd name="T10" fmla="*/ 0 w 666"/>
                <a:gd name="T11" fmla="*/ 334 h 668"/>
                <a:gd name="T12" fmla="*/ 6 w 666"/>
                <a:gd name="T13" fmla="*/ 268 h 668"/>
                <a:gd name="T14" fmla="*/ 40 w 666"/>
                <a:gd name="T15" fmla="*/ 176 h 668"/>
                <a:gd name="T16" fmla="*/ 98 w 666"/>
                <a:gd name="T17" fmla="*/ 98 h 668"/>
                <a:gd name="T18" fmla="*/ 174 w 666"/>
                <a:gd name="T19" fmla="*/ 42 h 668"/>
                <a:gd name="T20" fmla="*/ 266 w 666"/>
                <a:gd name="T21" fmla="*/ 8 h 668"/>
                <a:gd name="T22" fmla="*/ 334 w 666"/>
                <a:gd name="T23" fmla="*/ 0 h 668"/>
                <a:gd name="T24" fmla="*/ 432 w 666"/>
                <a:gd name="T25" fmla="*/ 16 h 668"/>
                <a:gd name="T26" fmla="*/ 520 w 666"/>
                <a:gd name="T27" fmla="*/ 58 h 668"/>
                <a:gd name="T28" fmla="*/ 590 w 666"/>
                <a:gd name="T29" fmla="*/ 122 h 668"/>
                <a:gd name="T30" fmla="*/ 640 w 666"/>
                <a:gd name="T31" fmla="*/ 204 h 668"/>
                <a:gd name="T32" fmla="*/ 664 w 666"/>
                <a:gd name="T33" fmla="*/ 300 h 668"/>
                <a:gd name="T34" fmla="*/ 664 w 666"/>
                <a:gd name="T35" fmla="*/ 368 h 668"/>
                <a:gd name="T36" fmla="*/ 640 w 666"/>
                <a:gd name="T37" fmla="*/ 464 h 668"/>
                <a:gd name="T38" fmla="*/ 590 w 666"/>
                <a:gd name="T39" fmla="*/ 546 h 668"/>
                <a:gd name="T40" fmla="*/ 520 w 666"/>
                <a:gd name="T41" fmla="*/ 610 h 668"/>
                <a:gd name="T42" fmla="*/ 432 w 666"/>
                <a:gd name="T43" fmla="*/ 652 h 668"/>
                <a:gd name="T44" fmla="*/ 334 w 666"/>
                <a:gd name="T45" fmla="*/ 668 h 668"/>
                <a:gd name="T46" fmla="*/ 334 w 666"/>
                <a:gd name="T47" fmla="*/ 180 h 668"/>
                <a:gd name="T48" fmla="*/ 288 w 666"/>
                <a:gd name="T49" fmla="*/ 188 h 668"/>
                <a:gd name="T50" fmla="*/ 248 w 666"/>
                <a:gd name="T51" fmla="*/ 206 h 668"/>
                <a:gd name="T52" fmla="*/ 214 w 666"/>
                <a:gd name="T53" fmla="*/ 236 h 668"/>
                <a:gd name="T54" fmla="*/ 192 w 666"/>
                <a:gd name="T55" fmla="*/ 274 h 668"/>
                <a:gd name="T56" fmla="*/ 180 w 666"/>
                <a:gd name="T57" fmla="*/ 318 h 668"/>
                <a:gd name="T58" fmla="*/ 180 w 666"/>
                <a:gd name="T59" fmla="*/ 350 h 668"/>
                <a:gd name="T60" fmla="*/ 192 w 666"/>
                <a:gd name="T61" fmla="*/ 394 h 668"/>
                <a:gd name="T62" fmla="*/ 214 w 666"/>
                <a:gd name="T63" fmla="*/ 432 h 668"/>
                <a:gd name="T64" fmla="*/ 248 w 666"/>
                <a:gd name="T65" fmla="*/ 462 h 668"/>
                <a:gd name="T66" fmla="*/ 288 w 666"/>
                <a:gd name="T67" fmla="*/ 482 h 668"/>
                <a:gd name="T68" fmla="*/ 334 w 666"/>
                <a:gd name="T69" fmla="*/ 488 h 668"/>
                <a:gd name="T70" fmla="*/ 364 w 666"/>
                <a:gd name="T71" fmla="*/ 484 h 668"/>
                <a:gd name="T72" fmla="*/ 406 w 666"/>
                <a:gd name="T73" fmla="*/ 470 h 668"/>
                <a:gd name="T74" fmla="*/ 442 w 666"/>
                <a:gd name="T75" fmla="*/ 442 h 668"/>
                <a:gd name="T76" fmla="*/ 468 w 666"/>
                <a:gd name="T77" fmla="*/ 408 h 668"/>
                <a:gd name="T78" fmla="*/ 484 w 666"/>
                <a:gd name="T79" fmla="*/ 366 h 668"/>
                <a:gd name="T80" fmla="*/ 486 w 666"/>
                <a:gd name="T81" fmla="*/ 334 h 668"/>
                <a:gd name="T82" fmla="*/ 480 w 666"/>
                <a:gd name="T83" fmla="*/ 288 h 668"/>
                <a:gd name="T84" fmla="*/ 460 w 666"/>
                <a:gd name="T85" fmla="*/ 248 h 668"/>
                <a:gd name="T86" fmla="*/ 430 w 666"/>
                <a:gd name="T87" fmla="*/ 216 h 668"/>
                <a:gd name="T88" fmla="*/ 392 w 666"/>
                <a:gd name="T89" fmla="*/ 192 h 668"/>
                <a:gd name="T90" fmla="*/ 348 w 666"/>
                <a:gd name="T91" fmla="*/ 180 h 668"/>
                <a:gd name="T92" fmla="*/ 334 w 666"/>
                <a:gd name="T93" fmla="*/ 180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66" h="668">
                  <a:moveTo>
                    <a:pt x="334" y="668"/>
                  </a:moveTo>
                  <a:lnTo>
                    <a:pt x="334" y="668"/>
                  </a:lnTo>
                  <a:lnTo>
                    <a:pt x="300" y="666"/>
                  </a:lnTo>
                  <a:lnTo>
                    <a:pt x="266" y="660"/>
                  </a:lnTo>
                  <a:lnTo>
                    <a:pt x="234" y="652"/>
                  </a:lnTo>
                  <a:lnTo>
                    <a:pt x="204" y="640"/>
                  </a:lnTo>
                  <a:lnTo>
                    <a:pt x="174" y="626"/>
                  </a:lnTo>
                  <a:lnTo>
                    <a:pt x="146" y="610"/>
                  </a:lnTo>
                  <a:lnTo>
                    <a:pt x="122" y="590"/>
                  </a:lnTo>
                  <a:lnTo>
                    <a:pt x="98" y="570"/>
                  </a:lnTo>
                  <a:lnTo>
                    <a:pt x="76" y="546"/>
                  </a:lnTo>
                  <a:lnTo>
                    <a:pt x="56" y="520"/>
                  </a:lnTo>
                  <a:lnTo>
                    <a:pt x="40" y="492"/>
                  </a:lnTo>
                  <a:lnTo>
                    <a:pt x="26" y="464"/>
                  </a:lnTo>
                  <a:lnTo>
                    <a:pt x="14" y="432"/>
                  </a:lnTo>
                  <a:lnTo>
                    <a:pt x="6" y="402"/>
                  </a:lnTo>
                  <a:lnTo>
                    <a:pt x="2" y="368"/>
                  </a:lnTo>
                  <a:lnTo>
                    <a:pt x="0" y="334"/>
                  </a:lnTo>
                  <a:lnTo>
                    <a:pt x="0" y="334"/>
                  </a:lnTo>
                  <a:lnTo>
                    <a:pt x="2" y="300"/>
                  </a:lnTo>
                  <a:lnTo>
                    <a:pt x="6" y="268"/>
                  </a:lnTo>
                  <a:lnTo>
                    <a:pt x="14" y="236"/>
                  </a:lnTo>
                  <a:lnTo>
                    <a:pt x="26" y="204"/>
                  </a:lnTo>
                  <a:lnTo>
                    <a:pt x="40" y="176"/>
                  </a:lnTo>
                  <a:lnTo>
                    <a:pt x="56" y="148"/>
                  </a:lnTo>
                  <a:lnTo>
                    <a:pt x="76" y="122"/>
                  </a:lnTo>
                  <a:lnTo>
                    <a:pt x="98" y="98"/>
                  </a:lnTo>
                  <a:lnTo>
                    <a:pt x="122" y="78"/>
                  </a:lnTo>
                  <a:lnTo>
                    <a:pt x="146" y="58"/>
                  </a:lnTo>
                  <a:lnTo>
                    <a:pt x="174" y="42"/>
                  </a:lnTo>
                  <a:lnTo>
                    <a:pt x="204" y="28"/>
                  </a:lnTo>
                  <a:lnTo>
                    <a:pt x="234" y="16"/>
                  </a:lnTo>
                  <a:lnTo>
                    <a:pt x="266" y="8"/>
                  </a:lnTo>
                  <a:lnTo>
                    <a:pt x="300" y="2"/>
                  </a:lnTo>
                  <a:lnTo>
                    <a:pt x="334" y="0"/>
                  </a:lnTo>
                  <a:lnTo>
                    <a:pt x="334" y="0"/>
                  </a:lnTo>
                  <a:lnTo>
                    <a:pt x="368" y="2"/>
                  </a:lnTo>
                  <a:lnTo>
                    <a:pt x="400" y="8"/>
                  </a:lnTo>
                  <a:lnTo>
                    <a:pt x="432" y="16"/>
                  </a:lnTo>
                  <a:lnTo>
                    <a:pt x="462" y="28"/>
                  </a:lnTo>
                  <a:lnTo>
                    <a:pt x="492" y="42"/>
                  </a:lnTo>
                  <a:lnTo>
                    <a:pt x="520" y="58"/>
                  </a:lnTo>
                  <a:lnTo>
                    <a:pt x="544" y="78"/>
                  </a:lnTo>
                  <a:lnTo>
                    <a:pt x="568" y="98"/>
                  </a:lnTo>
                  <a:lnTo>
                    <a:pt x="590" y="122"/>
                  </a:lnTo>
                  <a:lnTo>
                    <a:pt x="610" y="148"/>
                  </a:lnTo>
                  <a:lnTo>
                    <a:pt x="626" y="176"/>
                  </a:lnTo>
                  <a:lnTo>
                    <a:pt x="640" y="204"/>
                  </a:lnTo>
                  <a:lnTo>
                    <a:pt x="652" y="236"/>
                  </a:lnTo>
                  <a:lnTo>
                    <a:pt x="660" y="268"/>
                  </a:lnTo>
                  <a:lnTo>
                    <a:pt x="664" y="300"/>
                  </a:lnTo>
                  <a:lnTo>
                    <a:pt x="666" y="334"/>
                  </a:lnTo>
                  <a:lnTo>
                    <a:pt x="666" y="334"/>
                  </a:lnTo>
                  <a:lnTo>
                    <a:pt x="664" y="368"/>
                  </a:lnTo>
                  <a:lnTo>
                    <a:pt x="660" y="402"/>
                  </a:lnTo>
                  <a:lnTo>
                    <a:pt x="652" y="432"/>
                  </a:lnTo>
                  <a:lnTo>
                    <a:pt x="640" y="464"/>
                  </a:lnTo>
                  <a:lnTo>
                    <a:pt x="626" y="492"/>
                  </a:lnTo>
                  <a:lnTo>
                    <a:pt x="610" y="520"/>
                  </a:lnTo>
                  <a:lnTo>
                    <a:pt x="590" y="546"/>
                  </a:lnTo>
                  <a:lnTo>
                    <a:pt x="568" y="570"/>
                  </a:lnTo>
                  <a:lnTo>
                    <a:pt x="544" y="590"/>
                  </a:lnTo>
                  <a:lnTo>
                    <a:pt x="520" y="610"/>
                  </a:lnTo>
                  <a:lnTo>
                    <a:pt x="492" y="626"/>
                  </a:lnTo>
                  <a:lnTo>
                    <a:pt x="462" y="640"/>
                  </a:lnTo>
                  <a:lnTo>
                    <a:pt x="432" y="652"/>
                  </a:lnTo>
                  <a:lnTo>
                    <a:pt x="400" y="660"/>
                  </a:lnTo>
                  <a:lnTo>
                    <a:pt x="368" y="666"/>
                  </a:lnTo>
                  <a:lnTo>
                    <a:pt x="334" y="668"/>
                  </a:lnTo>
                  <a:lnTo>
                    <a:pt x="334" y="668"/>
                  </a:lnTo>
                  <a:close/>
                  <a:moveTo>
                    <a:pt x="334" y="180"/>
                  </a:moveTo>
                  <a:lnTo>
                    <a:pt x="334" y="180"/>
                  </a:lnTo>
                  <a:lnTo>
                    <a:pt x="318" y="180"/>
                  </a:lnTo>
                  <a:lnTo>
                    <a:pt x="302" y="184"/>
                  </a:lnTo>
                  <a:lnTo>
                    <a:pt x="288" y="188"/>
                  </a:lnTo>
                  <a:lnTo>
                    <a:pt x="274" y="192"/>
                  </a:lnTo>
                  <a:lnTo>
                    <a:pt x="260" y="198"/>
                  </a:lnTo>
                  <a:lnTo>
                    <a:pt x="248" y="206"/>
                  </a:lnTo>
                  <a:lnTo>
                    <a:pt x="236" y="216"/>
                  </a:lnTo>
                  <a:lnTo>
                    <a:pt x="224" y="226"/>
                  </a:lnTo>
                  <a:lnTo>
                    <a:pt x="214" y="236"/>
                  </a:lnTo>
                  <a:lnTo>
                    <a:pt x="206" y="248"/>
                  </a:lnTo>
                  <a:lnTo>
                    <a:pt x="198" y="260"/>
                  </a:lnTo>
                  <a:lnTo>
                    <a:pt x="192" y="274"/>
                  </a:lnTo>
                  <a:lnTo>
                    <a:pt x="186" y="288"/>
                  </a:lnTo>
                  <a:lnTo>
                    <a:pt x="182" y="304"/>
                  </a:lnTo>
                  <a:lnTo>
                    <a:pt x="180" y="318"/>
                  </a:lnTo>
                  <a:lnTo>
                    <a:pt x="180" y="334"/>
                  </a:lnTo>
                  <a:lnTo>
                    <a:pt x="180" y="334"/>
                  </a:lnTo>
                  <a:lnTo>
                    <a:pt x="180" y="350"/>
                  </a:lnTo>
                  <a:lnTo>
                    <a:pt x="182" y="366"/>
                  </a:lnTo>
                  <a:lnTo>
                    <a:pt x="186" y="380"/>
                  </a:lnTo>
                  <a:lnTo>
                    <a:pt x="192" y="394"/>
                  </a:lnTo>
                  <a:lnTo>
                    <a:pt x="198" y="408"/>
                  </a:lnTo>
                  <a:lnTo>
                    <a:pt x="206" y="420"/>
                  </a:lnTo>
                  <a:lnTo>
                    <a:pt x="214" y="432"/>
                  </a:lnTo>
                  <a:lnTo>
                    <a:pt x="224" y="442"/>
                  </a:lnTo>
                  <a:lnTo>
                    <a:pt x="236" y="452"/>
                  </a:lnTo>
                  <a:lnTo>
                    <a:pt x="248" y="462"/>
                  </a:lnTo>
                  <a:lnTo>
                    <a:pt x="260" y="470"/>
                  </a:lnTo>
                  <a:lnTo>
                    <a:pt x="274" y="476"/>
                  </a:lnTo>
                  <a:lnTo>
                    <a:pt x="288" y="482"/>
                  </a:lnTo>
                  <a:lnTo>
                    <a:pt x="302" y="484"/>
                  </a:lnTo>
                  <a:lnTo>
                    <a:pt x="318" y="488"/>
                  </a:lnTo>
                  <a:lnTo>
                    <a:pt x="334" y="488"/>
                  </a:lnTo>
                  <a:lnTo>
                    <a:pt x="334" y="488"/>
                  </a:lnTo>
                  <a:lnTo>
                    <a:pt x="348" y="488"/>
                  </a:lnTo>
                  <a:lnTo>
                    <a:pt x="364" y="484"/>
                  </a:lnTo>
                  <a:lnTo>
                    <a:pt x="378" y="482"/>
                  </a:lnTo>
                  <a:lnTo>
                    <a:pt x="392" y="476"/>
                  </a:lnTo>
                  <a:lnTo>
                    <a:pt x="406" y="470"/>
                  </a:lnTo>
                  <a:lnTo>
                    <a:pt x="420" y="462"/>
                  </a:lnTo>
                  <a:lnTo>
                    <a:pt x="430" y="452"/>
                  </a:lnTo>
                  <a:lnTo>
                    <a:pt x="442" y="442"/>
                  </a:lnTo>
                  <a:lnTo>
                    <a:pt x="452" y="432"/>
                  </a:lnTo>
                  <a:lnTo>
                    <a:pt x="460" y="420"/>
                  </a:lnTo>
                  <a:lnTo>
                    <a:pt x="468" y="408"/>
                  </a:lnTo>
                  <a:lnTo>
                    <a:pt x="474" y="394"/>
                  </a:lnTo>
                  <a:lnTo>
                    <a:pt x="480" y="380"/>
                  </a:lnTo>
                  <a:lnTo>
                    <a:pt x="484" y="366"/>
                  </a:lnTo>
                  <a:lnTo>
                    <a:pt x="486" y="350"/>
                  </a:lnTo>
                  <a:lnTo>
                    <a:pt x="486" y="334"/>
                  </a:lnTo>
                  <a:lnTo>
                    <a:pt x="486" y="334"/>
                  </a:lnTo>
                  <a:lnTo>
                    <a:pt x="486" y="318"/>
                  </a:lnTo>
                  <a:lnTo>
                    <a:pt x="484" y="304"/>
                  </a:lnTo>
                  <a:lnTo>
                    <a:pt x="480" y="288"/>
                  </a:lnTo>
                  <a:lnTo>
                    <a:pt x="474" y="274"/>
                  </a:lnTo>
                  <a:lnTo>
                    <a:pt x="468" y="260"/>
                  </a:lnTo>
                  <a:lnTo>
                    <a:pt x="460" y="248"/>
                  </a:lnTo>
                  <a:lnTo>
                    <a:pt x="452" y="236"/>
                  </a:lnTo>
                  <a:lnTo>
                    <a:pt x="442" y="226"/>
                  </a:lnTo>
                  <a:lnTo>
                    <a:pt x="430" y="216"/>
                  </a:lnTo>
                  <a:lnTo>
                    <a:pt x="420" y="206"/>
                  </a:lnTo>
                  <a:lnTo>
                    <a:pt x="406" y="198"/>
                  </a:lnTo>
                  <a:lnTo>
                    <a:pt x="392" y="192"/>
                  </a:lnTo>
                  <a:lnTo>
                    <a:pt x="378" y="188"/>
                  </a:lnTo>
                  <a:lnTo>
                    <a:pt x="364" y="184"/>
                  </a:lnTo>
                  <a:lnTo>
                    <a:pt x="348" y="180"/>
                  </a:lnTo>
                  <a:lnTo>
                    <a:pt x="334" y="180"/>
                  </a:lnTo>
                  <a:lnTo>
                    <a:pt x="334" y="180"/>
                  </a:lnTo>
                  <a:close/>
                  <a:moveTo>
                    <a:pt x="334" y="180"/>
                  </a:moveTo>
                  <a:lnTo>
                    <a:pt x="334" y="18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7" name="Freeform 104">
              <a:extLst>
                <a:ext uri="{FF2B5EF4-FFF2-40B4-BE49-F238E27FC236}">
                  <a16:creationId xmlns:a16="http://schemas.microsoft.com/office/drawing/2014/main" id="{201BBB87-B58F-49EC-9908-AE57F6214A7D}"/>
                </a:ext>
              </a:extLst>
            </p:cNvPr>
            <p:cNvSpPr>
              <a:spLocks/>
            </p:cNvSpPr>
            <p:nvPr/>
          </p:nvSpPr>
          <p:spPr bwMode="auto">
            <a:xfrm>
              <a:off x="-5051425" y="4895850"/>
              <a:ext cx="1057275" cy="1060450"/>
            </a:xfrm>
            <a:custGeom>
              <a:avLst/>
              <a:gdLst>
                <a:gd name="T0" fmla="*/ 334 w 666"/>
                <a:gd name="T1" fmla="*/ 668 h 668"/>
                <a:gd name="T2" fmla="*/ 266 w 666"/>
                <a:gd name="T3" fmla="*/ 660 h 668"/>
                <a:gd name="T4" fmla="*/ 204 w 666"/>
                <a:gd name="T5" fmla="*/ 640 h 668"/>
                <a:gd name="T6" fmla="*/ 146 w 666"/>
                <a:gd name="T7" fmla="*/ 610 h 668"/>
                <a:gd name="T8" fmla="*/ 98 w 666"/>
                <a:gd name="T9" fmla="*/ 570 h 668"/>
                <a:gd name="T10" fmla="*/ 56 w 666"/>
                <a:gd name="T11" fmla="*/ 520 h 668"/>
                <a:gd name="T12" fmla="*/ 26 w 666"/>
                <a:gd name="T13" fmla="*/ 464 h 668"/>
                <a:gd name="T14" fmla="*/ 6 w 666"/>
                <a:gd name="T15" fmla="*/ 402 h 668"/>
                <a:gd name="T16" fmla="*/ 0 w 666"/>
                <a:gd name="T17" fmla="*/ 334 h 668"/>
                <a:gd name="T18" fmla="*/ 2 w 666"/>
                <a:gd name="T19" fmla="*/ 300 h 668"/>
                <a:gd name="T20" fmla="*/ 14 w 666"/>
                <a:gd name="T21" fmla="*/ 236 h 668"/>
                <a:gd name="T22" fmla="*/ 40 w 666"/>
                <a:gd name="T23" fmla="*/ 176 h 668"/>
                <a:gd name="T24" fmla="*/ 76 w 666"/>
                <a:gd name="T25" fmla="*/ 122 h 668"/>
                <a:gd name="T26" fmla="*/ 122 w 666"/>
                <a:gd name="T27" fmla="*/ 78 h 668"/>
                <a:gd name="T28" fmla="*/ 174 w 666"/>
                <a:gd name="T29" fmla="*/ 42 h 668"/>
                <a:gd name="T30" fmla="*/ 234 w 666"/>
                <a:gd name="T31" fmla="*/ 16 h 668"/>
                <a:gd name="T32" fmla="*/ 300 w 666"/>
                <a:gd name="T33" fmla="*/ 2 h 668"/>
                <a:gd name="T34" fmla="*/ 334 w 666"/>
                <a:gd name="T35" fmla="*/ 0 h 668"/>
                <a:gd name="T36" fmla="*/ 400 w 666"/>
                <a:gd name="T37" fmla="*/ 8 h 668"/>
                <a:gd name="T38" fmla="*/ 462 w 666"/>
                <a:gd name="T39" fmla="*/ 28 h 668"/>
                <a:gd name="T40" fmla="*/ 520 w 666"/>
                <a:gd name="T41" fmla="*/ 58 h 668"/>
                <a:gd name="T42" fmla="*/ 568 w 666"/>
                <a:gd name="T43" fmla="*/ 98 h 668"/>
                <a:gd name="T44" fmla="*/ 610 w 666"/>
                <a:gd name="T45" fmla="*/ 148 h 668"/>
                <a:gd name="T46" fmla="*/ 640 w 666"/>
                <a:gd name="T47" fmla="*/ 204 h 668"/>
                <a:gd name="T48" fmla="*/ 660 w 666"/>
                <a:gd name="T49" fmla="*/ 268 h 668"/>
                <a:gd name="T50" fmla="*/ 666 w 666"/>
                <a:gd name="T51" fmla="*/ 334 h 668"/>
                <a:gd name="T52" fmla="*/ 664 w 666"/>
                <a:gd name="T53" fmla="*/ 368 h 668"/>
                <a:gd name="T54" fmla="*/ 652 w 666"/>
                <a:gd name="T55" fmla="*/ 432 h 668"/>
                <a:gd name="T56" fmla="*/ 626 w 666"/>
                <a:gd name="T57" fmla="*/ 492 h 668"/>
                <a:gd name="T58" fmla="*/ 590 w 666"/>
                <a:gd name="T59" fmla="*/ 546 h 668"/>
                <a:gd name="T60" fmla="*/ 544 w 666"/>
                <a:gd name="T61" fmla="*/ 590 h 668"/>
                <a:gd name="T62" fmla="*/ 492 w 666"/>
                <a:gd name="T63" fmla="*/ 626 h 668"/>
                <a:gd name="T64" fmla="*/ 432 w 666"/>
                <a:gd name="T65" fmla="*/ 652 h 668"/>
                <a:gd name="T66" fmla="*/ 368 w 666"/>
                <a:gd name="T67" fmla="*/ 666 h 668"/>
                <a:gd name="T68" fmla="*/ 334 w 666"/>
                <a:gd name="T69" fmla="*/ 66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6" h="668">
                  <a:moveTo>
                    <a:pt x="334" y="668"/>
                  </a:moveTo>
                  <a:lnTo>
                    <a:pt x="334" y="668"/>
                  </a:lnTo>
                  <a:lnTo>
                    <a:pt x="300" y="666"/>
                  </a:lnTo>
                  <a:lnTo>
                    <a:pt x="266" y="660"/>
                  </a:lnTo>
                  <a:lnTo>
                    <a:pt x="234" y="652"/>
                  </a:lnTo>
                  <a:lnTo>
                    <a:pt x="204" y="640"/>
                  </a:lnTo>
                  <a:lnTo>
                    <a:pt x="174" y="626"/>
                  </a:lnTo>
                  <a:lnTo>
                    <a:pt x="146" y="610"/>
                  </a:lnTo>
                  <a:lnTo>
                    <a:pt x="122" y="590"/>
                  </a:lnTo>
                  <a:lnTo>
                    <a:pt x="98" y="570"/>
                  </a:lnTo>
                  <a:lnTo>
                    <a:pt x="76" y="546"/>
                  </a:lnTo>
                  <a:lnTo>
                    <a:pt x="56" y="520"/>
                  </a:lnTo>
                  <a:lnTo>
                    <a:pt x="40" y="492"/>
                  </a:lnTo>
                  <a:lnTo>
                    <a:pt x="26" y="464"/>
                  </a:lnTo>
                  <a:lnTo>
                    <a:pt x="14" y="432"/>
                  </a:lnTo>
                  <a:lnTo>
                    <a:pt x="6" y="402"/>
                  </a:lnTo>
                  <a:lnTo>
                    <a:pt x="2" y="368"/>
                  </a:lnTo>
                  <a:lnTo>
                    <a:pt x="0" y="334"/>
                  </a:lnTo>
                  <a:lnTo>
                    <a:pt x="0" y="334"/>
                  </a:lnTo>
                  <a:lnTo>
                    <a:pt x="2" y="300"/>
                  </a:lnTo>
                  <a:lnTo>
                    <a:pt x="6" y="268"/>
                  </a:lnTo>
                  <a:lnTo>
                    <a:pt x="14" y="236"/>
                  </a:lnTo>
                  <a:lnTo>
                    <a:pt x="26" y="204"/>
                  </a:lnTo>
                  <a:lnTo>
                    <a:pt x="40" y="176"/>
                  </a:lnTo>
                  <a:lnTo>
                    <a:pt x="56" y="148"/>
                  </a:lnTo>
                  <a:lnTo>
                    <a:pt x="76" y="122"/>
                  </a:lnTo>
                  <a:lnTo>
                    <a:pt x="98" y="98"/>
                  </a:lnTo>
                  <a:lnTo>
                    <a:pt x="122" y="78"/>
                  </a:lnTo>
                  <a:lnTo>
                    <a:pt x="146" y="58"/>
                  </a:lnTo>
                  <a:lnTo>
                    <a:pt x="174" y="42"/>
                  </a:lnTo>
                  <a:lnTo>
                    <a:pt x="204" y="28"/>
                  </a:lnTo>
                  <a:lnTo>
                    <a:pt x="234" y="16"/>
                  </a:lnTo>
                  <a:lnTo>
                    <a:pt x="266" y="8"/>
                  </a:lnTo>
                  <a:lnTo>
                    <a:pt x="300" y="2"/>
                  </a:lnTo>
                  <a:lnTo>
                    <a:pt x="334" y="0"/>
                  </a:lnTo>
                  <a:lnTo>
                    <a:pt x="334" y="0"/>
                  </a:lnTo>
                  <a:lnTo>
                    <a:pt x="368" y="2"/>
                  </a:lnTo>
                  <a:lnTo>
                    <a:pt x="400" y="8"/>
                  </a:lnTo>
                  <a:lnTo>
                    <a:pt x="432" y="16"/>
                  </a:lnTo>
                  <a:lnTo>
                    <a:pt x="462" y="28"/>
                  </a:lnTo>
                  <a:lnTo>
                    <a:pt x="492" y="42"/>
                  </a:lnTo>
                  <a:lnTo>
                    <a:pt x="520" y="58"/>
                  </a:lnTo>
                  <a:lnTo>
                    <a:pt x="544" y="78"/>
                  </a:lnTo>
                  <a:lnTo>
                    <a:pt x="568" y="98"/>
                  </a:lnTo>
                  <a:lnTo>
                    <a:pt x="590" y="122"/>
                  </a:lnTo>
                  <a:lnTo>
                    <a:pt x="610" y="148"/>
                  </a:lnTo>
                  <a:lnTo>
                    <a:pt x="626" y="176"/>
                  </a:lnTo>
                  <a:lnTo>
                    <a:pt x="640" y="204"/>
                  </a:lnTo>
                  <a:lnTo>
                    <a:pt x="652" y="236"/>
                  </a:lnTo>
                  <a:lnTo>
                    <a:pt x="660" y="268"/>
                  </a:lnTo>
                  <a:lnTo>
                    <a:pt x="664" y="300"/>
                  </a:lnTo>
                  <a:lnTo>
                    <a:pt x="666" y="334"/>
                  </a:lnTo>
                  <a:lnTo>
                    <a:pt x="666" y="334"/>
                  </a:lnTo>
                  <a:lnTo>
                    <a:pt x="664" y="368"/>
                  </a:lnTo>
                  <a:lnTo>
                    <a:pt x="660" y="402"/>
                  </a:lnTo>
                  <a:lnTo>
                    <a:pt x="652" y="432"/>
                  </a:lnTo>
                  <a:lnTo>
                    <a:pt x="640" y="464"/>
                  </a:lnTo>
                  <a:lnTo>
                    <a:pt x="626" y="492"/>
                  </a:lnTo>
                  <a:lnTo>
                    <a:pt x="610" y="520"/>
                  </a:lnTo>
                  <a:lnTo>
                    <a:pt x="590" y="546"/>
                  </a:lnTo>
                  <a:lnTo>
                    <a:pt x="568" y="570"/>
                  </a:lnTo>
                  <a:lnTo>
                    <a:pt x="544" y="590"/>
                  </a:lnTo>
                  <a:lnTo>
                    <a:pt x="520" y="610"/>
                  </a:lnTo>
                  <a:lnTo>
                    <a:pt x="492" y="626"/>
                  </a:lnTo>
                  <a:lnTo>
                    <a:pt x="462" y="640"/>
                  </a:lnTo>
                  <a:lnTo>
                    <a:pt x="432" y="652"/>
                  </a:lnTo>
                  <a:lnTo>
                    <a:pt x="400" y="660"/>
                  </a:lnTo>
                  <a:lnTo>
                    <a:pt x="368" y="666"/>
                  </a:lnTo>
                  <a:lnTo>
                    <a:pt x="334" y="668"/>
                  </a:lnTo>
                  <a:lnTo>
                    <a:pt x="334" y="66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105">
              <a:extLst>
                <a:ext uri="{FF2B5EF4-FFF2-40B4-BE49-F238E27FC236}">
                  <a16:creationId xmlns:a16="http://schemas.microsoft.com/office/drawing/2014/main" id="{E177CADF-20CA-4570-84E0-26E5570B7917}"/>
                </a:ext>
              </a:extLst>
            </p:cNvPr>
            <p:cNvSpPr>
              <a:spLocks/>
            </p:cNvSpPr>
            <p:nvPr/>
          </p:nvSpPr>
          <p:spPr bwMode="auto">
            <a:xfrm>
              <a:off x="-4765675" y="5181600"/>
              <a:ext cx="485775" cy="488950"/>
            </a:xfrm>
            <a:custGeom>
              <a:avLst/>
              <a:gdLst>
                <a:gd name="T0" fmla="*/ 154 w 306"/>
                <a:gd name="T1" fmla="*/ 0 h 308"/>
                <a:gd name="T2" fmla="*/ 122 w 306"/>
                <a:gd name="T3" fmla="*/ 4 h 308"/>
                <a:gd name="T4" fmla="*/ 94 w 306"/>
                <a:gd name="T5" fmla="*/ 12 h 308"/>
                <a:gd name="T6" fmla="*/ 68 w 306"/>
                <a:gd name="T7" fmla="*/ 26 h 308"/>
                <a:gd name="T8" fmla="*/ 44 w 306"/>
                <a:gd name="T9" fmla="*/ 46 h 308"/>
                <a:gd name="T10" fmla="*/ 26 w 306"/>
                <a:gd name="T11" fmla="*/ 68 h 308"/>
                <a:gd name="T12" fmla="*/ 12 w 306"/>
                <a:gd name="T13" fmla="*/ 94 h 308"/>
                <a:gd name="T14" fmla="*/ 2 w 306"/>
                <a:gd name="T15" fmla="*/ 124 h 308"/>
                <a:gd name="T16" fmla="*/ 0 w 306"/>
                <a:gd name="T17" fmla="*/ 154 h 308"/>
                <a:gd name="T18" fmla="*/ 0 w 306"/>
                <a:gd name="T19" fmla="*/ 170 h 308"/>
                <a:gd name="T20" fmla="*/ 6 w 306"/>
                <a:gd name="T21" fmla="*/ 200 h 308"/>
                <a:gd name="T22" fmla="*/ 18 w 306"/>
                <a:gd name="T23" fmla="*/ 228 h 308"/>
                <a:gd name="T24" fmla="*/ 34 w 306"/>
                <a:gd name="T25" fmla="*/ 252 h 308"/>
                <a:gd name="T26" fmla="*/ 56 w 306"/>
                <a:gd name="T27" fmla="*/ 272 h 308"/>
                <a:gd name="T28" fmla="*/ 80 w 306"/>
                <a:gd name="T29" fmla="*/ 290 h 308"/>
                <a:gd name="T30" fmla="*/ 108 w 306"/>
                <a:gd name="T31" fmla="*/ 302 h 308"/>
                <a:gd name="T32" fmla="*/ 138 w 306"/>
                <a:gd name="T33" fmla="*/ 308 h 308"/>
                <a:gd name="T34" fmla="*/ 154 w 306"/>
                <a:gd name="T35" fmla="*/ 308 h 308"/>
                <a:gd name="T36" fmla="*/ 184 w 306"/>
                <a:gd name="T37" fmla="*/ 304 h 308"/>
                <a:gd name="T38" fmla="*/ 212 w 306"/>
                <a:gd name="T39" fmla="*/ 296 h 308"/>
                <a:gd name="T40" fmla="*/ 240 w 306"/>
                <a:gd name="T41" fmla="*/ 282 h 308"/>
                <a:gd name="T42" fmla="*/ 262 w 306"/>
                <a:gd name="T43" fmla="*/ 262 h 308"/>
                <a:gd name="T44" fmla="*/ 280 w 306"/>
                <a:gd name="T45" fmla="*/ 240 h 308"/>
                <a:gd name="T46" fmla="*/ 294 w 306"/>
                <a:gd name="T47" fmla="*/ 214 h 308"/>
                <a:gd name="T48" fmla="*/ 304 w 306"/>
                <a:gd name="T49" fmla="*/ 186 h 308"/>
                <a:gd name="T50" fmla="*/ 306 w 306"/>
                <a:gd name="T51" fmla="*/ 154 h 308"/>
                <a:gd name="T52" fmla="*/ 306 w 306"/>
                <a:gd name="T53" fmla="*/ 138 h 308"/>
                <a:gd name="T54" fmla="*/ 300 w 306"/>
                <a:gd name="T55" fmla="*/ 108 h 308"/>
                <a:gd name="T56" fmla="*/ 288 w 306"/>
                <a:gd name="T57" fmla="*/ 80 h 308"/>
                <a:gd name="T58" fmla="*/ 272 w 306"/>
                <a:gd name="T59" fmla="*/ 56 h 308"/>
                <a:gd name="T60" fmla="*/ 250 w 306"/>
                <a:gd name="T61" fmla="*/ 36 h 308"/>
                <a:gd name="T62" fmla="*/ 226 w 306"/>
                <a:gd name="T63" fmla="*/ 18 h 308"/>
                <a:gd name="T64" fmla="*/ 198 w 306"/>
                <a:gd name="T65" fmla="*/ 8 h 308"/>
                <a:gd name="T66" fmla="*/ 168 w 306"/>
                <a:gd name="T67" fmla="*/ 0 h 308"/>
                <a:gd name="T68" fmla="*/ 154 w 306"/>
                <a:gd name="T69"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6" h="308">
                  <a:moveTo>
                    <a:pt x="154" y="0"/>
                  </a:moveTo>
                  <a:lnTo>
                    <a:pt x="154" y="0"/>
                  </a:lnTo>
                  <a:lnTo>
                    <a:pt x="138" y="0"/>
                  </a:lnTo>
                  <a:lnTo>
                    <a:pt x="122" y="4"/>
                  </a:lnTo>
                  <a:lnTo>
                    <a:pt x="108" y="8"/>
                  </a:lnTo>
                  <a:lnTo>
                    <a:pt x="94" y="12"/>
                  </a:lnTo>
                  <a:lnTo>
                    <a:pt x="80" y="18"/>
                  </a:lnTo>
                  <a:lnTo>
                    <a:pt x="68" y="26"/>
                  </a:lnTo>
                  <a:lnTo>
                    <a:pt x="56" y="36"/>
                  </a:lnTo>
                  <a:lnTo>
                    <a:pt x="44" y="46"/>
                  </a:lnTo>
                  <a:lnTo>
                    <a:pt x="34" y="56"/>
                  </a:lnTo>
                  <a:lnTo>
                    <a:pt x="26" y="68"/>
                  </a:lnTo>
                  <a:lnTo>
                    <a:pt x="18" y="80"/>
                  </a:lnTo>
                  <a:lnTo>
                    <a:pt x="12" y="94"/>
                  </a:lnTo>
                  <a:lnTo>
                    <a:pt x="6" y="108"/>
                  </a:lnTo>
                  <a:lnTo>
                    <a:pt x="2" y="124"/>
                  </a:lnTo>
                  <a:lnTo>
                    <a:pt x="0" y="138"/>
                  </a:lnTo>
                  <a:lnTo>
                    <a:pt x="0" y="154"/>
                  </a:lnTo>
                  <a:lnTo>
                    <a:pt x="0" y="154"/>
                  </a:lnTo>
                  <a:lnTo>
                    <a:pt x="0" y="170"/>
                  </a:lnTo>
                  <a:lnTo>
                    <a:pt x="2" y="186"/>
                  </a:lnTo>
                  <a:lnTo>
                    <a:pt x="6" y="200"/>
                  </a:lnTo>
                  <a:lnTo>
                    <a:pt x="12" y="214"/>
                  </a:lnTo>
                  <a:lnTo>
                    <a:pt x="18" y="228"/>
                  </a:lnTo>
                  <a:lnTo>
                    <a:pt x="26" y="240"/>
                  </a:lnTo>
                  <a:lnTo>
                    <a:pt x="34" y="252"/>
                  </a:lnTo>
                  <a:lnTo>
                    <a:pt x="44" y="262"/>
                  </a:lnTo>
                  <a:lnTo>
                    <a:pt x="56" y="272"/>
                  </a:lnTo>
                  <a:lnTo>
                    <a:pt x="68" y="282"/>
                  </a:lnTo>
                  <a:lnTo>
                    <a:pt x="80" y="290"/>
                  </a:lnTo>
                  <a:lnTo>
                    <a:pt x="94" y="296"/>
                  </a:lnTo>
                  <a:lnTo>
                    <a:pt x="108" y="302"/>
                  </a:lnTo>
                  <a:lnTo>
                    <a:pt x="122" y="304"/>
                  </a:lnTo>
                  <a:lnTo>
                    <a:pt x="138" y="308"/>
                  </a:lnTo>
                  <a:lnTo>
                    <a:pt x="154" y="308"/>
                  </a:lnTo>
                  <a:lnTo>
                    <a:pt x="154" y="308"/>
                  </a:lnTo>
                  <a:lnTo>
                    <a:pt x="168" y="308"/>
                  </a:lnTo>
                  <a:lnTo>
                    <a:pt x="184" y="304"/>
                  </a:lnTo>
                  <a:lnTo>
                    <a:pt x="198" y="302"/>
                  </a:lnTo>
                  <a:lnTo>
                    <a:pt x="212" y="296"/>
                  </a:lnTo>
                  <a:lnTo>
                    <a:pt x="226" y="290"/>
                  </a:lnTo>
                  <a:lnTo>
                    <a:pt x="240" y="282"/>
                  </a:lnTo>
                  <a:lnTo>
                    <a:pt x="250" y="272"/>
                  </a:lnTo>
                  <a:lnTo>
                    <a:pt x="262" y="262"/>
                  </a:lnTo>
                  <a:lnTo>
                    <a:pt x="272" y="252"/>
                  </a:lnTo>
                  <a:lnTo>
                    <a:pt x="280" y="240"/>
                  </a:lnTo>
                  <a:lnTo>
                    <a:pt x="288" y="228"/>
                  </a:lnTo>
                  <a:lnTo>
                    <a:pt x="294" y="214"/>
                  </a:lnTo>
                  <a:lnTo>
                    <a:pt x="300" y="200"/>
                  </a:lnTo>
                  <a:lnTo>
                    <a:pt x="304" y="186"/>
                  </a:lnTo>
                  <a:lnTo>
                    <a:pt x="306" y="170"/>
                  </a:lnTo>
                  <a:lnTo>
                    <a:pt x="306" y="154"/>
                  </a:lnTo>
                  <a:lnTo>
                    <a:pt x="306" y="154"/>
                  </a:lnTo>
                  <a:lnTo>
                    <a:pt x="306" y="138"/>
                  </a:lnTo>
                  <a:lnTo>
                    <a:pt x="304" y="124"/>
                  </a:lnTo>
                  <a:lnTo>
                    <a:pt x="300" y="108"/>
                  </a:lnTo>
                  <a:lnTo>
                    <a:pt x="294" y="94"/>
                  </a:lnTo>
                  <a:lnTo>
                    <a:pt x="288" y="80"/>
                  </a:lnTo>
                  <a:lnTo>
                    <a:pt x="280" y="68"/>
                  </a:lnTo>
                  <a:lnTo>
                    <a:pt x="272" y="56"/>
                  </a:lnTo>
                  <a:lnTo>
                    <a:pt x="262" y="46"/>
                  </a:lnTo>
                  <a:lnTo>
                    <a:pt x="250" y="36"/>
                  </a:lnTo>
                  <a:lnTo>
                    <a:pt x="240" y="26"/>
                  </a:lnTo>
                  <a:lnTo>
                    <a:pt x="226" y="18"/>
                  </a:lnTo>
                  <a:lnTo>
                    <a:pt x="212" y="12"/>
                  </a:lnTo>
                  <a:lnTo>
                    <a:pt x="198" y="8"/>
                  </a:lnTo>
                  <a:lnTo>
                    <a:pt x="184" y="4"/>
                  </a:lnTo>
                  <a:lnTo>
                    <a:pt x="168" y="0"/>
                  </a:lnTo>
                  <a:lnTo>
                    <a:pt x="154" y="0"/>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Line 106">
              <a:extLst>
                <a:ext uri="{FF2B5EF4-FFF2-40B4-BE49-F238E27FC236}">
                  <a16:creationId xmlns:a16="http://schemas.microsoft.com/office/drawing/2014/main" id="{AD1EBAF4-3801-487D-9255-E603501D8A8D}"/>
                </a:ext>
              </a:extLst>
            </p:cNvPr>
            <p:cNvSpPr>
              <a:spLocks noChangeShapeType="1"/>
            </p:cNvSpPr>
            <p:nvPr/>
          </p:nvSpPr>
          <p:spPr bwMode="auto">
            <a:xfrm>
              <a:off x="-4521200" y="51816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0" name="Group 89">
            <a:extLst>
              <a:ext uri="{FF2B5EF4-FFF2-40B4-BE49-F238E27FC236}">
                <a16:creationId xmlns:a16="http://schemas.microsoft.com/office/drawing/2014/main" id="{3FD8277B-3BD6-4ED8-9B3E-74F8A0C94D3D}"/>
              </a:ext>
            </a:extLst>
          </p:cNvPr>
          <p:cNvGrpSpPr/>
          <p:nvPr/>
        </p:nvGrpSpPr>
        <p:grpSpPr>
          <a:xfrm>
            <a:off x="3473500" y="3637844"/>
            <a:ext cx="421532" cy="382316"/>
            <a:chOff x="10652773" y="5125812"/>
            <a:chExt cx="600917" cy="545017"/>
          </a:xfrm>
        </p:grpSpPr>
        <p:sp>
          <p:nvSpPr>
            <p:cNvPr id="91" name="Freeform 64">
              <a:extLst>
                <a:ext uri="{FF2B5EF4-FFF2-40B4-BE49-F238E27FC236}">
                  <a16:creationId xmlns:a16="http://schemas.microsoft.com/office/drawing/2014/main" id="{60C4C772-F63D-43E6-BFEB-B575C04ACA22}"/>
                </a:ext>
              </a:extLst>
            </p:cNvPr>
            <p:cNvSpPr>
              <a:spLocks noEditPoints="1"/>
            </p:cNvSpPr>
            <p:nvPr/>
          </p:nvSpPr>
          <p:spPr bwMode="auto">
            <a:xfrm>
              <a:off x="10652773" y="5135793"/>
              <a:ext cx="353364" cy="523057"/>
            </a:xfrm>
            <a:custGeom>
              <a:avLst/>
              <a:gdLst>
                <a:gd name="T0" fmla="*/ 109 w 118"/>
                <a:gd name="T1" fmla="*/ 47 h 174"/>
                <a:gd name="T2" fmla="*/ 114 w 118"/>
                <a:gd name="T3" fmla="*/ 44 h 174"/>
                <a:gd name="T4" fmla="*/ 114 w 118"/>
                <a:gd name="T5" fmla="*/ 40 h 174"/>
                <a:gd name="T6" fmla="*/ 34 w 118"/>
                <a:gd name="T7" fmla="*/ 87 h 174"/>
                <a:gd name="T8" fmla="*/ 114 w 118"/>
                <a:gd name="T9" fmla="*/ 134 h 174"/>
                <a:gd name="T10" fmla="*/ 114 w 118"/>
                <a:gd name="T11" fmla="*/ 130 h 174"/>
                <a:gd name="T12" fmla="*/ 109 w 118"/>
                <a:gd name="T13" fmla="*/ 127 h 174"/>
                <a:gd name="T14" fmla="*/ 42 w 118"/>
                <a:gd name="T15" fmla="*/ 87 h 174"/>
                <a:gd name="T16" fmla="*/ 116 w 118"/>
                <a:gd name="T17" fmla="*/ 156 h 174"/>
                <a:gd name="T18" fmla="*/ 114 w 118"/>
                <a:gd name="T19" fmla="*/ 151 h 174"/>
                <a:gd name="T20" fmla="*/ 95 w 118"/>
                <a:gd name="T21" fmla="*/ 159 h 174"/>
                <a:gd name="T22" fmla="*/ 92 w 118"/>
                <a:gd name="T23" fmla="*/ 166 h 174"/>
                <a:gd name="T24" fmla="*/ 82 w 118"/>
                <a:gd name="T25" fmla="*/ 163 h 174"/>
                <a:gd name="T26" fmla="*/ 78 w 118"/>
                <a:gd name="T27" fmla="*/ 156 h 174"/>
                <a:gd name="T28" fmla="*/ 42 w 118"/>
                <a:gd name="T29" fmla="*/ 143 h 174"/>
                <a:gd name="T30" fmla="*/ 33 w 118"/>
                <a:gd name="T31" fmla="*/ 145 h 174"/>
                <a:gd name="T32" fmla="*/ 30 w 118"/>
                <a:gd name="T33" fmla="*/ 137 h 174"/>
                <a:gd name="T34" fmla="*/ 32 w 118"/>
                <a:gd name="T35" fmla="*/ 129 h 174"/>
                <a:gd name="T36" fmla="*/ 16 w 118"/>
                <a:gd name="T37" fmla="*/ 94 h 174"/>
                <a:gd name="T38" fmla="*/ 8 w 118"/>
                <a:gd name="T39" fmla="*/ 89 h 174"/>
                <a:gd name="T40" fmla="*/ 11 w 118"/>
                <a:gd name="T41" fmla="*/ 81 h 174"/>
                <a:gd name="T42" fmla="*/ 19 w 118"/>
                <a:gd name="T43" fmla="*/ 77 h 174"/>
                <a:gd name="T44" fmla="*/ 32 w 118"/>
                <a:gd name="T45" fmla="*/ 41 h 174"/>
                <a:gd name="T46" fmla="*/ 30 w 118"/>
                <a:gd name="T47" fmla="*/ 33 h 174"/>
                <a:gd name="T48" fmla="*/ 38 w 118"/>
                <a:gd name="T49" fmla="*/ 29 h 174"/>
                <a:gd name="T50" fmla="*/ 46 w 118"/>
                <a:gd name="T51" fmla="*/ 31 h 174"/>
                <a:gd name="T52" fmla="*/ 81 w 118"/>
                <a:gd name="T53" fmla="*/ 16 h 174"/>
                <a:gd name="T54" fmla="*/ 83 w 118"/>
                <a:gd name="T55" fmla="*/ 8 h 174"/>
                <a:gd name="T56" fmla="*/ 94 w 118"/>
                <a:gd name="T57" fmla="*/ 11 h 174"/>
                <a:gd name="T58" fmla="*/ 98 w 118"/>
                <a:gd name="T59" fmla="*/ 18 h 174"/>
                <a:gd name="T60" fmla="*/ 114 w 118"/>
                <a:gd name="T61" fmla="*/ 23 h 174"/>
                <a:gd name="T62" fmla="*/ 118 w 118"/>
                <a:gd name="T63" fmla="*/ 16 h 174"/>
                <a:gd name="T64" fmla="*/ 107 w 118"/>
                <a:gd name="T65" fmla="*/ 9 h 174"/>
                <a:gd name="T66" fmla="*/ 103 w 118"/>
                <a:gd name="T67" fmla="*/ 1 h 174"/>
                <a:gd name="T68" fmla="*/ 92 w 118"/>
                <a:gd name="T69" fmla="*/ 0 h 174"/>
                <a:gd name="T70" fmla="*/ 92 w 118"/>
                <a:gd name="T71" fmla="*/ 0 h 174"/>
                <a:gd name="T72" fmla="*/ 83 w 118"/>
                <a:gd name="T73" fmla="*/ 0 h 174"/>
                <a:gd name="T74" fmla="*/ 83 w 118"/>
                <a:gd name="T75" fmla="*/ 0 h 174"/>
                <a:gd name="T76" fmla="*/ 83 w 118"/>
                <a:gd name="T77" fmla="*/ 0 h 174"/>
                <a:gd name="T78" fmla="*/ 69 w 118"/>
                <a:gd name="T79" fmla="*/ 4 h 174"/>
                <a:gd name="T80" fmla="*/ 66 w 118"/>
                <a:gd name="T81" fmla="*/ 12 h 174"/>
                <a:gd name="T82" fmla="*/ 47 w 118"/>
                <a:gd name="T83" fmla="*/ 19 h 174"/>
                <a:gd name="T84" fmla="*/ 38 w 118"/>
                <a:gd name="T85" fmla="*/ 15 h 174"/>
                <a:gd name="T86" fmla="*/ 16 w 118"/>
                <a:gd name="T87" fmla="*/ 42 h 174"/>
                <a:gd name="T88" fmla="*/ 20 w 118"/>
                <a:gd name="T89" fmla="*/ 50 h 174"/>
                <a:gd name="T90" fmla="*/ 10 w 118"/>
                <a:gd name="T91" fmla="*/ 68 h 174"/>
                <a:gd name="T92" fmla="*/ 2 w 118"/>
                <a:gd name="T93" fmla="*/ 71 h 174"/>
                <a:gd name="T94" fmla="*/ 2 w 118"/>
                <a:gd name="T95" fmla="*/ 103 h 174"/>
                <a:gd name="T96" fmla="*/ 10 w 118"/>
                <a:gd name="T97" fmla="*/ 106 h 174"/>
                <a:gd name="T98" fmla="*/ 20 w 118"/>
                <a:gd name="T99" fmla="*/ 124 h 174"/>
                <a:gd name="T100" fmla="*/ 16 w 118"/>
                <a:gd name="T101" fmla="*/ 132 h 174"/>
                <a:gd name="T102" fmla="*/ 38 w 118"/>
                <a:gd name="T103" fmla="*/ 159 h 174"/>
                <a:gd name="T104" fmla="*/ 47 w 118"/>
                <a:gd name="T105" fmla="*/ 155 h 174"/>
                <a:gd name="T106" fmla="*/ 66 w 118"/>
                <a:gd name="T107" fmla="*/ 162 h 174"/>
                <a:gd name="T108" fmla="*/ 69 w 118"/>
                <a:gd name="T109" fmla="*/ 170 h 174"/>
                <a:gd name="T110" fmla="*/ 83 w 118"/>
                <a:gd name="T111" fmla="*/ 174 h 174"/>
                <a:gd name="T112" fmla="*/ 92 w 118"/>
                <a:gd name="T113" fmla="*/ 174 h 174"/>
                <a:gd name="T114" fmla="*/ 103 w 118"/>
                <a:gd name="T115" fmla="*/ 173 h 174"/>
                <a:gd name="T116" fmla="*/ 107 w 118"/>
                <a:gd name="T117" fmla="*/ 165 h 174"/>
                <a:gd name="T118" fmla="*/ 118 w 118"/>
                <a:gd name="T119" fmla="*/ 15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 h="174">
                  <a:moveTo>
                    <a:pt x="88" y="42"/>
                  </a:moveTo>
                  <a:cubicBezTo>
                    <a:pt x="96" y="42"/>
                    <a:pt x="103" y="44"/>
                    <a:pt x="109" y="47"/>
                  </a:cubicBezTo>
                  <a:cubicBezTo>
                    <a:pt x="110" y="46"/>
                    <a:pt x="110" y="46"/>
                    <a:pt x="110" y="46"/>
                  </a:cubicBezTo>
                  <a:cubicBezTo>
                    <a:pt x="111" y="45"/>
                    <a:pt x="113" y="44"/>
                    <a:pt x="114" y="44"/>
                  </a:cubicBezTo>
                  <a:cubicBezTo>
                    <a:pt x="114" y="44"/>
                    <a:pt x="114" y="44"/>
                    <a:pt x="114" y="44"/>
                  </a:cubicBezTo>
                  <a:cubicBezTo>
                    <a:pt x="114" y="40"/>
                    <a:pt x="114" y="40"/>
                    <a:pt x="114" y="40"/>
                  </a:cubicBezTo>
                  <a:cubicBezTo>
                    <a:pt x="106" y="36"/>
                    <a:pt x="97" y="33"/>
                    <a:pt x="88" y="33"/>
                  </a:cubicBezTo>
                  <a:cubicBezTo>
                    <a:pt x="58" y="33"/>
                    <a:pt x="34" y="57"/>
                    <a:pt x="34" y="87"/>
                  </a:cubicBezTo>
                  <a:cubicBezTo>
                    <a:pt x="34" y="117"/>
                    <a:pt x="58" y="141"/>
                    <a:pt x="88" y="141"/>
                  </a:cubicBezTo>
                  <a:cubicBezTo>
                    <a:pt x="97" y="141"/>
                    <a:pt x="106" y="138"/>
                    <a:pt x="114" y="134"/>
                  </a:cubicBezTo>
                  <a:cubicBezTo>
                    <a:pt x="114" y="130"/>
                    <a:pt x="114" y="130"/>
                    <a:pt x="114" y="130"/>
                  </a:cubicBezTo>
                  <a:cubicBezTo>
                    <a:pt x="114" y="130"/>
                    <a:pt x="114" y="130"/>
                    <a:pt x="114" y="130"/>
                  </a:cubicBezTo>
                  <a:cubicBezTo>
                    <a:pt x="113" y="130"/>
                    <a:pt x="111" y="129"/>
                    <a:pt x="110" y="128"/>
                  </a:cubicBezTo>
                  <a:cubicBezTo>
                    <a:pt x="109" y="127"/>
                    <a:pt x="109" y="127"/>
                    <a:pt x="109" y="127"/>
                  </a:cubicBezTo>
                  <a:cubicBezTo>
                    <a:pt x="103" y="131"/>
                    <a:pt x="96" y="133"/>
                    <a:pt x="88" y="133"/>
                  </a:cubicBezTo>
                  <a:cubicBezTo>
                    <a:pt x="63" y="133"/>
                    <a:pt x="42" y="112"/>
                    <a:pt x="42" y="87"/>
                  </a:cubicBezTo>
                  <a:cubicBezTo>
                    <a:pt x="42" y="62"/>
                    <a:pt x="63" y="42"/>
                    <a:pt x="88" y="42"/>
                  </a:cubicBezTo>
                  <a:close/>
                  <a:moveTo>
                    <a:pt x="116" y="156"/>
                  </a:moveTo>
                  <a:cubicBezTo>
                    <a:pt x="115" y="155"/>
                    <a:pt x="114" y="153"/>
                    <a:pt x="114" y="151"/>
                  </a:cubicBezTo>
                  <a:cubicBezTo>
                    <a:pt x="114" y="151"/>
                    <a:pt x="114" y="151"/>
                    <a:pt x="114" y="151"/>
                  </a:cubicBezTo>
                  <a:cubicBezTo>
                    <a:pt x="109" y="153"/>
                    <a:pt x="104" y="155"/>
                    <a:pt x="98" y="156"/>
                  </a:cubicBezTo>
                  <a:cubicBezTo>
                    <a:pt x="96" y="156"/>
                    <a:pt x="95" y="157"/>
                    <a:pt x="95" y="159"/>
                  </a:cubicBezTo>
                  <a:cubicBezTo>
                    <a:pt x="94" y="160"/>
                    <a:pt x="94" y="162"/>
                    <a:pt x="94" y="163"/>
                  </a:cubicBezTo>
                  <a:cubicBezTo>
                    <a:pt x="94" y="165"/>
                    <a:pt x="93" y="166"/>
                    <a:pt x="92" y="166"/>
                  </a:cubicBezTo>
                  <a:cubicBezTo>
                    <a:pt x="90" y="167"/>
                    <a:pt x="85" y="167"/>
                    <a:pt x="83" y="166"/>
                  </a:cubicBezTo>
                  <a:cubicBezTo>
                    <a:pt x="82" y="166"/>
                    <a:pt x="82" y="165"/>
                    <a:pt x="82" y="163"/>
                  </a:cubicBezTo>
                  <a:cubicBezTo>
                    <a:pt x="81" y="162"/>
                    <a:pt x="81" y="160"/>
                    <a:pt x="81" y="159"/>
                  </a:cubicBezTo>
                  <a:cubicBezTo>
                    <a:pt x="80" y="157"/>
                    <a:pt x="79" y="156"/>
                    <a:pt x="78" y="156"/>
                  </a:cubicBezTo>
                  <a:cubicBezTo>
                    <a:pt x="66" y="154"/>
                    <a:pt x="55" y="150"/>
                    <a:pt x="46" y="143"/>
                  </a:cubicBezTo>
                  <a:cubicBezTo>
                    <a:pt x="45" y="142"/>
                    <a:pt x="44" y="142"/>
                    <a:pt x="42" y="143"/>
                  </a:cubicBezTo>
                  <a:cubicBezTo>
                    <a:pt x="41" y="143"/>
                    <a:pt x="40" y="144"/>
                    <a:pt x="38" y="145"/>
                  </a:cubicBezTo>
                  <a:cubicBezTo>
                    <a:pt x="37" y="146"/>
                    <a:pt x="35" y="146"/>
                    <a:pt x="33" y="145"/>
                  </a:cubicBezTo>
                  <a:cubicBezTo>
                    <a:pt x="32" y="144"/>
                    <a:pt x="31" y="143"/>
                    <a:pt x="30" y="141"/>
                  </a:cubicBezTo>
                  <a:cubicBezTo>
                    <a:pt x="29" y="140"/>
                    <a:pt x="29" y="138"/>
                    <a:pt x="30" y="137"/>
                  </a:cubicBezTo>
                  <a:cubicBezTo>
                    <a:pt x="31" y="135"/>
                    <a:pt x="32" y="134"/>
                    <a:pt x="32" y="133"/>
                  </a:cubicBezTo>
                  <a:cubicBezTo>
                    <a:pt x="33" y="131"/>
                    <a:pt x="33" y="130"/>
                    <a:pt x="32" y="129"/>
                  </a:cubicBezTo>
                  <a:cubicBezTo>
                    <a:pt x="25" y="120"/>
                    <a:pt x="21" y="109"/>
                    <a:pt x="19" y="97"/>
                  </a:cubicBezTo>
                  <a:cubicBezTo>
                    <a:pt x="19" y="96"/>
                    <a:pt x="18" y="94"/>
                    <a:pt x="16" y="94"/>
                  </a:cubicBezTo>
                  <a:cubicBezTo>
                    <a:pt x="15" y="94"/>
                    <a:pt x="13" y="93"/>
                    <a:pt x="11" y="93"/>
                  </a:cubicBezTo>
                  <a:cubicBezTo>
                    <a:pt x="10" y="93"/>
                    <a:pt x="8" y="91"/>
                    <a:pt x="8" y="89"/>
                  </a:cubicBezTo>
                  <a:cubicBezTo>
                    <a:pt x="8" y="88"/>
                    <a:pt x="8" y="86"/>
                    <a:pt x="8" y="85"/>
                  </a:cubicBezTo>
                  <a:cubicBezTo>
                    <a:pt x="8" y="83"/>
                    <a:pt x="10" y="81"/>
                    <a:pt x="11" y="81"/>
                  </a:cubicBezTo>
                  <a:cubicBezTo>
                    <a:pt x="13" y="81"/>
                    <a:pt x="15" y="80"/>
                    <a:pt x="16" y="80"/>
                  </a:cubicBezTo>
                  <a:cubicBezTo>
                    <a:pt x="18" y="80"/>
                    <a:pt x="19" y="78"/>
                    <a:pt x="19" y="77"/>
                  </a:cubicBezTo>
                  <a:cubicBezTo>
                    <a:pt x="21" y="65"/>
                    <a:pt x="25" y="55"/>
                    <a:pt x="32" y="46"/>
                  </a:cubicBezTo>
                  <a:cubicBezTo>
                    <a:pt x="33" y="44"/>
                    <a:pt x="33" y="43"/>
                    <a:pt x="32" y="41"/>
                  </a:cubicBezTo>
                  <a:cubicBezTo>
                    <a:pt x="32" y="40"/>
                    <a:pt x="31" y="39"/>
                    <a:pt x="30" y="37"/>
                  </a:cubicBezTo>
                  <a:cubicBezTo>
                    <a:pt x="29" y="36"/>
                    <a:pt x="29" y="34"/>
                    <a:pt x="30" y="33"/>
                  </a:cubicBezTo>
                  <a:cubicBezTo>
                    <a:pt x="31" y="31"/>
                    <a:pt x="32" y="30"/>
                    <a:pt x="33" y="29"/>
                  </a:cubicBezTo>
                  <a:cubicBezTo>
                    <a:pt x="35" y="28"/>
                    <a:pt x="37" y="28"/>
                    <a:pt x="38" y="29"/>
                  </a:cubicBezTo>
                  <a:cubicBezTo>
                    <a:pt x="40" y="30"/>
                    <a:pt x="41" y="31"/>
                    <a:pt x="42" y="32"/>
                  </a:cubicBezTo>
                  <a:cubicBezTo>
                    <a:pt x="43" y="32"/>
                    <a:pt x="45" y="32"/>
                    <a:pt x="46" y="31"/>
                  </a:cubicBezTo>
                  <a:cubicBezTo>
                    <a:pt x="55" y="25"/>
                    <a:pt x="66" y="20"/>
                    <a:pt x="78" y="18"/>
                  </a:cubicBezTo>
                  <a:cubicBezTo>
                    <a:pt x="79" y="18"/>
                    <a:pt x="80" y="17"/>
                    <a:pt x="81" y="16"/>
                  </a:cubicBezTo>
                  <a:cubicBezTo>
                    <a:pt x="81" y="14"/>
                    <a:pt x="81" y="12"/>
                    <a:pt x="82" y="11"/>
                  </a:cubicBezTo>
                  <a:cubicBezTo>
                    <a:pt x="82" y="10"/>
                    <a:pt x="82" y="8"/>
                    <a:pt x="83" y="8"/>
                  </a:cubicBezTo>
                  <a:cubicBezTo>
                    <a:pt x="85" y="8"/>
                    <a:pt x="90" y="7"/>
                    <a:pt x="92" y="8"/>
                  </a:cubicBezTo>
                  <a:cubicBezTo>
                    <a:pt x="93" y="8"/>
                    <a:pt x="94" y="10"/>
                    <a:pt x="94" y="11"/>
                  </a:cubicBezTo>
                  <a:cubicBezTo>
                    <a:pt x="94" y="12"/>
                    <a:pt x="94" y="14"/>
                    <a:pt x="95" y="16"/>
                  </a:cubicBezTo>
                  <a:cubicBezTo>
                    <a:pt x="95" y="17"/>
                    <a:pt x="96" y="18"/>
                    <a:pt x="98" y="18"/>
                  </a:cubicBezTo>
                  <a:cubicBezTo>
                    <a:pt x="104" y="19"/>
                    <a:pt x="109" y="21"/>
                    <a:pt x="114" y="23"/>
                  </a:cubicBezTo>
                  <a:cubicBezTo>
                    <a:pt x="114" y="23"/>
                    <a:pt x="114" y="23"/>
                    <a:pt x="114" y="23"/>
                  </a:cubicBezTo>
                  <a:cubicBezTo>
                    <a:pt x="114" y="21"/>
                    <a:pt x="115" y="19"/>
                    <a:pt x="116" y="18"/>
                  </a:cubicBezTo>
                  <a:cubicBezTo>
                    <a:pt x="118" y="16"/>
                    <a:pt x="118" y="16"/>
                    <a:pt x="118" y="16"/>
                  </a:cubicBezTo>
                  <a:cubicBezTo>
                    <a:pt x="116" y="14"/>
                    <a:pt x="113" y="13"/>
                    <a:pt x="110" y="12"/>
                  </a:cubicBezTo>
                  <a:cubicBezTo>
                    <a:pt x="108" y="12"/>
                    <a:pt x="107" y="11"/>
                    <a:pt x="107" y="9"/>
                  </a:cubicBezTo>
                  <a:cubicBezTo>
                    <a:pt x="107" y="8"/>
                    <a:pt x="107" y="6"/>
                    <a:pt x="106" y="4"/>
                  </a:cubicBezTo>
                  <a:cubicBezTo>
                    <a:pt x="106" y="2"/>
                    <a:pt x="105" y="2"/>
                    <a:pt x="103" y="1"/>
                  </a:cubicBezTo>
                  <a:cubicBezTo>
                    <a:pt x="100" y="0"/>
                    <a:pt x="96" y="0"/>
                    <a:pt x="92" y="0"/>
                  </a:cubicBezTo>
                  <a:cubicBezTo>
                    <a:pt x="92" y="0"/>
                    <a:pt x="92" y="0"/>
                    <a:pt x="92" y="0"/>
                  </a:cubicBezTo>
                  <a:cubicBezTo>
                    <a:pt x="92" y="0"/>
                    <a:pt x="92" y="0"/>
                    <a:pt x="92" y="0"/>
                  </a:cubicBezTo>
                  <a:cubicBezTo>
                    <a:pt x="92" y="0"/>
                    <a:pt x="92" y="0"/>
                    <a:pt x="92" y="0"/>
                  </a:cubicBezTo>
                  <a:cubicBezTo>
                    <a:pt x="92" y="0"/>
                    <a:pt x="92" y="0"/>
                    <a:pt x="92"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79" y="0"/>
                    <a:pt x="76" y="0"/>
                    <a:pt x="72" y="1"/>
                  </a:cubicBezTo>
                  <a:cubicBezTo>
                    <a:pt x="70" y="2"/>
                    <a:pt x="69" y="2"/>
                    <a:pt x="69" y="4"/>
                  </a:cubicBezTo>
                  <a:cubicBezTo>
                    <a:pt x="69" y="6"/>
                    <a:pt x="69" y="8"/>
                    <a:pt x="68" y="9"/>
                  </a:cubicBezTo>
                  <a:cubicBezTo>
                    <a:pt x="68" y="11"/>
                    <a:pt x="67" y="12"/>
                    <a:pt x="66" y="12"/>
                  </a:cubicBezTo>
                  <a:cubicBezTo>
                    <a:pt x="60" y="14"/>
                    <a:pt x="55" y="16"/>
                    <a:pt x="50" y="19"/>
                  </a:cubicBezTo>
                  <a:cubicBezTo>
                    <a:pt x="49" y="19"/>
                    <a:pt x="48" y="19"/>
                    <a:pt x="47" y="19"/>
                  </a:cubicBezTo>
                  <a:cubicBezTo>
                    <a:pt x="45" y="18"/>
                    <a:pt x="44" y="17"/>
                    <a:pt x="42" y="15"/>
                  </a:cubicBezTo>
                  <a:cubicBezTo>
                    <a:pt x="41" y="14"/>
                    <a:pt x="39" y="14"/>
                    <a:pt x="38" y="15"/>
                  </a:cubicBezTo>
                  <a:cubicBezTo>
                    <a:pt x="29" y="21"/>
                    <a:pt x="22" y="29"/>
                    <a:pt x="16" y="37"/>
                  </a:cubicBezTo>
                  <a:cubicBezTo>
                    <a:pt x="15" y="39"/>
                    <a:pt x="15" y="41"/>
                    <a:pt x="16" y="42"/>
                  </a:cubicBezTo>
                  <a:cubicBezTo>
                    <a:pt x="17" y="43"/>
                    <a:pt x="18" y="45"/>
                    <a:pt x="19" y="46"/>
                  </a:cubicBezTo>
                  <a:cubicBezTo>
                    <a:pt x="20" y="47"/>
                    <a:pt x="20" y="49"/>
                    <a:pt x="20" y="50"/>
                  </a:cubicBezTo>
                  <a:cubicBezTo>
                    <a:pt x="17" y="55"/>
                    <a:pt x="15" y="60"/>
                    <a:pt x="13" y="65"/>
                  </a:cubicBezTo>
                  <a:cubicBezTo>
                    <a:pt x="13" y="66"/>
                    <a:pt x="12" y="68"/>
                    <a:pt x="10" y="68"/>
                  </a:cubicBezTo>
                  <a:cubicBezTo>
                    <a:pt x="9" y="68"/>
                    <a:pt x="7" y="68"/>
                    <a:pt x="5" y="68"/>
                  </a:cubicBezTo>
                  <a:cubicBezTo>
                    <a:pt x="4" y="69"/>
                    <a:pt x="2" y="70"/>
                    <a:pt x="2" y="71"/>
                  </a:cubicBezTo>
                  <a:cubicBezTo>
                    <a:pt x="1" y="77"/>
                    <a:pt x="0" y="82"/>
                    <a:pt x="0" y="87"/>
                  </a:cubicBezTo>
                  <a:cubicBezTo>
                    <a:pt x="0" y="92"/>
                    <a:pt x="1" y="98"/>
                    <a:pt x="2" y="103"/>
                  </a:cubicBezTo>
                  <a:cubicBezTo>
                    <a:pt x="2" y="104"/>
                    <a:pt x="4" y="105"/>
                    <a:pt x="5" y="106"/>
                  </a:cubicBezTo>
                  <a:cubicBezTo>
                    <a:pt x="7" y="106"/>
                    <a:pt x="9" y="106"/>
                    <a:pt x="10" y="106"/>
                  </a:cubicBezTo>
                  <a:cubicBezTo>
                    <a:pt x="12" y="107"/>
                    <a:pt x="13" y="108"/>
                    <a:pt x="13" y="109"/>
                  </a:cubicBezTo>
                  <a:cubicBezTo>
                    <a:pt x="15" y="114"/>
                    <a:pt x="17" y="119"/>
                    <a:pt x="20" y="124"/>
                  </a:cubicBezTo>
                  <a:cubicBezTo>
                    <a:pt x="20" y="126"/>
                    <a:pt x="20" y="127"/>
                    <a:pt x="19" y="128"/>
                  </a:cubicBezTo>
                  <a:cubicBezTo>
                    <a:pt x="18" y="130"/>
                    <a:pt x="17" y="131"/>
                    <a:pt x="16" y="132"/>
                  </a:cubicBezTo>
                  <a:cubicBezTo>
                    <a:pt x="15" y="134"/>
                    <a:pt x="15" y="135"/>
                    <a:pt x="16" y="137"/>
                  </a:cubicBezTo>
                  <a:cubicBezTo>
                    <a:pt x="22" y="145"/>
                    <a:pt x="29" y="153"/>
                    <a:pt x="38" y="159"/>
                  </a:cubicBezTo>
                  <a:cubicBezTo>
                    <a:pt x="39" y="160"/>
                    <a:pt x="41" y="160"/>
                    <a:pt x="42" y="159"/>
                  </a:cubicBezTo>
                  <a:cubicBezTo>
                    <a:pt x="44" y="157"/>
                    <a:pt x="46" y="156"/>
                    <a:pt x="47" y="155"/>
                  </a:cubicBezTo>
                  <a:cubicBezTo>
                    <a:pt x="48" y="155"/>
                    <a:pt x="49" y="155"/>
                    <a:pt x="51" y="155"/>
                  </a:cubicBezTo>
                  <a:cubicBezTo>
                    <a:pt x="55" y="158"/>
                    <a:pt x="60" y="160"/>
                    <a:pt x="66" y="162"/>
                  </a:cubicBezTo>
                  <a:cubicBezTo>
                    <a:pt x="67" y="162"/>
                    <a:pt x="68" y="163"/>
                    <a:pt x="68" y="165"/>
                  </a:cubicBezTo>
                  <a:cubicBezTo>
                    <a:pt x="69" y="166"/>
                    <a:pt x="69" y="168"/>
                    <a:pt x="69" y="170"/>
                  </a:cubicBezTo>
                  <a:cubicBezTo>
                    <a:pt x="69" y="171"/>
                    <a:pt x="70" y="173"/>
                    <a:pt x="72" y="173"/>
                  </a:cubicBezTo>
                  <a:cubicBezTo>
                    <a:pt x="76" y="174"/>
                    <a:pt x="79" y="174"/>
                    <a:pt x="83" y="174"/>
                  </a:cubicBezTo>
                  <a:cubicBezTo>
                    <a:pt x="83" y="174"/>
                    <a:pt x="83" y="174"/>
                    <a:pt x="83" y="174"/>
                  </a:cubicBezTo>
                  <a:cubicBezTo>
                    <a:pt x="92" y="174"/>
                    <a:pt x="92" y="174"/>
                    <a:pt x="92" y="174"/>
                  </a:cubicBezTo>
                  <a:cubicBezTo>
                    <a:pt x="92" y="174"/>
                    <a:pt x="92" y="174"/>
                    <a:pt x="92" y="174"/>
                  </a:cubicBezTo>
                  <a:cubicBezTo>
                    <a:pt x="96" y="174"/>
                    <a:pt x="100" y="174"/>
                    <a:pt x="103" y="173"/>
                  </a:cubicBezTo>
                  <a:cubicBezTo>
                    <a:pt x="105" y="173"/>
                    <a:pt x="106" y="171"/>
                    <a:pt x="106" y="170"/>
                  </a:cubicBezTo>
                  <a:cubicBezTo>
                    <a:pt x="107" y="168"/>
                    <a:pt x="107" y="166"/>
                    <a:pt x="107" y="165"/>
                  </a:cubicBezTo>
                  <a:cubicBezTo>
                    <a:pt x="107" y="163"/>
                    <a:pt x="108" y="162"/>
                    <a:pt x="110" y="162"/>
                  </a:cubicBezTo>
                  <a:cubicBezTo>
                    <a:pt x="113" y="161"/>
                    <a:pt x="116" y="160"/>
                    <a:pt x="118" y="159"/>
                  </a:cubicBezTo>
                  <a:lnTo>
                    <a:pt x="116" y="156"/>
                  </a:ln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2" name="Freeform 65">
              <a:extLst>
                <a:ext uri="{FF2B5EF4-FFF2-40B4-BE49-F238E27FC236}">
                  <a16:creationId xmlns:a16="http://schemas.microsoft.com/office/drawing/2014/main" id="{94B3F1A4-00EA-4E12-AB60-6C5484B84EF1}"/>
                </a:ext>
              </a:extLst>
            </p:cNvPr>
            <p:cNvSpPr>
              <a:spLocks noEditPoints="1"/>
            </p:cNvSpPr>
            <p:nvPr/>
          </p:nvSpPr>
          <p:spPr bwMode="auto">
            <a:xfrm>
              <a:off x="11145884" y="5343419"/>
              <a:ext cx="107806" cy="107806"/>
            </a:xfrm>
            <a:custGeom>
              <a:avLst/>
              <a:gdLst>
                <a:gd name="T0" fmla="*/ 18 w 36"/>
                <a:gd name="T1" fmla="*/ 0 h 36"/>
                <a:gd name="T2" fmla="*/ 0 w 36"/>
                <a:gd name="T3" fmla="*/ 18 h 36"/>
                <a:gd name="T4" fmla="*/ 18 w 36"/>
                <a:gd name="T5" fmla="*/ 36 h 36"/>
                <a:gd name="T6" fmla="*/ 36 w 36"/>
                <a:gd name="T7" fmla="*/ 18 h 36"/>
                <a:gd name="T8" fmla="*/ 18 w 36"/>
                <a:gd name="T9" fmla="*/ 0 h 36"/>
                <a:gd name="T10" fmla="*/ 18 w 36"/>
                <a:gd name="T11" fmla="*/ 30 h 36"/>
                <a:gd name="T12" fmla="*/ 6 w 36"/>
                <a:gd name="T13" fmla="*/ 18 h 36"/>
                <a:gd name="T14" fmla="*/ 18 w 36"/>
                <a:gd name="T15" fmla="*/ 6 h 36"/>
                <a:gd name="T16" fmla="*/ 30 w 36"/>
                <a:gd name="T17" fmla="*/ 18 h 36"/>
                <a:gd name="T18" fmla="*/ 18 w 36"/>
                <a:gd name="T19"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0"/>
                  </a:moveTo>
                  <a:cubicBezTo>
                    <a:pt x="8" y="0"/>
                    <a:pt x="0" y="8"/>
                    <a:pt x="0" y="18"/>
                  </a:cubicBezTo>
                  <a:cubicBezTo>
                    <a:pt x="0" y="28"/>
                    <a:pt x="8" y="36"/>
                    <a:pt x="18" y="36"/>
                  </a:cubicBezTo>
                  <a:cubicBezTo>
                    <a:pt x="28" y="36"/>
                    <a:pt x="36" y="28"/>
                    <a:pt x="36" y="18"/>
                  </a:cubicBezTo>
                  <a:cubicBezTo>
                    <a:pt x="36" y="8"/>
                    <a:pt x="28" y="0"/>
                    <a:pt x="18" y="0"/>
                  </a:cubicBezTo>
                  <a:close/>
                  <a:moveTo>
                    <a:pt x="18" y="30"/>
                  </a:moveTo>
                  <a:cubicBezTo>
                    <a:pt x="12" y="30"/>
                    <a:pt x="6" y="25"/>
                    <a:pt x="6" y="18"/>
                  </a:cubicBezTo>
                  <a:cubicBezTo>
                    <a:pt x="6" y="11"/>
                    <a:pt x="12" y="6"/>
                    <a:pt x="18" y="6"/>
                  </a:cubicBezTo>
                  <a:cubicBezTo>
                    <a:pt x="25" y="6"/>
                    <a:pt x="30" y="11"/>
                    <a:pt x="30" y="18"/>
                  </a:cubicBezTo>
                  <a:cubicBezTo>
                    <a:pt x="30" y="25"/>
                    <a:pt x="25" y="30"/>
                    <a:pt x="18" y="3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3" name="Freeform 66">
              <a:extLst>
                <a:ext uri="{FF2B5EF4-FFF2-40B4-BE49-F238E27FC236}">
                  <a16:creationId xmlns:a16="http://schemas.microsoft.com/office/drawing/2014/main" id="{40039F8B-F7A5-4137-A95E-50AC0BE4C38D}"/>
                </a:ext>
              </a:extLst>
            </p:cNvPr>
            <p:cNvSpPr>
              <a:spLocks noEditPoints="1"/>
            </p:cNvSpPr>
            <p:nvPr/>
          </p:nvSpPr>
          <p:spPr bwMode="auto">
            <a:xfrm>
              <a:off x="10860399" y="5343419"/>
              <a:ext cx="267518" cy="107806"/>
            </a:xfrm>
            <a:custGeom>
              <a:avLst/>
              <a:gdLst>
                <a:gd name="T0" fmla="*/ 89 w 89"/>
                <a:gd name="T1" fmla="*/ 18 h 36"/>
                <a:gd name="T2" fmla="*/ 89 w 89"/>
                <a:gd name="T3" fmla="*/ 15 h 36"/>
                <a:gd name="T4" fmla="*/ 36 w 89"/>
                <a:gd name="T5" fmla="*/ 15 h 36"/>
                <a:gd name="T6" fmla="*/ 18 w 89"/>
                <a:gd name="T7" fmla="*/ 0 h 36"/>
                <a:gd name="T8" fmla="*/ 0 w 89"/>
                <a:gd name="T9" fmla="*/ 18 h 36"/>
                <a:gd name="T10" fmla="*/ 18 w 89"/>
                <a:gd name="T11" fmla="*/ 36 h 36"/>
                <a:gd name="T12" fmla="*/ 36 w 89"/>
                <a:gd name="T13" fmla="*/ 22 h 36"/>
                <a:gd name="T14" fmla="*/ 89 w 89"/>
                <a:gd name="T15" fmla="*/ 22 h 36"/>
                <a:gd name="T16" fmla="*/ 89 w 89"/>
                <a:gd name="T17" fmla="*/ 18 h 36"/>
                <a:gd name="T18" fmla="*/ 18 w 89"/>
                <a:gd name="T19" fmla="*/ 30 h 36"/>
                <a:gd name="T20" fmla="*/ 6 w 89"/>
                <a:gd name="T21" fmla="*/ 18 h 36"/>
                <a:gd name="T22" fmla="*/ 18 w 89"/>
                <a:gd name="T23" fmla="*/ 6 h 36"/>
                <a:gd name="T24" fmla="*/ 31 w 89"/>
                <a:gd name="T25" fmla="*/ 18 h 36"/>
                <a:gd name="T26" fmla="*/ 18 w 89"/>
                <a:gd name="T27"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36">
                  <a:moveTo>
                    <a:pt x="89" y="18"/>
                  </a:moveTo>
                  <a:cubicBezTo>
                    <a:pt x="89" y="17"/>
                    <a:pt x="89" y="16"/>
                    <a:pt x="89" y="15"/>
                  </a:cubicBezTo>
                  <a:cubicBezTo>
                    <a:pt x="36" y="15"/>
                    <a:pt x="36" y="15"/>
                    <a:pt x="36" y="15"/>
                  </a:cubicBezTo>
                  <a:cubicBezTo>
                    <a:pt x="35" y="6"/>
                    <a:pt x="27" y="0"/>
                    <a:pt x="18" y="0"/>
                  </a:cubicBezTo>
                  <a:cubicBezTo>
                    <a:pt x="8" y="0"/>
                    <a:pt x="0" y="8"/>
                    <a:pt x="0" y="18"/>
                  </a:cubicBezTo>
                  <a:cubicBezTo>
                    <a:pt x="0" y="28"/>
                    <a:pt x="8" y="36"/>
                    <a:pt x="18" y="36"/>
                  </a:cubicBezTo>
                  <a:cubicBezTo>
                    <a:pt x="27" y="36"/>
                    <a:pt x="35" y="30"/>
                    <a:pt x="36" y="22"/>
                  </a:cubicBezTo>
                  <a:cubicBezTo>
                    <a:pt x="89" y="22"/>
                    <a:pt x="89" y="22"/>
                    <a:pt x="89" y="22"/>
                  </a:cubicBezTo>
                  <a:cubicBezTo>
                    <a:pt x="89" y="20"/>
                    <a:pt x="89" y="19"/>
                    <a:pt x="89" y="18"/>
                  </a:cubicBezTo>
                  <a:close/>
                  <a:moveTo>
                    <a:pt x="18" y="30"/>
                  </a:moveTo>
                  <a:cubicBezTo>
                    <a:pt x="12" y="30"/>
                    <a:pt x="6" y="25"/>
                    <a:pt x="6" y="18"/>
                  </a:cubicBezTo>
                  <a:cubicBezTo>
                    <a:pt x="6" y="11"/>
                    <a:pt x="12" y="6"/>
                    <a:pt x="18" y="6"/>
                  </a:cubicBezTo>
                  <a:cubicBezTo>
                    <a:pt x="25" y="6"/>
                    <a:pt x="31" y="11"/>
                    <a:pt x="31" y="18"/>
                  </a:cubicBezTo>
                  <a:cubicBezTo>
                    <a:pt x="31" y="25"/>
                    <a:pt x="25" y="30"/>
                    <a:pt x="18" y="3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4" name="Freeform 67">
              <a:extLst>
                <a:ext uri="{FF2B5EF4-FFF2-40B4-BE49-F238E27FC236}">
                  <a16:creationId xmlns:a16="http://schemas.microsoft.com/office/drawing/2014/main" id="{8B3D7E01-02F6-42E9-A374-E068238EDAE9}"/>
                </a:ext>
              </a:extLst>
            </p:cNvPr>
            <p:cNvSpPr>
              <a:spLocks noEditPoints="1"/>
            </p:cNvSpPr>
            <p:nvPr/>
          </p:nvSpPr>
          <p:spPr bwMode="auto">
            <a:xfrm>
              <a:off x="11058043" y="5243599"/>
              <a:ext cx="111799" cy="111799"/>
            </a:xfrm>
            <a:custGeom>
              <a:avLst/>
              <a:gdLst>
                <a:gd name="T0" fmla="*/ 18 w 37"/>
                <a:gd name="T1" fmla="*/ 0 h 37"/>
                <a:gd name="T2" fmla="*/ 0 w 37"/>
                <a:gd name="T3" fmla="*/ 18 h 37"/>
                <a:gd name="T4" fmla="*/ 18 w 37"/>
                <a:gd name="T5" fmla="*/ 37 h 37"/>
                <a:gd name="T6" fmla="*/ 37 w 37"/>
                <a:gd name="T7" fmla="*/ 18 h 37"/>
                <a:gd name="T8" fmla="*/ 18 w 37"/>
                <a:gd name="T9" fmla="*/ 0 h 37"/>
                <a:gd name="T10" fmla="*/ 18 w 37"/>
                <a:gd name="T11" fmla="*/ 31 h 37"/>
                <a:gd name="T12" fmla="*/ 6 w 37"/>
                <a:gd name="T13" fmla="*/ 18 h 37"/>
                <a:gd name="T14" fmla="*/ 18 w 37"/>
                <a:gd name="T15" fmla="*/ 6 h 37"/>
                <a:gd name="T16" fmla="*/ 31 w 37"/>
                <a:gd name="T17" fmla="*/ 18 h 37"/>
                <a:gd name="T18" fmla="*/ 18 w 37"/>
                <a:gd name="T19"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7">
                  <a:moveTo>
                    <a:pt x="18" y="0"/>
                  </a:moveTo>
                  <a:cubicBezTo>
                    <a:pt x="8" y="0"/>
                    <a:pt x="0" y="8"/>
                    <a:pt x="0" y="18"/>
                  </a:cubicBezTo>
                  <a:cubicBezTo>
                    <a:pt x="0" y="28"/>
                    <a:pt x="8" y="37"/>
                    <a:pt x="18" y="37"/>
                  </a:cubicBezTo>
                  <a:cubicBezTo>
                    <a:pt x="28" y="37"/>
                    <a:pt x="37" y="28"/>
                    <a:pt x="37" y="18"/>
                  </a:cubicBezTo>
                  <a:cubicBezTo>
                    <a:pt x="37" y="8"/>
                    <a:pt x="28" y="0"/>
                    <a:pt x="18" y="0"/>
                  </a:cubicBezTo>
                  <a:close/>
                  <a:moveTo>
                    <a:pt x="18" y="31"/>
                  </a:moveTo>
                  <a:cubicBezTo>
                    <a:pt x="12" y="31"/>
                    <a:pt x="6" y="25"/>
                    <a:pt x="6" y="18"/>
                  </a:cubicBezTo>
                  <a:cubicBezTo>
                    <a:pt x="6" y="12"/>
                    <a:pt x="12" y="6"/>
                    <a:pt x="18" y="6"/>
                  </a:cubicBezTo>
                  <a:cubicBezTo>
                    <a:pt x="25" y="6"/>
                    <a:pt x="31" y="12"/>
                    <a:pt x="31" y="18"/>
                  </a:cubicBezTo>
                  <a:cubicBezTo>
                    <a:pt x="31" y="25"/>
                    <a:pt x="25" y="31"/>
                    <a:pt x="18" y="3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5" name="Freeform 68">
              <a:extLst>
                <a:ext uri="{FF2B5EF4-FFF2-40B4-BE49-F238E27FC236}">
                  <a16:creationId xmlns:a16="http://schemas.microsoft.com/office/drawing/2014/main" id="{DC67EC7C-ED7B-40A3-AD69-443511D089EE}"/>
                </a:ext>
              </a:extLst>
            </p:cNvPr>
            <p:cNvSpPr>
              <a:spLocks noEditPoints="1"/>
            </p:cNvSpPr>
            <p:nvPr/>
          </p:nvSpPr>
          <p:spPr bwMode="auto">
            <a:xfrm>
              <a:off x="11109949" y="5125812"/>
              <a:ext cx="109803" cy="109803"/>
            </a:xfrm>
            <a:custGeom>
              <a:avLst/>
              <a:gdLst>
                <a:gd name="T0" fmla="*/ 19 w 37"/>
                <a:gd name="T1" fmla="*/ 0 h 36"/>
                <a:gd name="T2" fmla="*/ 0 w 37"/>
                <a:gd name="T3" fmla="*/ 18 h 36"/>
                <a:gd name="T4" fmla="*/ 19 w 37"/>
                <a:gd name="T5" fmla="*/ 36 h 36"/>
                <a:gd name="T6" fmla="*/ 37 w 37"/>
                <a:gd name="T7" fmla="*/ 18 h 36"/>
                <a:gd name="T8" fmla="*/ 19 w 37"/>
                <a:gd name="T9" fmla="*/ 0 h 36"/>
                <a:gd name="T10" fmla="*/ 19 w 37"/>
                <a:gd name="T11" fmla="*/ 30 h 36"/>
                <a:gd name="T12" fmla="*/ 6 w 37"/>
                <a:gd name="T13" fmla="*/ 18 h 36"/>
                <a:gd name="T14" fmla="*/ 19 w 37"/>
                <a:gd name="T15" fmla="*/ 6 h 36"/>
                <a:gd name="T16" fmla="*/ 31 w 37"/>
                <a:gd name="T17" fmla="*/ 18 h 36"/>
                <a:gd name="T18" fmla="*/ 19 w 37"/>
                <a:gd name="T19"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0"/>
                  </a:moveTo>
                  <a:cubicBezTo>
                    <a:pt x="9" y="0"/>
                    <a:pt x="0" y="8"/>
                    <a:pt x="0" y="18"/>
                  </a:cubicBezTo>
                  <a:cubicBezTo>
                    <a:pt x="0" y="28"/>
                    <a:pt x="9" y="36"/>
                    <a:pt x="19" y="36"/>
                  </a:cubicBezTo>
                  <a:cubicBezTo>
                    <a:pt x="29" y="36"/>
                    <a:pt x="37" y="28"/>
                    <a:pt x="37" y="18"/>
                  </a:cubicBezTo>
                  <a:cubicBezTo>
                    <a:pt x="37" y="8"/>
                    <a:pt x="29" y="0"/>
                    <a:pt x="19" y="0"/>
                  </a:cubicBezTo>
                  <a:close/>
                  <a:moveTo>
                    <a:pt x="19" y="30"/>
                  </a:moveTo>
                  <a:cubicBezTo>
                    <a:pt x="12" y="30"/>
                    <a:pt x="6" y="24"/>
                    <a:pt x="6" y="18"/>
                  </a:cubicBezTo>
                  <a:cubicBezTo>
                    <a:pt x="6" y="11"/>
                    <a:pt x="12" y="6"/>
                    <a:pt x="19" y="6"/>
                  </a:cubicBezTo>
                  <a:cubicBezTo>
                    <a:pt x="25" y="6"/>
                    <a:pt x="31" y="11"/>
                    <a:pt x="31" y="18"/>
                  </a:cubicBezTo>
                  <a:cubicBezTo>
                    <a:pt x="31" y="24"/>
                    <a:pt x="25" y="30"/>
                    <a:pt x="19" y="3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6" name="Freeform 69">
              <a:extLst>
                <a:ext uri="{FF2B5EF4-FFF2-40B4-BE49-F238E27FC236}">
                  <a16:creationId xmlns:a16="http://schemas.microsoft.com/office/drawing/2014/main" id="{4A38E84E-405C-49AA-9BF1-A1C99CE21519}"/>
                </a:ext>
              </a:extLst>
            </p:cNvPr>
            <p:cNvSpPr>
              <a:spLocks noEditPoints="1"/>
            </p:cNvSpPr>
            <p:nvPr/>
          </p:nvSpPr>
          <p:spPr bwMode="auto">
            <a:xfrm>
              <a:off x="11058043" y="5443239"/>
              <a:ext cx="111799" cy="107806"/>
            </a:xfrm>
            <a:custGeom>
              <a:avLst/>
              <a:gdLst>
                <a:gd name="T0" fmla="*/ 37 w 37"/>
                <a:gd name="T1" fmla="*/ 18 h 36"/>
                <a:gd name="T2" fmla="*/ 18 w 37"/>
                <a:gd name="T3" fmla="*/ 0 h 36"/>
                <a:gd name="T4" fmla="*/ 0 w 37"/>
                <a:gd name="T5" fmla="*/ 18 h 36"/>
                <a:gd name="T6" fmla="*/ 18 w 37"/>
                <a:gd name="T7" fmla="*/ 36 h 36"/>
                <a:gd name="T8" fmla="*/ 37 w 37"/>
                <a:gd name="T9" fmla="*/ 18 h 36"/>
                <a:gd name="T10" fmla="*/ 31 w 37"/>
                <a:gd name="T11" fmla="*/ 18 h 36"/>
                <a:gd name="T12" fmla="*/ 18 w 37"/>
                <a:gd name="T13" fmla="*/ 30 h 36"/>
                <a:gd name="T14" fmla="*/ 6 w 37"/>
                <a:gd name="T15" fmla="*/ 18 h 36"/>
                <a:gd name="T16" fmla="*/ 18 w 37"/>
                <a:gd name="T17" fmla="*/ 6 h 36"/>
                <a:gd name="T18" fmla="*/ 31 w 37"/>
                <a:gd name="T1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37" y="18"/>
                  </a:moveTo>
                  <a:cubicBezTo>
                    <a:pt x="37" y="8"/>
                    <a:pt x="28" y="0"/>
                    <a:pt x="18" y="0"/>
                  </a:cubicBezTo>
                  <a:cubicBezTo>
                    <a:pt x="8" y="0"/>
                    <a:pt x="0" y="8"/>
                    <a:pt x="0" y="18"/>
                  </a:cubicBezTo>
                  <a:cubicBezTo>
                    <a:pt x="0" y="28"/>
                    <a:pt x="8" y="36"/>
                    <a:pt x="18" y="36"/>
                  </a:cubicBezTo>
                  <a:cubicBezTo>
                    <a:pt x="28" y="36"/>
                    <a:pt x="37" y="28"/>
                    <a:pt x="37" y="18"/>
                  </a:cubicBezTo>
                  <a:close/>
                  <a:moveTo>
                    <a:pt x="31" y="18"/>
                  </a:moveTo>
                  <a:cubicBezTo>
                    <a:pt x="31" y="25"/>
                    <a:pt x="25" y="30"/>
                    <a:pt x="18" y="30"/>
                  </a:cubicBezTo>
                  <a:cubicBezTo>
                    <a:pt x="12" y="30"/>
                    <a:pt x="6" y="25"/>
                    <a:pt x="6" y="18"/>
                  </a:cubicBezTo>
                  <a:cubicBezTo>
                    <a:pt x="6" y="11"/>
                    <a:pt x="12" y="6"/>
                    <a:pt x="18" y="6"/>
                  </a:cubicBezTo>
                  <a:cubicBezTo>
                    <a:pt x="25" y="6"/>
                    <a:pt x="31" y="11"/>
                    <a:pt x="31" y="1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7" name="Freeform 70">
              <a:extLst>
                <a:ext uri="{FF2B5EF4-FFF2-40B4-BE49-F238E27FC236}">
                  <a16:creationId xmlns:a16="http://schemas.microsoft.com/office/drawing/2014/main" id="{88F6716C-9550-4F74-AAE7-090D15B2F021}"/>
                </a:ext>
              </a:extLst>
            </p:cNvPr>
            <p:cNvSpPr>
              <a:spLocks noEditPoints="1"/>
            </p:cNvSpPr>
            <p:nvPr/>
          </p:nvSpPr>
          <p:spPr bwMode="auto">
            <a:xfrm>
              <a:off x="11109949" y="5563023"/>
              <a:ext cx="109803" cy="107806"/>
            </a:xfrm>
            <a:custGeom>
              <a:avLst/>
              <a:gdLst>
                <a:gd name="T0" fmla="*/ 37 w 37"/>
                <a:gd name="T1" fmla="*/ 18 h 36"/>
                <a:gd name="T2" fmla="*/ 19 w 37"/>
                <a:gd name="T3" fmla="*/ 0 h 36"/>
                <a:gd name="T4" fmla="*/ 0 w 37"/>
                <a:gd name="T5" fmla="*/ 18 h 36"/>
                <a:gd name="T6" fmla="*/ 19 w 37"/>
                <a:gd name="T7" fmla="*/ 36 h 36"/>
                <a:gd name="T8" fmla="*/ 37 w 37"/>
                <a:gd name="T9" fmla="*/ 18 h 36"/>
                <a:gd name="T10" fmla="*/ 31 w 37"/>
                <a:gd name="T11" fmla="*/ 18 h 36"/>
                <a:gd name="T12" fmla="*/ 19 w 37"/>
                <a:gd name="T13" fmla="*/ 30 h 36"/>
                <a:gd name="T14" fmla="*/ 6 w 37"/>
                <a:gd name="T15" fmla="*/ 18 h 36"/>
                <a:gd name="T16" fmla="*/ 19 w 37"/>
                <a:gd name="T17" fmla="*/ 6 h 36"/>
                <a:gd name="T18" fmla="*/ 31 w 37"/>
                <a:gd name="T1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37" y="18"/>
                  </a:moveTo>
                  <a:cubicBezTo>
                    <a:pt x="37" y="8"/>
                    <a:pt x="29" y="0"/>
                    <a:pt x="19" y="0"/>
                  </a:cubicBezTo>
                  <a:cubicBezTo>
                    <a:pt x="9" y="0"/>
                    <a:pt x="0" y="8"/>
                    <a:pt x="0" y="18"/>
                  </a:cubicBezTo>
                  <a:cubicBezTo>
                    <a:pt x="0" y="28"/>
                    <a:pt x="9" y="36"/>
                    <a:pt x="19" y="36"/>
                  </a:cubicBezTo>
                  <a:cubicBezTo>
                    <a:pt x="29" y="36"/>
                    <a:pt x="37" y="28"/>
                    <a:pt x="37" y="18"/>
                  </a:cubicBezTo>
                  <a:close/>
                  <a:moveTo>
                    <a:pt x="31" y="18"/>
                  </a:moveTo>
                  <a:cubicBezTo>
                    <a:pt x="31" y="25"/>
                    <a:pt x="25" y="30"/>
                    <a:pt x="19" y="30"/>
                  </a:cubicBezTo>
                  <a:cubicBezTo>
                    <a:pt x="12" y="30"/>
                    <a:pt x="6" y="25"/>
                    <a:pt x="6" y="18"/>
                  </a:cubicBezTo>
                  <a:cubicBezTo>
                    <a:pt x="6" y="11"/>
                    <a:pt x="12" y="6"/>
                    <a:pt x="19" y="6"/>
                  </a:cubicBezTo>
                  <a:cubicBezTo>
                    <a:pt x="25" y="6"/>
                    <a:pt x="31" y="11"/>
                    <a:pt x="31" y="1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8" name="Freeform 71">
              <a:extLst>
                <a:ext uri="{FF2B5EF4-FFF2-40B4-BE49-F238E27FC236}">
                  <a16:creationId xmlns:a16="http://schemas.microsoft.com/office/drawing/2014/main" id="{7C7772FE-01E5-481D-A4E1-34362927F2D3}"/>
                </a:ext>
              </a:extLst>
            </p:cNvPr>
            <p:cNvSpPr>
              <a:spLocks/>
            </p:cNvSpPr>
            <p:nvPr/>
          </p:nvSpPr>
          <p:spPr bwMode="auto">
            <a:xfrm>
              <a:off x="10952234" y="5289517"/>
              <a:ext cx="91835" cy="59892"/>
            </a:xfrm>
            <a:custGeom>
              <a:avLst/>
              <a:gdLst>
                <a:gd name="T0" fmla="*/ 29 w 30"/>
                <a:gd name="T1" fmla="*/ 3 h 20"/>
                <a:gd name="T2" fmla="*/ 30 w 30"/>
                <a:gd name="T3" fmla="*/ 0 h 20"/>
                <a:gd name="T4" fmla="*/ 15 w 30"/>
                <a:gd name="T5" fmla="*/ 0 h 20"/>
                <a:gd name="T6" fmla="*/ 0 w 30"/>
                <a:gd name="T7" fmla="*/ 15 h 20"/>
                <a:gd name="T8" fmla="*/ 5 w 30"/>
                <a:gd name="T9" fmla="*/ 20 h 20"/>
                <a:gd name="T10" fmla="*/ 18 w 30"/>
                <a:gd name="T11" fmla="*/ 7 h 20"/>
                <a:gd name="T12" fmla="*/ 30 w 30"/>
                <a:gd name="T13" fmla="*/ 7 h 20"/>
                <a:gd name="T14" fmla="*/ 29 w 30"/>
                <a:gd name="T15" fmla="*/ 3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0">
                  <a:moveTo>
                    <a:pt x="29" y="3"/>
                  </a:moveTo>
                  <a:cubicBezTo>
                    <a:pt x="29" y="2"/>
                    <a:pt x="29" y="1"/>
                    <a:pt x="30" y="0"/>
                  </a:cubicBezTo>
                  <a:cubicBezTo>
                    <a:pt x="15" y="0"/>
                    <a:pt x="15" y="0"/>
                    <a:pt x="15" y="0"/>
                  </a:cubicBezTo>
                  <a:cubicBezTo>
                    <a:pt x="0" y="15"/>
                    <a:pt x="0" y="15"/>
                    <a:pt x="0" y="15"/>
                  </a:cubicBezTo>
                  <a:cubicBezTo>
                    <a:pt x="2" y="16"/>
                    <a:pt x="4" y="18"/>
                    <a:pt x="5" y="20"/>
                  </a:cubicBezTo>
                  <a:cubicBezTo>
                    <a:pt x="18" y="7"/>
                    <a:pt x="18" y="7"/>
                    <a:pt x="18" y="7"/>
                  </a:cubicBezTo>
                  <a:cubicBezTo>
                    <a:pt x="30" y="7"/>
                    <a:pt x="30" y="7"/>
                    <a:pt x="30" y="7"/>
                  </a:cubicBezTo>
                  <a:cubicBezTo>
                    <a:pt x="29" y="6"/>
                    <a:pt x="29" y="5"/>
                    <a:pt x="29" y="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9" name="Freeform 72">
              <a:extLst>
                <a:ext uri="{FF2B5EF4-FFF2-40B4-BE49-F238E27FC236}">
                  <a16:creationId xmlns:a16="http://schemas.microsoft.com/office/drawing/2014/main" id="{A7AF95A4-7744-4192-A99A-62934480117A}"/>
                </a:ext>
              </a:extLst>
            </p:cNvPr>
            <p:cNvSpPr>
              <a:spLocks/>
            </p:cNvSpPr>
            <p:nvPr/>
          </p:nvSpPr>
          <p:spPr bwMode="auto">
            <a:xfrm>
              <a:off x="11016119" y="5167736"/>
              <a:ext cx="77860" cy="99820"/>
            </a:xfrm>
            <a:custGeom>
              <a:avLst/>
              <a:gdLst>
                <a:gd name="T0" fmla="*/ 26 w 26"/>
                <a:gd name="T1" fmla="*/ 0 h 33"/>
                <a:gd name="T2" fmla="*/ 11 w 26"/>
                <a:gd name="T3" fmla="*/ 0 h 33"/>
                <a:gd name="T4" fmla="*/ 0 w 26"/>
                <a:gd name="T5" fmla="*/ 12 h 33"/>
                <a:gd name="T6" fmla="*/ 0 w 26"/>
                <a:gd name="T7" fmla="*/ 33 h 33"/>
                <a:gd name="T8" fmla="*/ 7 w 26"/>
                <a:gd name="T9" fmla="*/ 33 h 33"/>
                <a:gd name="T10" fmla="*/ 7 w 26"/>
                <a:gd name="T11" fmla="*/ 15 h 33"/>
                <a:gd name="T12" fmla="*/ 14 w 26"/>
                <a:gd name="T13" fmla="*/ 7 h 33"/>
                <a:gd name="T14" fmla="*/ 26 w 26"/>
                <a:gd name="T15" fmla="*/ 7 h 33"/>
                <a:gd name="T16" fmla="*/ 25 w 26"/>
                <a:gd name="T17" fmla="*/ 4 h 33"/>
                <a:gd name="T18" fmla="*/ 26 w 26"/>
                <a:gd name="T1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3">
                  <a:moveTo>
                    <a:pt x="26" y="0"/>
                  </a:moveTo>
                  <a:cubicBezTo>
                    <a:pt x="11" y="0"/>
                    <a:pt x="11" y="0"/>
                    <a:pt x="11" y="0"/>
                  </a:cubicBezTo>
                  <a:cubicBezTo>
                    <a:pt x="0" y="12"/>
                    <a:pt x="0" y="12"/>
                    <a:pt x="0" y="12"/>
                  </a:cubicBezTo>
                  <a:cubicBezTo>
                    <a:pt x="0" y="33"/>
                    <a:pt x="0" y="33"/>
                    <a:pt x="0" y="33"/>
                  </a:cubicBezTo>
                  <a:cubicBezTo>
                    <a:pt x="7" y="33"/>
                    <a:pt x="7" y="33"/>
                    <a:pt x="7" y="33"/>
                  </a:cubicBezTo>
                  <a:cubicBezTo>
                    <a:pt x="7" y="15"/>
                    <a:pt x="7" y="15"/>
                    <a:pt x="7" y="15"/>
                  </a:cubicBezTo>
                  <a:cubicBezTo>
                    <a:pt x="14" y="7"/>
                    <a:pt x="14" y="7"/>
                    <a:pt x="14" y="7"/>
                  </a:cubicBezTo>
                  <a:cubicBezTo>
                    <a:pt x="26" y="7"/>
                    <a:pt x="26" y="7"/>
                    <a:pt x="26" y="7"/>
                  </a:cubicBezTo>
                  <a:cubicBezTo>
                    <a:pt x="26" y="6"/>
                    <a:pt x="25" y="5"/>
                    <a:pt x="25" y="4"/>
                  </a:cubicBezTo>
                  <a:cubicBezTo>
                    <a:pt x="25" y="3"/>
                    <a:pt x="26" y="1"/>
                    <a:pt x="26"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0" name="Freeform 73">
              <a:extLst>
                <a:ext uri="{FF2B5EF4-FFF2-40B4-BE49-F238E27FC236}">
                  <a16:creationId xmlns:a16="http://schemas.microsoft.com/office/drawing/2014/main" id="{91817554-5AC2-4D91-A753-5EAF6113FFBB}"/>
                </a:ext>
              </a:extLst>
            </p:cNvPr>
            <p:cNvSpPr>
              <a:spLocks/>
            </p:cNvSpPr>
            <p:nvPr/>
          </p:nvSpPr>
          <p:spPr bwMode="auto">
            <a:xfrm>
              <a:off x="10952234" y="5445237"/>
              <a:ext cx="91835" cy="59892"/>
            </a:xfrm>
            <a:custGeom>
              <a:avLst/>
              <a:gdLst>
                <a:gd name="T0" fmla="*/ 29 w 30"/>
                <a:gd name="T1" fmla="*/ 17 h 20"/>
                <a:gd name="T2" fmla="*/ 30 w 30"/>
                <a:gd name="T3" fmla="*/ 20 h 20"/>
                <a:gd name="T4" fmla="*/ 15 w 30"/>
                <a:gd name="T5" fmla="*/ 20 h 20"/>
                <a:gd name="T6" fmla="*/ 0 w 30"/>
                <a:gd name="T7" fmla="*/ 5 h 20"/>
                <a:gd name="T8" fmla="*/ 5 w 30"/>
                <a:gd name="T9" fmla="*/ 0 h 20"/>
                <a:gd name="T10" fmla="*/ 18 w 30"/>
                <a:gd name="T11" fmla="*/ 13 h 20"/>
                <a:gd name="T12" fmla="*/ 30 w 30"/>
                <a:gd name="T13" fmla="*/ 13 h 20"/>
                <a:gd name="T14" fmla="*/ 29 w 30"/>
                <a:gd name="T15" fmla="*/ 17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0">
                  <a:moveTo>
                    <a:pt x="29" y="17"/>
                  </a:moveTo>
                  <a:cubicBezTo>
                    <a:pt x="29" y="18"/>
                    <a:pt x="29" y="19"/>
                    <a:pt x="30" y="20"/>
                  </a:cubicBezTo>
                  <a:cubicBezTo>
                    <a:pt x="15" y="20"/>
                    <a:pt x="15" y="20"/>
                    <a:pt x="15" y="20"/>
                  </a:cubicBezTo>
                  <a:cubicBezTo>
                    <a:pt x="0" y="5"/>
                    <a:pt x="0" y="5"/>
                    <a:pt x="0" y="5"/>
                  </a:cubicBezTo>
                  <a:cubicBezTo>
                    <a:pt x="2" y="4"/>
                    <a:pt x="4" y="2"/>
                    <a:pt x="5" y="0"/>
                  </a:cubicBezTo>
                  <a:cubicBezTo>
                    <a:pt x="18" y="13"/>
                    <a:pt x="18" y="13"/>
                    <a:pt x="18" y="13"/>
                  </a:cubicBezTo>
                  <a:cubicBezTo>
                    <a:pt x="30" y="13"/>
                    <a:pt x="30" y="13"/>
                    <a:pt x="30" y="13"/>
                  </a:cubicBezTo>
                  <a:cubicBezTo>
                    <a:pt x="29" y="14"/>
                    <a:pt x="29" y="15"/>
                    <a:pt x="29" y="1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1" name="Freeform 74">
              <a:extLst>
                <a:ext uri="{FF2B5EF4-FFF2-40B4-BE49-F238E27FC236}">
                  <a16:creationId xmlns:a16="http://schemas.microsoft.com/office/drawing/2014/main" id="{FD0278AD-2655-4254-A6A1-AB260523895F}"/>
                </a:ext>
              </a:extLst>
            </p:cNvPr>
            <p:cNvSpPr>
              <a:spLocks/>
            </p:cNvSpPr>
            <p:nvPr/>
          </p:nvSpPr>
          <p:spPr bwMode="auto">
            <a:xfrm>
              <a:off x="11016119" y="5527089"/>
              <a:ext cx="77860" cy="99820"/>
            </a:xfrm>
            <a:custGeom>
              <a:avLst/>
              <a:gdLst>
                <a:gd name="T0" fmla="*/ 26 w 26"/>
                <a:gd name="T1" fmla="*/ 33 h 33"/>
                <a:gd name="T2" fmla="*/ 11 w 26"/>
                <a:gd name="T3" fmla="*/ 33 h 33"/>
                <a:gd name="T4" fmla="*/ 0 w 26"/>
                <a:gd name="T5" fmla="*/ 21 h 33"/>
                <a:gd name="T6" fmla="*/ 0 w 26"/>
                <a:gd name="T7" fmla="*/ 0 h 33"/>
                <a:gd name="T8" fmla="*/ 7 w 26"/>
                <a:gd name="T9" fmla="*/ 0 h 33"/>
                <a:gd name="T10" fmla="*/ 7 w 26"/>
                <a:gd name="T11" fmla="*/ 19 h 33"/>
                <a:gd name="T12" fmla="*/ 14 w 26"/>
                <a:gd name="T13" fmla="*/ 26 h 33"/>
                <a:gd name="T14" fmla="*/ 26 w 26"/>
                <a:gd name="T15" fmla="*/ 26 h 33"/>
                <a:gd name="T16" fmla="*/ 25 w 26"/>
                <a:gd name="T17" fmla="*/ 29 h 33"/>
                <a:gd name="T18" fmla="*/ 26 w 26"/>
                <a:gd name="T1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3">
                  <a:moveTo>
                    <a:pt x="26" y="33"/>
                  </a:moveTo>
                  <a:cubicBezTo>
                    <a:pt x="11" y="33"/>
                    <a:pt x="11" y="33"/>
                    <a:pt x="11" y="33"/>
                  </a:cubicBezTo>
                  <a:cubicBezTo>
                    <a:pt x="0" y="21"/>
                    <a:pt x="0" y="21"/>
                    <a:pt x="0" y="21"/>
                  </a:cubicBezTo>
                  <a:cubicBezTo>
                    <a:pt x="0" y="0"/>
                    <a:pt x="0" y="0"/>
                    <a:pt x="0" y="0"/>
                  </a:cubicBezTo>
                  <a:cubicBezTo>
                    <a:pt x="7" y="0"/>
                    <a:pt x="7" y="0"/>
                    <a:pt x="7" y="0"/>
                  </a:cubicBezTo>
                  <a:cubicBezTo>
                    <a:pt x="7" y="19"/>
                    <a:pt x="7" y="19"/>
                    <a:pt x="7" y="19"/>
                  </a:cubicBezTo>
                  <a:cubicBezTo>
                    <a:pt x="14" y="26"/>
                    <a:pt x="14" y="26"/>
                    <a:pt x="14" y="26"/>
                  </a:cubicBezTo>
                  <a:cubicBezTo>
                    <a:pt x="26" y="26"/>
                    <a:pt x="26" y="26"/>
                    <a:pt x="26" y="26"/>
                  </a:cubicBezTo>
                  <a:cubicBezTo>
                    <a:pt x="26" y="27"/>
                    <a:pt x="25" y="28"/>
                    <a:pt x="25" y="29"/>
                  </a:cubicBezTo>
                  <a:cubicBezTo>
                    <a:pt x="25" y="31"/>
                    <a:pt x="26" y="32"/>
                    <a:pt x="26" y="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102" name="Group 101">
            <a:extLst>
              <a:ext uri="{FF2B5EF4-FFF2-40B4-BE49-F238E27FC236}">
                <a16:creationId xmlns:a16="http://schemas.microsoft.com/office/drawing/2014/main" id="{E8FB866A-DA87-4F7F-8110-E80AB29B284E}"/>
              </a:ext>
            </a:extLst>
          </p:cNvPr>
          <p:cNvGrpSpPr/>
          <p:nvPr/>
        </p:nvGrpSpPr>
        <p:grpSpPr>
          <a:xfrm>
            <a:off x="3487975" y="4740486"/>
            <a:ext cx="392580" cy="392580"/>
            <a:chOff x="813278" y="5118242"/>
            <a:chExt cx="653991" cy="653991"/>
          </a:xfrm>
        </p:grpSpPr>
        <p:sp>
          <p:nvSpPr>
            <p:cNvPr id="103" name="Freeform 82">
              <a:extLst>
                <a:ext uri="{FF2B5EF4-FFF2-40B4-BE49-F238E27FC236}">
                  <a16:creationId xmlns:a16="http://schemas.microsoft.com/office/drawing/2014/main" id="{4A6A5CC3-331A-4B3D-AD06-25E8902FEABA}"/>
                </a:ext>
              </a:extLst>
            </p:cNvPr>
            <p:cNvSpPr>
              <a:spLocks noEditPoints="1"/>
            </p:cNvSpPr>
            <p:nvPr/>
          </p:nvSpPr>
          <p:spPr bwMode="auto">
            <a:xfrm>
              <a:off x="813278" y="5118242"/>
              <a:ext cx="653991" cy="653991"/>
            </a:xfrm>
            <a:custGeom>
              <a:avLst/>
              <a:gdLst>
                <a:gd name="T0" fmla="*/ 189 w 200"/>
                <a:gd name="T1" fmla="*/ 78 h 200"/>
                <a:gd name="T2" fmla="*/ 178 w 200"/>
                <a:gd name="T3" fmla="*/ 53 h 200"/>
                <a:gd name="T4" fmla="*/ 157 w 200"/>
                <a:gd name="T5" fmla="*/ 18 h 200"/>
                <a:gd name="T6" fmla="*/ 143 w 200"/>
                <a:gd name="T7" fmla="*/ 22 h 200"/>
                <a:gd name="T8" fmla="*/ 121 w 200"/>
                <a:gd name="T9" fmla="*/ 5 h 200"/>
                <a:gd name="T10" fmla="*/ 105 w 200"/>
                <a:gd name="T11" fmla="*/ 0 h 200"/>
                <a:gd name="T12" fmla="*/ 105 w 200"/>
                <a:gd name="T13" fmla="*/ 0 h 200"/>
                <a:gd name="T14" fmla="*/ 95 w 200"/>
                <a:gd name="T15" fmla="*/ 0 h 200"/>
                <a:gd name="T16" fmla="*/ 82 w 200"/>
                <a:gd name="T17" fmla="*/ 1 h 200"/>
                <a:gd name="T18" fmla="*/ 75 w 200"/>
                <a:gd name="T19" fmla="*/ 14 h 200"/>
                <a:gd name="T20" fmla="*/ 48 w 200"/>
                <a:gd name="T21" fmla="*/ 18 h 200"/>
                <a:gd name="T22" fmla="*/ 18 w 200"/>
                <a:gd name="T23" fmla="*/ 48 h 200"/>
                <a:gd name="T24" fmla="*/ 15 w 200"/>
                <a:gd name="T25" fmla="*/ 75 h 200"/>
                <a:gd name="T26" fmla="*/ 2 w 200"/>
                <a:gd name="T27" fmla="*/ 82 h 200"/>
                <a:gd name="T28" fmla="*/ 5 w 200"/>
                <a:gd name="T29" fmla="*/ 121 h 200"/>
                <a:gd name="T30" fmla="*/ 22 w 200"/>
                <a:gd name="T31" fmla="*/ 143 h 200"/>
                <a:gd name="T32" fmla="*/ 18 w 200"/>
                <a:gd name="T33" fmla="*/ 157 h 200"/>
                <a:gd name="T34" fmla="*/ 53 w 200"/>
                <a:gd name="T35" fmla="*/ 178 h 200"/>
                <a:gd name="T36" fmla="*/ 78 w 200"/>
                <a:gd name="T37" fmla="*/ 189 h 200"/>
                <a:gd name="T38" fmla="*/ 95 w 200"/>
                <a:gd name="T39" fmla="*/ 200 h 200"/>
                <a:gd name="T40" fmla="*/ 105 w 200"/>
                <a:gd name="T41" fmla="*/ 200 h 200"/>
                <a:gd name="T42" fmla="*/ 122 w 200"/>
                <a:gd name="T43" fmla="*/ 189 h 200"/>
                <a:gd name="T44" fmla="*/ 147 w 200"/>
                <a:gd name="T45" fmla="*/ 178 h 200"/>
                <a:gd name="T46" fmla="*/ 182 w 200"/>
                <a:gd name="T47" fmla="*/ 157 h 200"/>
                <a:gd name="T48" fmla="*/ 178 w 200"/>
                <a:gd name="T49" fmla="*/ 143 h 200"/>
                <a:gd name="T50" fmla="*/ 195 w 200"/>
                <a:gd name="T51" fmla="*/ 121 h 200"/>
                <a:gd name="T52" fmla="*/ 198 w 200"/>
                <a:gd name="T53" fmla="*/ 82 h 200"/>
                <a:gd name="T54" fmla="*/ 182 w 200"/>
                <a:gd name="T55" fmla="*/ 108 h 200"/>
                <a:gd name="T56" fmla="*/ 164 w 200"/>
                <a:gd name="T57" fmla="*/ 152 h 200"/>
                <a:gd name="T58" fmla="*/ 162 w 200"/>
                <a:gd name="T59" fmla="*/ 166 h 200"/>
                <a:gd name="T60" fmla="*/ 147 w 200"/>
                <a:gd name="T61" fmla="*/ 164 h 200"/>
                <a:gd name="T62" fmla="*/ 107 w 200"/>
                <a:gd name="T63" fmla="*/ 188 h 200"/>
                <a:gd name="T64" fmla="*/ 93 w 200"/>
                <a:gd name="T65" fmla="*/ 188 h 200"/>
                <a:gd name="T66" fmla="*/ 53 w 200"/>
                <a:gd name="T67" fmla="*/ 164 h 200"/>
                <a:gd name="T68" fmla="*/ 38 w 200"/>
                <a:gd name="T69" fmla="*/ 166 h 200"/>
                <a:gd name="T70" fmla="*/ 37 w 200"/>
                <a:gd name="T71" fmla="*/ 152 h 200"/>
                <a:gd name="T72" fmla="*/ 18 w 200"/>
                <a:gd name="T73" fmla="*/ 108 h 200"/>
                <a:gd name="T74" fmla="*/ 9 w 200"/>
                <a:gd name="T75" fmla="*/ 97 h 200"/>
                <a:gd name="T76" fmla="*/ 21 w 200"/>
                <a:gd name="T77" fmla="*/ 88 h 200"/>
                <a:gd name="T78" fmla="*/ 33 w 200"/>
                <a:gd name="T79" fmla="*/ 43 h 200"/>
                <a:gd name="T80" fmla="*/ 43 w 200"/>
                <a:gd name="T81" fmla="*/ 33 h 200"/>
                <a:gd name="T82" fmla="*/ 88 w 200"/>
                <a:gd name="T83" fmla="*/ 21 h 200"/>
                <a:gd name="T84" fmla="*/ 95 w 200"/>
                <a:gd name="T85" fmla="*/ 9 h 200"/>
                <a:gd name="T86" fmla="*/ 108 w 200"/>
                <a:gd name="T87" fmla="*/ 18 h 200"/>
                <a:gd name="T88" fmla="*/ 152 w 200"/>
                <a:gd name="T89" fmla="*/ 36 h 200"/>
                <a:gd name="T90" fmla="*/ 166 w 200"/>
                <a:gd name="T91" fmla="*/ 38 h 200"/>
                <a:gd name="T92" fmla="*/ 164 w 200"/>
                <a:gd name="T93" fmla="*/ 52 h 200"/>
                <a:gd name="T94" fmla="*/ 187 w 200"/>
                <a:gd name="T95" fmla="*/ 9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 h="200">
                  <a:moveTo>
                    <a:pt x="198" y="82"/>
                  </a:moveTo>
                  <a:cubicBezTo>
                    <a:pt x="198" y="80"/>
                    <a:pt x="197" y="79"/>
                    <a:pt x="195" y="79"/>
                  </a:cubicBezTo>
                  <a:cubicBezTo>
                    <a:pt x="192" y="78"/>
                    <a:pt x="190" y="78"/>
                    <a:pt x="189" y="78"/>
                  </a:cubicBezTo>
                  <a:cubicBezTo>
                    <a:pt x="187" y="78"/>
                    <a:pt x="186" y="76"/>
                    <a:pt x="185" y="75"/>
                  </a:cubicBezTo>
                  <a:cubicBezTo>
                    <a:pt x="184" y="69"/>
                    <a:pt x="181" y="63"/>
                    <a:pt x="178" y="57"/>
                  </a:cubicBezTo>
                  <a:cubicBezTo>
                    <a:pt x="177" y="56"/>
                    <a:pt x="177" y="54"/>
                    <a:pt x="178" y="53"/>
                  </a:cubicBezTo>
                  <a:cubicBezTo>
                    <a:pt x="180" y="51"/>
                    <a:pt x="181" y="49"/>
                    <a:pt x="182" y="48"/>
                  </a:cubicBezTo>
                  <a:cubicBezTo>
                    <a:pt x="183" y="47"/>
                    <a:pt x="183" y="45"/>
                    <a:pt x="182" y="43"/>
                  </a:cubicBezTo>
                  <a:cubicBezTo>
                    <a:pt x="175" y="33"/>
                    <a:pt x="167" y="25"/>
                    <a:pt x="157" y="18"/>
                  </a:cubicBezTo>
                  <a:cubicBezTo>
                    <a:pt x="156" y="17"/>
                    <a:pt x="153" y="17"/>
                    <a:pt x="152" y="18"/>
                  </a:cubicBezTo>
                  <a:cubicBezTo>
                    <a:pt x="150" y="19"/>
                    <a:pt x="148" y="21"/>
                    <a:pt x="147" y="21"/>
                  </a:cubicBezTo>
                  <a:cubicBezTo>
                    <a:pt x="146" y="22"/>
                    <a:pt x="144" y="22"/>
                    <a:pt x="143" y="22"/>
                  </a:cubicBezTo>
                  <a:cubicBezTo>
                    <a:pt x="137" y="19"/>
                    <a:pt x="131" y="16"/>
                    <a:pt x="125" y="14"/>
                  </a:cubicBezTo>
                  <a:cubicBezTo>
                    <a:pt x="124" y="14"/>
                    <a:pt x="122" y="13"/>
                    <a:pt x="122" y="11"/>
                  </a:cubicBezTo>
                  <a:cubicBezTo>
                    <a:pt x="122" y="9"/>
                    <a:pt x="122" y="8"/>
                    <a:pt x="121" y="5"/>
                  </a:cubicBezTo>
                  <a:cubicBezTo>
                    <a:pt x="121" y="3"/>
                    <a:pt x="120" y="2"/>
                    <a:pt x="118" y="1"/>
                  </a:cubicBezTo>
                  <a:cubicBezTo>
                    <a:pt x="114" y="1"/>
                    <a:pt x="109"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1" y="0"/>
                    <a:pt x="86" y="1"/>
                    <a:pt x="82" y="1"/>
                  </a:cubicBezTo>
                  <a:cubicBezTo>
                    <a:pt x="80" y="2"/>
                    <a:pt x="79" y="3"/>
                    <a:pt x="79" y="5"/>
                  </a:cubicBezTo>
                  <a:cubicBezTo>
                    <a:pt x="78" y="8"/>
                    <a:pt x="78" y="9"/>
                    <a:pt x="78" y="11"/>
                  </a:cubicBezTo>
                  <a:cubicBezTo>
                    <a:pt x="78" y="13"/>
                    <a:pt x="76" y="14"/>
                    <a:pt x="75" y="14"/>
                  </a:cubicBezTo>
                  <a:cubicBezTo>
                    <a:pt x="69" y="16"/>
                    <a:pt x="63" y="19"/>
                    <a:pt x="57" y="22"/>
                  </a:cubicBezTo>
                  <a:cubicBezTo>
                    <a:pt x="56" y="22"/>
                    <a:pt x="54" y="22"/>
                    <a:pt x="53" y="21"/>
                  </a:cubicBezTo>
                  <a:cubicBezTo>
                    <a:pt x="52" y="21"/>
                    <a:pt x="50" y="19"/>
                    <a:pt x="48" y="18"/>
                  </a:cubicBezTo>
                  <a:cubicBezTo>
                    <a:pt x="47" y="17"/>
                    <a:pt x="45" y="17"/>
                    <a:pt x="43" y="18"/>
                  </a:cubicBezTo>
                  <a:cubicBezTo>
                    <a:pt x="33" y="25"/>
                    <a:pt x="25" y="33"/>
                    <a:pt x="18" y="43"/>
                  </a:cubicBezTo>
                  <a:cubicBezTo>
                    <a:pt x="17" y="45"/>
                    <a:pt x="17" y="47"/>
                    <a:pt x="18" y="48"/>
                  </a:cubicBezTo>
                  <a:cubicBezTo>
                    <a:pt x="19" y="49"/>
                    <a:pt x="21" y="51"/>
                    <a:pt x="22" y="53"/>
                  </a:cubicBezTo>
                  <a:cubicBezTo>
                    <a:pt x="23" y="54"/>
                    <a:pt x="23" y="56"/>
                    <a:pt x="22" y="57"/>
                  </a:cubicBezTo>
                  <a:cubicBezTo>
                    <a:pt x="19" y="63"/>
                    <a:pt x="16" y="69"/>
                    <a:pt x="15" y="75"/>
                  </a:cubicBezTo>
                  <a:cubicBezTo>
                    <a:pt x="14" y="76"/>
                    <a:pt x="13" y="78"/>
                    <a:pt x="11" y="78"/>
                  </a:cubicBezTo>
                  <a:cubicBezTo>
                    <a:pt x="10" y="78"/>
                    <a:pt x="8" y="78"/>
                    <a:pt x="5" y="79"/>
                  </a:cubicBezTo>
                  <a:cubicBezTo>
                    <a:pt x="4" y="79"/>
                    <a:pt x="2" y="80"/>
                    <a:pt x="2" y="82"/>
                  </a:cubicBezTo>
                  <a:cubicBezTo>
                    <a:pt x="1" y="88"/>
                    <a:pt x="0" y="94"/>
                    <a:pt x="0" y="100"/>
                  </a:cubicBezTo>
                  <a:cubicBezTo>
                    <a:pt x="0" y="106"/>
                    <a:pt x="1" y="112"/>
                    <a:pt x="2" y="118"/>
                  </a:cubicBezTo>
                  <a:cubicBezTo>
                    <a:pt x="2" y="120"/>
                    <a:pt x="4" y="121"/>
                    <a:pt x="5" y="121"/>
                  </a:cubicBezTo>
                  <a:cubicBezTo>
                    <a:pt x="8" y="122"/>
                    <a:pt x="10" y="122"/>
                    <a:pt x="11" y="122"/>
                  </a:cubicBezTo>
                  <a:cubicBezTo>
                    <a:pt x="13" y="122"/>
                    <a:pt x="14" y="124"/>
                    <a:pt x="15" y="125"/>
                  </a:cubicBezTo>
                  <a:cubicBezTo>
                    <a:pt x="17" y="131"/>
                    <a:pt x="19" y="137"/>
                    <a:pt x="22" y="143"/>
                  </a:cubicBezTo>
                  <a:cubicBezTo>
                    <a:pt x="23" y="144"/>
                    <a:pt x="23" y="146"/>
                    <a:pt x="22" y="147"/>
                  </a:cubicBezTo>
                  <a:cubicBezTo>
                    <a:pt x="21" y="149"/>
                    <a:pt x="19" y="150"/>
                    <a:pt x="18" y="152"/>
                  </a:cubicBezTo>
                  <a:cubicBezTo>
                    <a:pt x="17" y="153"/>
                    <a:pt x="17" y="155"/>
                    <a:pt x="18" y="157"/>
                  </a:cubicBezTo>
                  <a:cubicBezTo>
                    <a:pt x="25" y="167"/>
                    <a:pt x="33" y="175"/>
                    <a:pt x="43" y="182"/>
                  </a:cubicBezTo>
                  <a:cubicBezTo>
                    <a:pt x="45" y="183"/>
                    <a:pt x="47" y="183"/>
                    <a:pt x="48" y="182"/>
                  </a:cubicBezTo>
                  <a:cubicBezTo>
                    <a:pt x="50" y="180"/>
                    <a:pt x="52" y="179"/>
                    <a:pt x="53" y="178"/>
                  </a:cubicBezTo>
                  <a:cubicBezTo>
                    <a:pt x="54" y="177"/>
                    <a:pt x="56" y="177"/>
                    <a:pt x="57" y="178"/>
                  </a:cubicBezTo>
                  <a:cubicBezTo>
                    <a:pt x="63" y="181"/>
                    <a:pt x="69" y="184"/>
                    <a:pt x="75" y="186"/>
                  </a:cubicBezTo>
                  <a:cubicBezTo>
                    <a:pt x="76" y="186"/>
                    <a:pt x="78" y="187"/>
                    <a:pt x="78" y="189"/>
                  </a:cubicBezTo>
                  <a:cubicBezTo>
                    <a:pt x="78" y="190"/>
                    <a:pt x="78" y="192"/>
                    <a:pt x="79" y="195"/>
                  </a:cubicBezTo>
                  <a:cubicBezTo>
                    <a:pt x="79" y="197"/>
                    <a:pt x="80" y="198"/>
                    <a:pt x="82" y="198"/>
                  </a:cubicBezTo>
                  <a:cubicBezTo>
                    <a:pt x="86" y="199"/>
                    <a:pt x="91" y="200"/>
                    <a:pt x="95" y="200"/>
                  </a:cubicBezTo>
                  <a:cubicBezTo>
                    <a:pt x="95" y="200"/>
                    <a:pt x="95" y="200"/>
                    <a:pt x="95" y="200"/>
                  </a:cubicBezTo>
                  <a:cubicBezTo>
                    <a:pt x="105" y="200"/>
                    <a:pt x="105" y="200"/>
                    <a:pt x="105" y="200"/>
                  </a:cubicBezTo>
                  <a:cubicBezTo>
                    <a:pt x="105" y="200"/>
                    <a:pt x="105" y="200"/>
                    <a:pt x="105" y="200"/>
                  </a:cubicBezTo>
                  <a:cubicBezTo>
                    <a:pt x="109" y="200"/>
                    <a:pt x="114" y="199"/>
                    <a:pt x="118" y="198"/>
                  </a:cubicBezTo>
                  <a:cubicBezTo>
                    <a:pt x="120" y="198"/>
                    <a:pt x="121" y="197"/>
                    <a:pt x="121" y="195"/>
                  </a:cubicBezTo>
                  <a:cubicBezTo>
                    <a:pt x="122" y="192"/>
                    <a:pt x="122" y="190"/>
                    <a:pt x="122" y="189"/>
                  </a:cubicBezTo>
                  <a:cubicBezTo>
                    <a:pt x="122" y="187"/>
                    <a:pt x="124" y="186"/>
                    <a:pt x="125" y="186"/>
                  </a:cubicBezTo>
                  <a:cubicBezTo>
                    <a:pt x="131" y="184"/>
                    <a:pt x="137" y="181"/>
                    <a:pt x="143" y="178"/>
                  </a:cubicBezTo>
                  <a:cubicBezTo>
                    <a:pt x="144" y="177"/>
                    <a:pt x="146" y="177"/>
                    <a:pt x="147" y="178"/>
                  </a:cubicBezTo>
                  <a:cubicBezTo>
                    <a:pt x="148" y="179"/>
                    <a:pt x="150" y="180"/>
                    <a:pt x="152" y="182"/>
                  </a:cubicBezTo>
                  <a:cubicBezTo>
                    <a:pt x="153" y="183"/>
                    <a:pt x="155" y="183"/>
                    <a:pt x="157" y="182"/>
                  </a:cubicBezTo>
                  <a:cubicBezTo>
                    <a:pt x="167" y="175"/>
                    <a:pt x="175" y="167"/>
                    <a:pt x="182" y="157"/>
                  </a:cubicBezTo>
                  <a:cubicBezTo>
                    <a:pt x="183" y="155"/>
                    <a:pt x="183" y="153"/>
                    <a:pt x="182" y="152"/>
                  </a:cubicBezTo>
                  <a:cubicBezTo>
                    <a:pt x="181" y="150"/>
                    <a:pt x="180" y="149"/>
                    <a:pt x="178" y="147"/>
                  </a:cubicBezTo>
                  <a:cubicBezTo>
                    <a:pt x="177" y="146"/>
                    <a:pt x="177" y="144"/>
                    <a:pt x="178" y="143"/>
                  </a:cubicBezTo>
                  <a:cubicBezTo>
                    <a:pt x="181" y="137"/>
                    <a:pt x="184" y="131"/>
                    <a:pt x="185" y="125"/>
                  </a:cubicBezTo>
                  <a:cubicBezTo>
                    <a:pt x="186" y="124"/>
                    <a:pt x="187" y="122"/>
                    <a:pt x="189" y="122"/>
                  </a:cubicBezTo>
                  <a:cubicBezTo>
                    <a:pt x="190" y="122"/>
                    <a:pt x="192" y="122"/>
                    <a:pt x="195" y="121"/>
                  </a:cubicBezTo>
                  <a:cubicBezTo>
                    <a:pt x="197" y="121"/>
                    <a:pt x="198" y="120"/>
                    <a:pt x="198" y="118"/>
                  </a:cubicBezTo>
                  <a:cubicBezTo>
                    <a:pt x="199" y="112"/>
                    <a:pt x="200" y="106"/>
                    <a:pt x="200" y="100"/>
                  </a:cubicBezTo>
                  <a:cubicBezTo>
                    <a:pt x="200" y="94"/>
                    <a:pt x="199" y="88"/>
                    <a:pt x="198" y="82"/>
                  </a:cubicBezTo>
                  <a:close/>
                  <a:moveTo>
                    <a:pt x="191" y="103"/>
                  </a:moveTo>
                  <a:cubicBezTo>
                    <a:pt x="191" y="105"/>
                    <a:pt x="190" y="106"/>
                    <a:pt x="188" y="107"/>
                  </a:cubicBezTo>
                  <a:cubicBezTo>
                    <a:pt x="185" y="107"/>
                    <a:pt x="183" y="107"/>
                    <a:pt x="182" y="108"/>
                  </a:cubicBezTo>
                  <a:cubicBezTo>
                    <a:pt x="180" y="108"/>
                    <a:pt x="179" y="110"/>
                    <a:pt x="179" y="111"/>
                  </a:cubicBezTo>
                  <a:cubicBezTo>
                    <a:pt x="177" y="125"/>
                    <a:pt x="172" y="137"/>
                    <a:pt x="164" y="148"/>
                  </a:cubicBezTo>
                  <a:cubicBezTo>
                    <a:pt x="163" y="149"/>
                    <a:pt x="163" y="151"/>
                    <a:pt x="164" y="152"/>
                  </a:cubicBezTo>
                  <a:cubicBezTo>
                    <a:pt x="164" y="154"/>
                    <a:pt x="165" y="155"/>
                    <a:pt x="167" y="157"/>
                  </a:cubicBezTo>
                  <a:cubicBezTo>
                    <a:pt x="168" y="158"/>
                    <a:pt x="168" y="161"/>
                    <a:pt x="166" y="162"/>
                  </a:cubicBezTo>
                  <a:cubicBezTo>
                    <a:pt x="165" y="164"/>
                    <a:pt x="164" y="165"/>
                    <a:pt x="162" y="166"/>
                  </a:cubicBezTo>
                  <a:cubicBezTo>
                    <a:pt x="161" y="168"/>
                    <a:pt x="158" y="168"/>
                    <a:pt x="157" y="167"/>
                  </a:cubicBezTo>
                  <a:cubicBezTo>
                    <a:pt x="155" y="165"/>
                    <a:pt x="153" y="164"/>
                    <a:pt x="152" y="164"/>
                  </a:cubicBezTo>
                  <a:cubicBezTo>
                    <a:pt x="151" y="163"/>
                    <a:pt x="149" y="163"/>
                    <a:pt x="147" y="164"/>
                  </a:cubicBezTo>
                  <a:cubicBezTo>
                    <a:pt x="137" y="172"/>
                    <a:pt x="125" y="177"/>
                    <a:pt x="112" y="179"/>
                  </a:cubicBezTo>
                  <a:cubicBezTo>
                    <a:pt x="110" y="179"/>
                    <a:pt x="109" y="180"/>
                    <a:pt x="108" y="182"/>
                  </a:cubicBezTo>
                  <a:cubicBezTo>
                    <a:pt x="108" y="184"/>
                    <a:pt x="107" y="185"/>
                    <a:pt x="107" y="188"/>
                  </a:cubicBezTo>
                  <a:cubicBezTo>
                    <a:pt x="107" y="189"/>
                    <a:pt x="106" y="190"/>
                    <a:pt x="105" y="190"/>
                  </a:cubicBezTo>
                  <a:cubicBezTo>
                    <a:pt x="103" y="191"/>
                    <a:pt x="97" y="191"/>
                    <a:pt x="95" y="190"/>
                  </a:cubicBezTo>
                  <a:cubicBezTo>
                    <a:pt x="94" y="190"/>
                    <a:pt x="93" y="189"/>
                    <a:pt x="93" y="188"/>
                  </a:cubicBezTo>
                  <a:cubicBezTo>
                    <a:pt x="93" y="185"/>
                    <a:pt x="92" y="184"/>
                    <a:pt x="92" y="182"/>
                  </a:cubicBezTo>
                  <a:cubicBezTo>
                    <a:pt x="91" y="180"/>
                    <a:pt x="90" y="179"/>
                    <a:pt x="88" y="179"/>
                  </a:cubicBezTo>
                  <a:cubicBezTo>
                    <a:pt x="75" y="177"/>
                    <a:pt x="63" y="172"/>
                    <a:pt x="53" y="164"/>
                  </a:cubicBezTo>
                  <a:cubicBezTo>
                    <a:pt x="51" y="163"/>
                    <a:pt x="49" y="163"/>
                    <a:pt x="48" y="164"/>
                  </a:cubicBezTo>
                  <a:cubicBezTo>
                    <a:pt x="47" y="164"/>
                    <a:pt x="45" y="165"/>
                    <a:pt x="43" y="167"/>
                  </a:cubicBezTo>
                  <a:cubicBezTo>
                    <a:pt x="42" y="168"/>
                    <a:pt x="39" y="168"/>
                    <a:pt x="38" y="166"/>
                  </a:cubicBezTo>
                  <a:cubicBezTo>
                    <a:pt x="36" y="165"/>
                    <a:pt x="35" y="164"/>
                    <a:pt x="34" y="162"/>
                  </a:cubicBezTo>
                  <a:cubicBezTo>
                    <a:pt x="32" y="161"/>
                    <a:pt x="32" y="158"/>
                    <a:pt x="33" y="157"/>
                  </a:cubicBezTo>
                  <a:cubicBezTo>
                    <a:pt x="35" y="155"/>
                    <a:pt x="36" y="154"/>
                    <a:pt x="37" y="152"/>
                  </a:cubicBezTo>
                  <a:cubicBezTo>
                    <a:pt x="37" y="151"/>
                    <a:pt x="37" y="149"/>
                    <a:pt x="36" y="148"/>
                  </a:cubicBezTo>
                  <a:cubicBezTo>
                    <a:pt x="29" y="137"/>
                    <a:pt x="23" y="125"/>
                    <a:pt x="21" y="111"/>
                  </a:cubicBezTo>
                  <a:cubicBezTo>
                    <a:pt x="21" y="110"/>
                    <a:pt x="20" y="108"/>
                    <a:pt x="18" y="108"/>
                  </a:cubicBezTo>
                  <a:cubicBezTo>
                    <a:pt x="17" y="107"/>
                    <a:pt x="15" y="107"/>
                    <a:pt x="12" y="107"/>
                  </a:cubicBezTo>
                  <a:cubicBezTo>
                    <a:pt x="10" y="106"/>
                    <a:pt x="9" y="105"/>
                    <a:pt x="9" y="103"/>
                  </a:cubicBezTo>
                  <a:cubicBezTo>
                    <a:pt x="9" y="101"/>
                    <a:pt x="9" y="99"/>
                    <a:pt x="9" y="97"/>
                  </a:cubicBezTo>
                  <a:cubicBezTo>
                    <a:pt x="9" y="95"/>
                    <a:pt x="11" y="93"/>
                    <a:pt x="13" y="93"/>
                  </a:cubicBezTo>
                  <a:cubicBezTo>
                    <a:pt x="15" y="93"/>
                    <a:pt x="16" y="92"/>
                    <a:pt x="18" y="92"/>
                  </a:cubicBezTo>
                  <a:cubicBezTo>
                    <a:pt x="20" y="91"/>
                    <a:pt x="21" y="90"/>
                    <a:pt x="21" y="88"/>
                  </a:cubicBezTo>
                  <a:cubicBezTo>
                    <a:pt x="23" y="75"/>
                    <a:pt x="29" y="63"/>
                    <a:pt x="36" y="52"/>
                  </a:cubicBezTo>
                  <a:cubicBezTo>
                    <a:pt x="37" y="51"/>
                    <a:pt x="37" y="49"/>
                    <a:pt x="37" y="47"/>
                  </a:cubicBezTo>
                  <a:cubicBezTo>
                    <a:pt x="36" y="46"/>
                    <a:pt x="35" y="44"/>
                    <a:pt x="33" y="43"/>
                  </a:cubicBezTo>
                  <a:cubicBezTo>
                    <a:pt x="32" y="41"/>
                    <a:pt x="32" y="39"/>
                    <a:pt x="34" y="38"/>
                  </a:cubicBezTo>
                  <a:cubicBezTo>
                    <a:pt x="35" y="36"/>
                    <a:pt x="36" y="35"/>
                    <a:pt x="38" y="34"/>
                  </a:cubicBezTo>
                  <a:cubicBezTo>
                    <a:pt x="39" y="32"/>
                    <a:pt x="42" y="32"/>
                    <a:pt x="43" y="33"/>
                  </a:cubicBezTo>
                  <a:cubicBezTo>
                    <a:pt x="45" y="35"/>
                    <a:pt x="47" y="36"/>
                    <a:pt x="48" y="36"/>
                  </a:cubicBezTo>
                  <a:cubicBezTo>
                    <a:pt x="49" y="37"/>
                    <a:pt x="51" y="37"/>
                    <a:pt x="53" y="36"/>
                  </a:cubicBezTo>
                  <a:cubicBezTo>
                    <a:pt x="63" y="28"/>
                    <a:pt x="75" y="23"/>
                    <a:pt x="88" y="21"/>
                  </a:cubicBezTo>
                  <a:cubicBezTo>
                    <a:pt x="90" y="21"/>
                    <a:pt x="91" y="20"/>
                    <a:pt x="92" y="18"/>
                  </a:cubicBezTo>
                  <a:cubicBezTo>
                    <a:pt x="92" y="16"/>
                    <a:pt x="93" y="14"/>
                    <a:pt x="93" y="12"/>
                  </a:cubicBezTo>
                  <a:cubicBezTo>
                    <a:pt x="93" y="11"/>
                    <a:pt x="94" y="10"/>
                    <a:pt x="95" y="9"/>
                  </a:cubicBezTo>
                  <a:cubicBezTo>
                    <a:pt x="97" y="9"/>
                    <a:pt x="103" y="9"/>
                    <a:pt x="105" y="9"/>
                  </a:cubicBezTo>
                  <a:cubicBezTo>
                    <a:pt x="106" y="10"/>
                    <a:pt x="107" y="11"/>
                    <a:pt x="107" y="12"/>
                  </a:cubicBezTo>
                  <a:cubicBezTo>
                    <a:pt x="107" y="14"/>
                    <a:pt x="108" y="16"/>
                    <a:pt x="108" y="18"/>
                  </a:cubicBezTo>
                  <a:cubicBezTo>
                    <a:pt x="109" y="20"/>
                    <a:pt x="110" y="21"/>
                    <a:pt x="112" y="21"/>
                  </a:cubicBezTo>
                  <a:cubicBezTo>
                    <a:pt x="125" y="23"/>
                    <a:pt x="137" y="28"/>
                    <a:pt x="148" y="36"/>
                  </a:cubicBezTo>
                  <a:cubicBezTo>
                    <a:pt x="149" y="37"/>
                    <a:pt x="151" y="37"/>
                    <a:pt x="152" y="36"/>
                  </a:cubicBezTo>
                  <a:cubicBezTo>
                    <a:pt x="154" y="36"/>
                    <a:pt x="155" y="35"/>
                    <a:pt x="157" y="33"/>
                  </a:cubicBezTo>
                  <a:cubicBezTo>
                    <a:pt x="159" y="32"/>
                    <a:pt x="161" y="32"/>
                    <a:pt x="162" y="34"/>
                  </a:cubicBezTo>
                  <a:cubicBezTo>
                    <a:pt x="164" y="35"/>
                    <a:pt x="165" y="36"/>
                    <a:pt x="166" y="38"/>
                  </a:cubicBezTo>
                  <a:cubicBezTo>
                    <a:pt x="168" y="39"/>
                    <a:pt x="168" y="41"/>
                    <a:pt x="167" y="43"/>
                  </a:cubicBezTo>
                  <a:cubicBezTo>
                    <a:pt x="165" y="44"/>
                    <a:pt x="164" y="46"/>
                    <a:pt x="164" y="47"/>
                  </a:cubicBezTo>
                  <a:cubicBezTo>
                    <a:pt x="163" y="49"/>
                    <a:pt x="163" y="51"/>
                    <a:pt x="164" y="52"/>
                  </a:cubicBezTo>
                  <a:cubicBezTo>
                    <a:pt x="172" y="63"/>
                    <a:pt x="177" y="75"/>
                    <a:pt x="179" y="88"/>
                  </a:cubicBezTo>
                  <a:cubicBezTo>
                    <a:pt x="179" y="90"/>
                    <a:pt x="180" y="91"/>
                    <a:pt x="182" y="92"/>
                  </a:cubicBezTo>
                  <a:cubicBezTo>
                    <a:pt x="184" y="92"/>
                    <a:pt x="185" y="93"/>
                    <a:pt x="187" y="93"/>
                  </a:cubicBezTo>
                  <a:cubicBezTo>
                    <a:pt x="190" y="93"/>
                    <a:pt x="191" y="95"/>
                    <a:pt x="191" y="97"/>
                  </a:cubicBezTo>
                  <a:cubicBezTo>
                    <a:pt x="191" y="99"/>
                    <a:pt x="191" y="101"/>
                    <a:pt x="191" y="103"/>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4" name="Freeform 83">
              <a:extLst>
                <a:ext uri="{FF2B5EF4-FFF2-40B4-BE49-F238E27FC236}">
                  <a16:creationId xmlns:a16="http://schemas.microsoft.com/office/drawing/2014/main" id="{61F6B38B-9D92-47D3-9FF0-B1863F689CD7}"/>
                </a:ext>
              </a:extLst>
            </p:cNvPr>
            <p:cNvSpPr>
              <a:spLocks noEditPoints="1"/>
            </p:cNvSpPr>
            <p:nvPr/>
          </p:nvSpPr>
          <p:spPr bwMode="auto">
            <a:xfrm>
              <a:off x="951872" y="5254671"/>
              <a:ext cx="378969" cy="378969"/>
            </a:xfrm>
            <a:custGeom>
              <a:avLst/>
              <a:gdLst>
                <a:gd name="T0" fmla="*/ 99 w 116"/>
                <a:gd name="T1" fmla="*/ 17 h 116"/>
                <a:gd name="T2" fmla="*/ 58 w 116"/>
                <a:gd name="T3" fmla="*/ 0 h 116"/>
                <a:gd name="T4" fmla="*/ 58 w 116"/>
                <a:gd name="T5" fmla="*/ 0 h 116"/>
                <a:gd name="T6" fmla="*/ 17 w 116"/>
                <a:gd name="T7" fmla="*/ 17 h 116"/>
                <a:gd name="T8" fmla="*/ 0 w 116"/>
                <a:gd name="T9" fmla="*/ 58 h 116"/>
                <a:gd name="T10" fmla="*/ 58 w 116"/>
                <a:gd name="T11" fmla="*/ 116 h 116"/>
                <a:gd name="T12" fmla="*/ 58 w 116"/>
                <a:gd name="T13" fmla="*/ 116 h 116"/>
                <a:gd name="T14" fmla="*/ 99 w 116"/>
                <a:gd name="T15" fmla="*/ 99 h 116"/>
                <a:gd name="T16" fmla="*/ 116 w 116"/>
                <a:gd name="T17" fmla="*/ 58 h 116"/>
                <a:gd name="T18" fmla="*/ 99 w 116"/>
                <a:gd name="T19" fmla="*/ 17 h 116"/>
                <a:gd name="T20" fmla="*/ 91 w 116"/>
                <a:gd name="T21" fmla="*/ 91 h 116"/>
                <a:gd name="T22" fmla="*/ 74 w 116"/>
                <a:gd name="T23" fmla="*/ 102 h 116"/>
                <a:gd name="T24" fmla="*/ 65 w 116"/>
                <a:gd name="T25" fmla="*/ 92 h 116"/>
                <a:gd name="T26" fmla="*/ 59 w 116"/>
                <a:gd name="T27" fmla="*/ 89 h 116"/>
                <a:gd name="T28" fmla="*/ 56 w 116"/>
                <a:gd name="T29" fmla="*/ 90 h 116"/>
                <a:gd name="T30" fmla="*/ 27 w 116"/>
                <a:gd name="T31" fmla="*/ 75 h 116"/>
                <a:gd name="T32" fmla="*/ 22 w 116"/>
                <a:gd name="T33" fmla="*/ 56 h 116"/>
                <a:gd name="T34" fmla="*/ 25 w 116"/>
                <a:gd name="T35" fmla="*/ 54 h 116"/>
                <a:gd name="T36" fmla="*/ 42 w 116"/>
                <a:gd name="T37" fmla="*/ 65 h 116"/>
                <a:gd name="T38" fmla="*/ 54 w 116"/>
                <a:gd name="T39" fmla="*/ 63 h 116"/>
                <a:gd name="T40" fmla="*/ 63 w 116"/>
                <a:gd name="T41" fmla="*/ 47 h 116"/>
                <a:gd name="T42" fmla="*/ 61 w 116"/>
                <a:gd name="T43" fmla="*/ 36 h 116"/>
                <a:gd name="T44" fmla="*/ 46 w 116"/>
                <a:gd name="T45" fmla="*/ 27 h 116"/>
                <a:gd name="T46" fmla="*/ 47 w 116"/>
                <a:gd name="T47" fmla="*/ 23 h 116"/>
                <a:gd name="T48" fmla="*/ 54 w 116"/>
                <a:gd name="T49" fmla="*/ 22 h 116"/>
                <a:gd name="T50" fmla="*/ 90 w 116"/>
                <a:gd name="T51" fmla="*/ 56 h 116"/>
                <a:gd name="T52" fmla="*/ 90 w 116"/>
                <a:gd name="T53" fmla="*/ 57 h 116"/>
                <a:gd name="T54" fmla="*/ 92 w 116"/>
                <a:gd name="T55" fmla="*/ 62 h 116"/>
                <a:gd name="T56" fmla="*/ 103 w 116"/>
                <a:gd name="T57" fmla="*/ 72 h 116"/>
                <a:gd name="T58" fmla="*/ 91 w 116"/>
                <a:gd name="T59" fmla="*/ 9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16">
                  <a:moveTo>
                    <a:pt x="99" y="17"/>
                  </a:moveTo>
                  <a:cubicBezTo>
                    <a:pt x="88" y="6"/>
                    <a:pt x="73" y="0"/>
                    <a:pt x="58" y="0"/>
                  </a:cubicBezTo>
                  <a:cubicBezTo>
                    <a:pt x="58" y="0"/>
                    <a:pt x="58" y="0"/>
                    <a:pt x="58" y="0"/>
                  </a:cubicBezTo>
                  <a:cubicBezTo>
                    <a:pt x="43" y="0"/>
                    <a:pt x="28" y="6"/>
                    <a:pt x="17" y="17"/>
                  </a:cubicBezTo>
                  <a:cubicBezTo>
                    <a:pt x="6" y="28"/>
                    <a:pt x="0" y="42"/>
                    <a:pt x="0" y="58"/>
                  </a:cubicBezTo>
                  <a:cubicBezTo>
                    <a:pt x="0" y="90"/>
                    <a:pt x="26" y="116"/>
                    <a:pt x="58" y="116"/>
                  </a:cubicBezTo>
                  <a:cubicBezTo>
                    <a:pt x="58" y="116"/>
                    <a:pt x="58" y="116"/>
                    <a:pt x="58" y="116"/>
                  </a:cubicBezTo>
                  <a:cubicBezTo>
                    <a:pt x="74" y="116"/>
                    <a:pt x="88" y="110"/>
                    <a:pt x="99" y="99"/>
                  </a:cubicBezTo>
                  <a:cubicBezTo>
                    <a:pt x="110" y="88"/>
                    <a:pt x="116" y="73"/>
                    <a:pt x="116" y="58"/>
                  </a:cubicBezTo>
                  <a:cubicBezTo>
                    <a:pt x="116" y="42"/>
                    <a:pt x="110" y="28"/>
                    <a:pt x="99" y="17"/>
                  </a:cubicBezTo>
                  <a:close/>
                  <a:moveTo>
                    <a:pt x="91" y="91"/>
                  </a:moveTo>
                  <a:cubicBezTo>
                    <a:pt x="86" y="96"/>
                    <a:pt x="81" y="100"/>
                    <a:pt x="74" y="102"/>
                  </a:cubicBezTo>
                  <a:cubicBezTo>
                    <a:pt x="65" y="92"/>
                    <a:pt x="65" y="92"/>
                    <a:pt x="65" y="92"/>
                  </a:cubicBezTo>
                  <a:cubicBezTo>
                    <a:pt x="64" y="90"/>
                    <a:pt x="61" y="89"/>
                    <a:pt x="59" y="89"/>
                  </a:cubicBezTo>
                  <a:cubicBezTo>
                    <a:pt x="58" y="90"/>
                    <a:pt x="57" y="90"/>
                    <a:pt x="56" y="90"/>
                  </a:cubicBezTo>
                  <a:cubicBezTo>
                    <a:pt x="44" y="90"/>
                    <a:pt x="33" y="84"/>
                    <a:pt x="27" y="75"/>
                  </a:cubicBezTo>
                  <a:cubicBezTo>
                    <a:pt x="24" y="70"/>
                    <a:pt x="22" y="62"/>
                    <a:pt x="22" y="56"/>
                  </a:cubicBezTo>
                  <a:cubicBezTo>
                    <a:pt x="22" y="54"/>
                    <a:pt x="24" y="53"/>
                    <a:pt x="25" y="54"/>
                  </a:cubicBezTo>
                  <a:cubicBezTo>
                    <a:pt x="42" y="65"/>
                    <a:pt x="42" y="65"/>
                    <a:pt x="42" y="65"/>
                  </a:cubicBezTo>
                  <a:cubicBezTo>
                    <a:pt x="46" y="67"/>
                    <a:pt x="51" y="66"/>
                    <a:pt x="54" y="63"/>
                  </a:cubicBezTo>
                  <a:cubicBezTo>
                    <a:pt x="63" y="47"/>
                    <a:pt x="63" y="47"/>
                    <a:pt x="63" y="47"/>
                  </a:cubicBezTo>
                  <a:cubicBezTo>
                    <a:pt x="66" y="44"/>
                    <a:pt x="65" y="38"/>
                    <a:pt x="61" y="36"/>
                  </a:cubicBezTo>
                  <a:cubicBezTo>
                    <a:pt x="46" y="27"/>
                    <a:pt x="46" y="27"/>
                    <a:pt x="46" y="27"/>
                  </a:cubicBezTo>
                  <a:cubicBezTo>
                    <a:pt x="45" y="26"/>
                    <a:pt x="45" y="23"/>
                    <a:pt x="47" y="23"/>
                  </a:cubicBezTo>
                  <a:cubicBezTo>
                    <a:pt x="49" y="22"/>
                    <a:pt x="52" y="22"/>
                    <a:pt x="54" y="22"/>
                  </a:cubicBezTo>
                  <a:cubicBezTo>
                    <a:pt x="74" y="21"/>
                    <a:pt x="90" y="36"/>
                    <a:pt x="90" y="56"/>
                  </a:cubicBezTo>
                  <a:cubicBezTo>
                    <a:pt x="90" y="56"/>
                    <a:pt x="90" y="56"/>
                    <a:pt x="90" y="57"/>
                  </a:cubicBezTo>
                  <a:cubicBezTo>
                    <a:pt x="90" y="59"/>
                    <a:pt x="90" y="61"/>
                    <a:pt x="92" y="62"/>
                  </a:cubicBezTo>
                  <a:cubicBezTo>
                    <a:pt x="103" y="72"/>
                    <a:pt x="103" y="72"/>
                    <a:pt x="103" y="72"/>
                  </a:cubicBezTo>
                  <a:cubicBezTo>
                    <a:pt x="101" y="79"/>
                    <a:pt x="97" y="86"/>
                    <a:pt x="91" y="9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105" name="Freeform 611">
            <a:extLst>
              <a:ext uri="{FF2B5EF4-FFF2-40B4-BE49-F238E27FC236}">
                <a16:creationId xmlns:a16="http://schemas.microsoft.com/office/drawing/2014/main" id="{694EAAF3-067D-4F6B-8D9E-44C7FF21D080}"/>
              </a:ext>
            </a:extLst>
          </p:cNvPr>
          <p:cNvSpPr>
            <a:spLocks noEditPoints="1"/>
          </p:cNvSpPr>
          <p:nvPr/>
        </p:nvSpPr>
        <p:spPr bwMode="auto">
          <a:xfrm>
            <a:off x="3502075" y="5862360"/>
            <a:ext cx="364382" cy="364380"/>
          </a:xfrm>
          <a:custGeom>
            <a:avLst/>
            <a:gdLst>
              <a:gd name="T0" fmla="*/ 2802 w 4096"/>
              <a:gd name="T1" fmla="*/ 3022 h 4096"/>
              <a:gd name="T2" fmla="*/ 2772 w 4096"/>
              <a:gd name="T3" fmla="*/ 3544 h 4096"/>
              <a:gd name="T4" fmla="*/ 2716 w 4096"/>
              <a:gd name="T5" fmla="*/ 4042 h 4096"/>
              <a:gd name="T6" fmla="*/ 1044 w 4096"/>
              <a:gd name="T7" fmla="*/ 3934 h 4096"/>
              <a:gd name="T8" fmla="*/ 150 w 4096"/>
              <a:gd name="T9" fmla="*/ 4096 h 4096"/>
              <a:gd name="T10" fmla="*/ 12 w 4096"/>
              <a:gd name="T11" fmla="*/ 2420 h 4096"/>
              <a:gd name="T12" fmla="*/ 784 w 4096"/>
              <a:gd name="T13" fmla="*/ 2384 h 4096"/>
              <a:gd name="T14" fmla="*/ 1166 w 4096"/>
              <a:gd name="T15" fmla="*/ 2114 h 4096"/>
              <a:gd name="T16" fmla="*/ 1444 w 4096"/>
              <a:gd name="T17" fmla="*/ 1466 h 4096"/>
              <a:gd name="T18" fmla="*/ 1748 w 4096"/>
              <a:gd name="T19" fmla="*/ 2524 h 4096"/>
              <a:gd name="T20" fmla="*/ 1582 w 4096"/>
              <a:gd name="T21" fmla="*/ 1652 h 4096"/>
              <a:gd name="T22" fmla="*/ 1308 w 4096"/>
              <a:gd name="T23" fmla="*/ 2054 h 4096"/>
              <a:gd name="T24" fmla="*/ 820 w 4096"/>
              <a:gd name="T25" fmla="*/ 2630 h 4096"/>
              <a:gd name="T26" fmla="*/ 684 w 4096"/>
              <a:gd name="T27" fmla="*/ 2464 h 4096"/>
              <a:gd name="T28" fmla="*/ 384 w 4096"/>
              <a:gd name="T29" fmla="*/ 3024 h 4096"/>
              <a:gd name="T30" fmla="*/ 700 w 4096"/>
              <a:gd name="T31" fmla="*/ 3046 h 4096"/>
              <a:gd name="T32" fmla="*/ 1176 w 4096"/>
              <a:gd name="T33" fmla="*/ 3854 h 4096"/>
              <a:gd name="T34" fmla="*/ 2674 w 4096"/>
              <a:gd name="T35" fmla="*/ 3772 h 4096"/>
              <a:gd name="T36" fmla="*/ 1916 w 4096"/>
              <a:gd name="T37" fmla="*/ 3554 h 4096"/>
              <a:gd name="T38" fmla="*/ 2588 w 4096"/>
              <a:gd name="T39" fmla="*/ 3236 h 4096"/>
              <a:gd name="T40" fmla="*/ 2588 w 4096"/>
              <a:gd name="T41" fmla="*/ 3102 h 4096"/>
              <a:gd name="T42" fmla="*/ 1916 w 4096"/>
              <a:gd name="T43" fmla="*/ 2784 h 4096"/>
              <a:gd name="T44" fmla="*/ 2674 w 4096"/>
              <a:gd name="T45" fmla="*/ 2566 h 4096"/>
              <a:gd name="T46" fmla="*/ 1902 w 4096"/>
              <a:gd name="T47" fmla="*/ 2282 h 4096"/>
              <a:gd name="T48" fmla="*/ 2802 w 4096"/>
              <a:gd name="T49" fmla="*/ 2454 h 4096"/>
              <a:gd name="T50" fmla="*/ 2332 w 4096"/>
              <a:gd name="T51" fmla="*/ 1414 h 4096"/>
              <a:gd name="T52" fmla="*/ 2636 w 4096"/>
              <a:gd name="T53" fmla="*/ 1916 h 4096"/>
              <a:gd name="T54" fmla="*/ 2094 w 4096"/>
              <a:gd name="T55" fmla="*/ 1958 h 4096"/>
              <a:gd name="T56" fmla="*/ 2340 w 4096"/>
              <a:gd name="T57" fmla="*/ 1948 h 4096"/>
              <a:gd name="T58" fmla="*/ 2532 w 4096"/>
              <a:gd name="T59" fmla="*/ 1656 h 4096"/>
              <a:gd name="T60" fmla="*/ 2186 w 4096"/>
              <a:gd name="T61" fmla="*/ 1626 h 4096"/>
              <a:gd name="T62" fmla="*/ 2764 w 4096"/>
              <a:gd name="T63" fmla="*/ 976 h 4096"/>
              <a:gd name="T64" fmla="*/ 1806 w 4096"/>
              <a:gd name="T65" fmla="*/ 1060 h 4096"/>
              <a:gd name="T66" fmla="*/ 1684 w 4096"/>
              <a:gd name="T67" fmla="*/ 1404 h 4096"/>
              <a:gd name="T68" fmla="*/ 2348 w 4096"/>
              <a:gd name="T69" fmla="*/ 1000 h 4096"/>
              <a:gd name="T70" fmla="*/ 2890 w 4096"/>
              <a:gd name="T71" fmla="*/ 1138 h 4096"/>
              <a:gd name="T72" fmla="*/ 3682 w 4096"/>
              <a:gd name="T73" fmla="*/ 614 h 4096"/>
              <a:gd name="T74" fmla="*/ 2894 w 4096"/>
              <a:gd name="T75" fmla="*/ 580 h 4096"/>
              <a:gd name="T76" fmla="*/ 2246 w 4096"/>
              <a:gd name="T77" fmla="*/ 0 h 4096"/>
              <a:gd name="T78" fmla="*/ 1464 w 4096"/>
              <a:gd name="T79" fmla="*/ 410 h 4096"/>
              <a:gd name="T80" fmla="*/ 998 w 4096"/>
              <a:gd name="T81" fmla="*/ 646 h 4096"/>
              <a:gd name="T82" fmla="*/ 724 w 4096"/>
              <a:gd name="T83" fmla="*/ 1448 h 4096"/>
              <a:gd name="T84" fmla="*/ 654 w 4096"/>
              <a:gd name="T85" fmla="*/ 1988 h 4096"/>
              <a:gd name="T86" fmla="*/ 1068 w 4096"/>
              <a:gd name="T87" fmla="*/ 2008 h 4096"/>
              <a:gd name="T88" fmla="*/ 790 w 4096"/>
              <a:gd name="T89" fmla="*/ 1560 h 4096"/>
              <a:gd name="T90" fmla="*/ 1346 w 4096"/>
              <a:gd name="T91" fmla="*/ 1128 h 4096"/>
              <a:gd name="T92" fmla="*/ 1714 w 4096"/>
              <a:gd name="T93" fmla="*/ 734 h 4096"/>
              <a:gd name="T94" fmla="*/ 2084 w 4096"/>
              <a:gd name="T95" fmla="*/ 582 h 4096"/>
              <a:gd name="T96" fmla="*/ 2618 w 4096"/>
              <a:gd name="T97" fmla="*/ 590 h 4096"/>
              <a:gd name="T98" fmla="*/ 3308 w 4096"/>
              <a:gd name="T99" fmla="*/ 518 h 4096"/>
              <a:gd name="T100" fmla="*/ 3352 w 4096"/>
              <a:gd name="T101" fmla="*/ 1136 h 4096"/>
              <a:gd name="T102" fmla="*/ 3924 w 4096"/>
              <a:gd name="T103" fmla="*/ 1566 h 4096"/>
              <a:gd name="T104" fmla="*/ 3478 w 4096"/>
              <a:gd name="T105" fmla="*/ 2036 h 4096"/>
              <a:gd name="T106" fmla="*/ 3592 w 4096"/>
              <a:gd name="T107" fmla="*/ 2762 h 4096"/>
              <a:gd name="T108" fmla="*/ 2904 w 4096"/>
              <a:gd name="T109" fmla="*/ 2766 h 4096"/>
              <a:gd name="T110" fmla="*/ 3458 w 4096"/>
              <a:gd name="T111" fmla="*/ 3092 h 4096"/>
              <a:gd name="T112" fmla="*/ 3492 w 4096"/>
              <a:gd name="T113" fmla="*/ 2342 h 4096"/>
              <a:gd name="T114" fmla="*/ 4096 w 4096"/>
              <a:gd name="T115" fmla="*/ 1642 h 4096"/>
              <a:gd name="T116" fmla="*/ 2972 w 4096"/>
              <a:gd name="T117" fmla="*/ 2360 h 4096"/>
              <a:gd name="T118" fmla="*/ 3158 w 4096"/>
              <a:gd name="T119" fmla="*/ 1414 h 4096"/>
              <a:gd name="T120" fmla="*/ 2954 w 4096"/>
              <a:gd name="T121" fmla="*/ 1310 h 4096"/>
              <a:gd name="T122" fmla="*/ 2944 w 4096"/>
              <a:gd name="T123" fmla="*/ 2196 h 4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96" h="4096">
                <a:moveTo>
                  <a:pt x="2802" y="2480"/>
                </a:moveTo>
                <a:lnTo>
                  <a:pt x="2802" y="2566"/>
                </a:lnTo>
                <a:lnTo>
                  <a:pt x="2802" y="2566"/>
                </a:lnTo>
                <a:lnTo>
                  <a:pt x="2802" y="2590"/>
                </a:lnTo>
                <a:lnTo>
                  <a:pt x="2798" y="2614"/>
                </a:lnTo>
                <a:lnTo>
                  <a:pt x="2792" y="2638"/>
                </a:lnTo>
                <a:lnTo>
                  <a:pt x="2782" y="2660"/>
                </a:lnTo>
                <a:lnTo>
                  <a:pt x="2772" y="2682"/>
                </a:lnTo>
                <a:lnTo>
                  <a:pt x="2758" y="2702"/>
                </a:lnTo>
                <a:lnTo>
                  <a:pt x="2744" y="2720"/>
                </a:lnTo>
                <a:lnTo>
                  <a:pt x="2728" y="2738"/>
                </a:lnTo>
                <a:lnTo>
                  <a:pt x="2728" y="2738"/>
                </a:lnTo>
                <a:lnTo>
                  <a:pt x="2744" y="2754"/>
                </a:lnTo>
                <a:lnTo>
                  <a:pt x="2758" y="2774"/>
                </a:lnTo>
                <a:lnTo>
                  <a:pt x="2772" y="2794"/>
                </a:lnTo>
                <a:lnTo>
                  <a:pt x="2782" y="2814"/>
                </a:lnTo>
                <a:lnTo>
                  <a:pt x="2792" y="2838"/>
                </a:lnTo>
                <a:lnTo>
                  <a:pt x="2798" y="2860"/>
                </a:lnTo>
                <a:lnTo>
                  <a:pt x="2802" y="2886"/>
                </a:lnTo>
                <a:lnTo>
                  <a:pt x="2802" y="2910"/>
                </a:lnTo>
                <a:lnTo>
                  <a:pt x="2802" y="2996"/>
                </a:lnTo>
                <a:lnTo>
                  <a:pt x="2802" y="2996"/>
                </a:lnTo>
                <a:lnTo>
                  <a:pt x="2802" y="3022"/>
                </a:lnTo>
                <a:lnTo>
                  <a:pt x="2798" y="3046"/>
                </a:lnTo>
                <a:lnTo>
                  <a:pt x="2792" y="3070"/>
                </a:lnTo>
                <a:lnTo>
                  <a:pt x="2782" y="3092"/>
                </a:lnTo>
                <a:lnTo>
                  <a:pt x="2772" y="3114"/>
                </a:lnTo>
                <a:lnTo>
                  <a:pt x="2758" y="3134"/>
                </a:lnTo>
                <a:lnTo>
                  <a:pt x="2744" y="3152"/>
                </a:lnTo>
                <a:lnTo>
                  <a:pt x="2728" y="3170"/>
                </a:lnTo>
                <a:lnTo>
                  <a:pt x="2728" y="3170"/>
                </a:lnTo>
                <a:lnTo>
                  <a:pt x="2744" y="3186"/>
                </a:lnTo>
                <a:lnTo>
                  <a:pt x="2758" y="3204"/>
                </a:lnTo>
                <a:lnTo>
                  <a:pt x="2772" y="3224"/>
                </a:lnTo>
                <a:lnTo>
                  <a:pt x="2782" y="3246"/>
                </a:lnTo>
                <a:lnTo>
                  <a:pt x="2792" y="3268"/>
                </a:lnTo>
                <a:lnTo>
                  <a:pt x="2798" y="3292"/>
                </a:lnTo>
                <a:lnTo>
                  <a:pt x="2802" y="3316"/>
                </a:lnTo>
                <a:lnTo>
                  <a:pt x="2802" y="3342"/>
                </a:lnTo>
                <a:lnTo>
                  <a:pt x="2802" y="3428"/>
                </a:lnTo>
                <a:lnTo>
                  <a:pt x="2802" y="3428"/>
                </a:lnTo>
                <a:lnTo>
                  <a:pt x="2802" y="3452"/>
                </a:lnTo>
                <a:lnTo>
                  <a:pt x="2798" y="3478"/>
                </a:lnTo>
                <a:lnTo>
                  <a:pt x="2792" y="3500"/>
                </a:lnTo>
                <a:lnTo>
                  <a:pt x="2782" y="3524"/>
                </a:lnTo>
                <a:lnTo>
                  <a:pt x="2772" y="3544"/>
                </a:lnTo>
                <a:lnTo>
                  <a:pt x="2758" y="3564"/>
                </a:lnTo>
                <a:lnTo>
                  <a:pt x="2744" y="3584"/>
                </a:lnTo>
                <a:lnTo>
                  <a:pt x="2728" y="3600"/>
                </a:lnTo>
                <a:lnTo>
                  <a:pt x="2728" y="3600"/>
                </a:lnTo>
                <a:lnTo>
                  <a:pt x="2744" y="3618"/>
                </a:lnTo>
                <a:lnTo>
                  <a:pt x="2758" y="3636"/>
                </a:lnTo>
                <a:lnTo>
                  <a:pt x="2772" y="3656"/>
                </a:lnTo>
                <a:lnTo>
                  <a:pt x="2782" y="3678"/>
                </a:lnTo>
                <a:lnTo>
                  <a:pt x="2792" y="3700"/>
                </a:lnTo>
                <a:lnTo>
                  <a:pt x="2798" y="3724"/>
                </a:lnTo>
                <a:lnTo>
                  <a:pt x="2802" y="3748"/>
                </a:lnTo>
                <a:lnTo>
                  <a:pt x="2802" y="3772"/>
                </a:lnTo>
                <a:lnTo>
                  <a:pt x="2802" y="3858"/>
                </a:lnTo>
                <a:lnTo>
                  <a:pt x="2802" y="3858"/>
                </a:lnTo>
                <a:lnTo>
                  <a:pt x="2802" y="3884"/>
                </a:lnTo>
                <a:lnTo>
                  <a:pt x="2798" y="3906"/>
                </a:lnTo>
                <a:lnTo>
                  <a:pt x="2792" y="3930"/>
                </a:lnTo>
                <a:lnTo>
                  <a:pt x="2784" y="3952"/>
                </a:lnTo>
                <a:lnTo>
                  <a:pt x="2774" y="3972"/>
                </a:lnTo>
                <a:lnTo>
                  <a:pt x="2762" y="3992"/>
                </a:lnTo>
                <a:lnTo>
                  <a:pt x="2748" y="4010"/>
                </a:lnTo>
                <a:lnTo>
                  <a:pt x="2732" y="4026"/>
                </a:lnTo>
                <a:lnTo>
                  <a:pt x="2716" y="4042"/>
                </a:lnTo>
                <a:lnTo>
                  <a:pt x="2698" y="4056"/>
                </a:lnTo>
                <a:lnTo>
                  <a:pt x="2678" y="4068"/>
                </a:lnTo>
                <a:lnTo>
                  <a:pt x="2658" y="4078"/>
                </a:lnTo>
                <a:lnTo>
                  <a:pt x="2636" y="4086"/>
                </a:lnTo>
                <a:lnTo>
                  <a:pt x="2614" y="4092"/>
                </a:lnTo>
                <a:lnTo>
                  <a:pt x="2590" y="4094"/>
                </a:lnTo>
                <a:lnTo>
                  <a:pt x="2566" y="4096"/>
                </a:lnTo>
                <a:lnTo>
                  <a:pt x="1394" y="4096"/>
                </a:lnTo>
                <a:lnTo>
                  <a:pt x="1394" y="4096"/>
                </a:lnTo>
                <a:lnTo>
                  <a:pt x="1358" y="4094"/>
                </a:lnTo>
                <a:lnTo>
                  <a:pt x="1324" y="4090"/>
                </a:lnTo>
                <a:lnTo>
                  <a:pt x="1290" y="4080"/>
                </a:lnTo>
                <a:lnTo>
                  <a:pt x="1256" y="4070"/>
                </a:lnTo>
                <a:lnTo>
                  <a:pt x="1226" y="4054"/>
                </a:lnTo>
                <a:lnTo>
                  <a:pt x="1196" y="4036"/>
                </a:lnTo>
                <a:lnTo>
                  <a:pt x="1168" y="4016"/>
                </a:lnTo>
                <a:lnTo>
                  <a:pt x="1140" y="3992"/>
                </a:lnTo>
                <a:lnTo>
                  <a:pt x="1140" y="3992"/>
                </a:lnTo>
                <a:lnTo>
                  <a:pt x="1124" y="3976"/>
                </a:lnTo>
                <a:lnTo>
                  <a:pt x="1106" y="3962"/>
                </a:lnTo>
                <a:lnTo>
                  <a:pt x="1086" y="3950"/>
                </a:lnTo>
                <a:lnTo>
                  <a:pt x="1066" y="3942"/>
                </a:lnTo>
                <a:lnTo>
                  <a:pt x="1044" y="3934"/>
                </a:lnTo>
                <a:lnTo>
                  <a:pt x="1022" y="3928"/>
                </a:lnTo>
                <a:lnTo>
                  <a:pt x="1000" y="3924"/>
                </a:lnTo>
                <a:lnTo>
                  <a:pt x="978" y="3924"/>
                </a:lnTo>
                <a:lnTo>
                  <a:pt x="820" y="3924"/>
                </a:lnTo>
                <a:lnTo>
                  <a:pt x="820" y="3946"/>
                </a:lnTo>
                <a:lnTo>
                  <a:pt x="820" y="3946"/>
                </a:lnTo>
                <a:lnTo>
                  <a:pt x="818" y="3960"/>
                </a:lnTo>
                <a:lnTo>
                  <a:pt x="816" y="3976"/>
                </a:lnTo>
                <a:lnTo>
                  <a:pt x="812" y="3990"/>
                </a:lnTo>
                <a:lnTo>
                  <a:pt x="808" y="4004"/>
                </a:lnTo>
                <a:lnTo>
                  <a:pt x="800" y="4016"/>
                </a:lnTo>
                <a:lnTo>
                  <a:pt x="794" y="4030"/>
                </a:lnTo>
                <a:lnTo>
                  <a:pt x="784" y="4042"/>
                </a:lnTo>
                <a:lnTo>
                  <a:pt x="774" y="4052"/>
                </a:lnTo>
                <a:lnTo>
                  <a:pt x="764" y="4062"/>
                </a:lnTo>
                <a:lnTo>
                  <a:pt x="752" y="4070"/>
                </a:lnTo>
                <a:lnTo>
                  <a:pt x="740" y="4078"/>
                </a:lnTo>
                <a:lnTo>
                  <a:pt x="726" y="4084"/>
                </a:lnTo>
                <a:lnTo>
                  <a:pt x="714" y="4090"/>
                </a:lnTo>
                <a:lnTo>
                  <a:pt x="698" y="4092"/>
                </a:lnTo>
                <a:lnTo>
                  <a:pt x="684" y="4096"/>
                </a:lnTo>
                <a:lnTo>
                  <a:pt x="668" y="4096"/>
                </a:lnTo>
                <a:lnTo>
                  <a:pt x="150" y="4096"/>
                </a:lnTo>
                <a:lnTo>
                  <a:pt x="150" y="4096"/>
                </a:lnTo>
                <a:lnTo>
                  <a:pt x="136" y="4096"/>
                </a:lnTo>
                <a:lnTo>
                  <a:pt x="120" y="4092"/>
                </a:lnTo>
                <a:lnTo>
                  <a:pt x="106" y="4090"/>
                </a:lnTo>
                <a:lnTo>
                  <a:pt x="92" y="4084"/>
                </a:lnTo>
                <a:lnTo>
                  <a:pt x="80" y="4078"/>
                </a:lnTo>
                <a:lnTo>
                  <a:pt x="66" y="4070"/>
                </a:lnTo>
                <a:lnTo>
                  <a:pt x="54" y="4062"/>
                </a:lnTo>
                <a:lnTo>
                  <a:pt x="44" y="4052"/>
                </a:lnTo>
                <a:lnTo>
                  <a:pt x="34" y="4042"/>
                </a:lnTo>
                <a:lnTo>
                  <a:pt x="26" y="4030"/>
                </a:lnTo>
                <a:lnTo>
                  <a:pt x="18" y="4016"/>
                </a:lnTo>
                <a:lnTo>
                  <a:pt x="12" y="4004"/>
                </a:lnTo>
                <a:lnTo>
                  <a:pt x="6" y="3990"/>
                </a:lnTo>
                <a:lnTo>
                  <a:pt x="4" y="3976"/>
                </a:lnTo>
                <a:lnTo>
                  <a:pt x="0" y="3960"/>
                </a:lnTo>
                <a:lnTo>
                  <a:pt x="0" y="3946"/>
                </a:lnTo>
                <a:lnTo>
                  <a:pt x="0" y="2480"/>
                </a:lnTo>
                <a:lnTo>
                  <a:pt x="0" y="2480"/>
                </a:lnTo>
                <a:lnTo>
                  <a:pt x="0" y="2464"/>
                </a:lnTo>
                <a:lnTo>
                  <a:pt x="4" y="2448"/>
                </a:lnTo>
                <a:lnTo>
                  <a:pt x="6" y="2434"/>
                </a:lnTo>
                <a:lnTo>
                  <a:pt x="12" y="2420"/>
                </a:lnTo>
                <a:lnTo>
                  <a:pt x="18" y="2408"/>
                </a:lnTo>
                <a:lnTo>
                  <a:pt x="26" y="2394"/>
                </a:lnTo>
                <a:lnTo>
                  <a:pt x="34" y="2384"/>
                </a:lnTo>
                <a:lnTo>
                  <a:pt x="44" y="2372"/>
                </a:lnTo>
                <a:lnTo>
                  <a:pt x="54" y="2362"/>
                </a:lnTo>
                <a:lnTo>
                  <a:pt x="66" y="2354"/>
                </a:lnTo>
                <a:lnTo>
                  <a:pt x="80" y="2346"/>
                </a:lnTo>
                <a:lnTo>
                  <a:pt x="92" y="2340"/>
                </a:lnTo>
                <a:lnTo>
                  <a:pt x="106" y="2336"/>
                </a:lnTo>
                <a:lnTo>
                  <a:pt x="120" y="2332"/>
                </a:lnTo>
                <a:lnTo>
                  <a:pt x="136" y="2330"/>
                </a:lnTo>
                <a:lnTo>
                  <a:pt x="150" y="2328"/>
                </a:lnTo>
                <a:lnTo>
                  <a:pt x="668" y="2328"/>
                </a:lnTo>
                <a:lnTo>
                  <a:pt x="668" y="2328"/>
                </a:lnTo>
                <a:lnTo>
                  <a:pt x="684" y="2330"/>
                </a:lnTo>
                <a:lnTo>
                  <a:pt x="698" y="2332"/>
                </a:lnTo>
                <a:lnTo>
                  <a:pt x="714" y="2336"/>
                </a:lnTo>
                <a:lnTo>
                  <a:pt x="726" y="2340"/>
                </a:lnTo>
                <a:lnTo>
                  <a:pt x="740" y="2346"/>
                </a:lnTo>
                <a:lnTo>
                  <a:pt x="752" y="2354"/>
                </a:lnTo>
                <a:lnTo>
                  <a:pt x="764" y="2362"/>
                </a:lnTo>
                <a:lnTo>
                  <a:pt x="774" y="2372"/>
                </a:lnTo>
                <a:lnTo>
                  <a:pt x="784" y="2384"/>
                </a:lnTo>
                <a:lnTo>
                  <a:pt x="794" y="2394"/>
                </a:lnTo>
                <a:lnTo>
                  <a:pt x="800" y="2408"/>
                </a:lnTo>
                <a:lnTo>
                  <a:pt x="808" y="2420"/>
                </a:lnTo>
                <a:lnTo>
                  <a:pt x="812" y="2434"/>
                </a:lnTo>
                <a:lnTo>
                  <a:pt x="816" y="2448"/>
                </a:lnTo>
                <a:lnTo>
                  <a:pt x="818" y="2464"/>
                </a:lnTo>
                <a:lnTo>
                  <a:pt x="820" y="2480"/>
                </a:lnTo>
                <a:lnTo>
                  <a:pt x="820" y="2500"/>
                </a:lnTo>
                <a:lnTo>
                  <a:pt x="976" y="2500"/>
                </a:lnTo>
                <a:lnTo>
                  <a:pt x="976" y="2500"/>
                </a:lnTo>
                <a:lnTo>
                  <a:pt x="992" y="2500"/>
                </a:lnTo>
                <a:lnTo>
                  <a:pt x="1008" y="2496"/>
                </a:lnTo>
                <a:lnTo>
                  <a:pt x="1024" y="2490"/>
                </a:lnTo>
                <a:lnTo>
                  <a:pt x="1038" y="2480"/>
                </a:lnTo>
                <a:lnTo>
                  <a:pt x="1050" y="2470"/>
                </a:lnTo>
                <a:lnTo>
                  <a:pt x="1062" y="2458"/>
                </a:lnTo>
                <a:lnTo>
                  <a:pt x="1070" y="2442"/>
                </a:lnTo>
                <a:lnTo>
                  <a:pt x="1078" y="2428"/>
                </a:lnTo>
                <a:lnTo>
                  <a:pt x="1102" y="2354"/>
                </a:lnTo>
                <a:lnTo>
                  <a:pt x="1102" y="2354"/>
                </a:lnTo>
                <a:lnTo>
                  <a:pt x="1126" y="2276"/>
                </a:lnTo>
                <a:lnTo>
                  <a:pt x="1148" y="2196"/>
                </a:lnTo>
                <a:lnTo>
                  <a:pt x="1166" y="2114"/>
                </a:lnTo>
                <a:lnTo>
                  <a:pt x="1180" y="2034"/>
                </a:lnTo>
                <a:lnTo>
                  <a:pt x="1192" y="1952"/>
                </a:lnTo>
                <a:lnTo>
                  <a:pt x="1200" y="1868"/>
                </a:lnTo>
                <a:lnTo>
                  <a:pt x="1206" y="1786"/>
                </a:lnTo>
                <a:lnTo>
                  <a:pt x="1208" y="1704"/>
                </a:lnTo>
                <a:lnTo>
                  <a:pt x="1208" y="1704"/>
                </a:lnTo>
                <a:lnTo>
                  <a:pt x="1208" y="1678"/>
                </a:lnTo>
                <a:lnTo>
                  <a:pt x="1212" y="1656"/>
                </a:lnTo>
                <a:lnTo>
                  <a:pt x="1218" y="1632"/>
                </a:lnTo>
                <a:lnTo>
                  <a:pt x="1226" y="1610"/>
                </a:lnTo>
                <a:lnTo>
                  <a:pt x="1236" y="1590"/>
                </a:lnTo>
                <a:lnTo>
                  <a:pt x="1248" y="1570"/>
                </a:lnTo>
                <a:lnTo>
                  <a:pt x="1262" y="1552"/>
                </a:lnTo>
                <a:lnTo>
                  <a:pt x="1276" y="1536"/>
                </a:lnTo>
                <a:lnTo>
                  <a:pt x="1294" y="1520"/>
                </a:lnTo>
                <a:lnTo>
                  <a:pt x="1312" y="1506"/>
                </a:lnTo>
                <a:lnTo>
                  <a:pt x="1332" y="1494"/>
                </a:lnTo>
                <a:lnTo>
                  <a:pt x="1352" y="1484"/>
                </a:lnTo>
                <a:lnTo>
                  <a:pt x="1374" y="1476"/>
                </a:lnTo>
                <a:lnTo>
                  <a:pt x="1396" y="1470"/>
                </a:lnTo>
                <a:lnTo>
                  <a:pt x="1420" y="1468"/>
                </a:lnTo>
                <a:lnTo>
                  <a:pt x="1444" y="1466"/>
                </a:lnTo>
                <a:lnTo>
                  <a:pt x="1444" y="1466"/>
                </a:lnTo>
                <a:lnTo>
                  <a:pt x="1476" y="1468"/>
                </a:lnTo>
                <a:lnTo>
                  <a:pt x="1508" y="1472"/>
                </a:lnTo>
                <a:lnTo>
                  <a:pt x="1538" y="1480"/>
                </a:lnTo>
                <a:lnTo>
                  <a:pt x="1568" y="1490"/>
                </a:lnTo>
                <a:lnTo>
                  <a:pt x="1596" y="1504"/>
                </a:lnTo>
                <a:lnTo>
                  <a:pt x="1624" y="1520"/>
                </a:lnTo>
                <a:lnTo>
                  <a:pt x="1650" y="1540"/>
                </a:lnTo>
                <a:lnTo>
                  <a:pt x="1674" y="1560"/>
                </a:lnTo>
                <a:lnTo>
                  <a:pt x="1674" y="1560"/>
                </a:lnTo>
                <a:lnTo>
                  <a:pt x="1694" y="1584"/>
                </a:lnTo>
                <a:lnTo>
                  <a:pt x="1714" y="1610"/>
                </a:lnTo>
                <a:lnTo>
                  <a:pt x="1730" y="1638"/>
                </a:lnTo>
                <a:lnTo>
                  <a:pt x="1744" y="1666"/>
                </a:lnTo>
                <a:lnTo>
                  <a:pt x="1754" y="1696"/>
                </a:lnTo>
                <a:lnTo>
                  <a:pt x="1762" y="1726"/>
                </a:lnTo>
                <a:lnTo>
                  <a:pt x="1766" y="1758"/>
                </a:lnTo>
                <a:lnTo>
                  <a:pt x="1768" y="1790"/>
                </a:lnTo>
                <a:lnTo>
                  <a:pt x="1768" y="2480"/>
                </a:lnTo>
                <a:lnTo>
                  <a:pt x="1768" y="2480"/>
                </a:lnTo>
                <a:lnTo>
                  <a:pt x="1766" y="2492"/>
                </a:lnTo>
                <a:lnTo>
                  <a:pt x="1762" y="2504"/>
                </a:lnTo>
                <a:lnTo>
                  <a:pt x="1756" y="2516"/>
                </a:lnTo>
                <a:lnTo>
                  <a:pt x="1748" y="2524"/>
                </a:lnTo>
                <a:lnTo>
                  <a:pt x="1740" y="2532"/>
                </a:lnTo>
                <a:lnTo>
                  <a:pt x="1728" y="2538"/>
                </a:lnTo>
                <a:lnTo>
                  <a:pt x="1716" y="2542"/>
                </a:lnTo>
                <a:lnTo>
                  <a:pt x="1704" y="2544"/>
                </a:lnTo>
                <a:lnTo>
                  <a:pt x="1704" y="2544"/>
                </a:lnTo>
                <a:lnTo>
                  <a:pt x="1690" y="2542"/>
                </a:lnTo>
                <a:lnTo>
                  <a:pt x="1678" y="2538"/>
                </a:lnTo>
                <a:lnTo>
                  <a:pt x="1666" y="2532"/>
                </a:lnTo>
                <a:lnTo>
                  <a:pt x="1658" y="2524"/>
                </a:lnTo>
                <a:lnTo>
                  <a:pt x="1650" y="2516"/>
                </a:lnTo>
                <a:lnTo>
                  <a:pt x="1644" y="2504"/>
                </a:lnTo>
                <a:lnTo>
                  <a:pt x="1640" y="2492"/>
                </a:lnTo>
                <a:lnTo>
                  <a:pt x="1638" y="2480"/>
                </a:lnTo>
                <a:lnTo>
                  <a:pt x="1638" y="1790"/>
                </a:lnTo>
                <a:lnTo>
                  <a:pt x="1638" y="1790"/>
                </a:lnTo>
                <a:lnTo>
                  <a:pt x="1638" y="1770"/>
                </a:lnTo>
                <a:lnTo>
                  <a:pt x="1634" y="1752"/>
                </a:lnTo>
                <a:lnTo>
                  <a:pt x="1630" y="1732"/>
                </a:lnTo>
                <a:lnTo>
                  <a:pt x="1624" y="1716"/>
                </a:lnTo>
                <a:lnTo>
                  <a:pt x="1616" y="1698"/>
                </a:lnTo>
                <a:lnTo>
                  <a:pt x="1606" y="1682"/>
                </a:lnTo>
                <a:lnTo>
                  <a:pt x="1594" y="1666"/>
                </a:lnTo>
                <a:lnTo>
                  <a:pt x="1582" y="1652"/>
                </a:lnTo>
                <a:lnTo>
                  <a:pt x="1582" y="1652"/>
                </a:lnTo>
                <a:lnTo>
                  <a:pt x="1568" y="1640"/>
                </a:lnTo>
                <a:lnTo>
                  <a:pt x="1552" y="1628"/>
                </a:lnTo>
                <a:lnTo>
                  <a:pt x="1536" y="1618"/>
                </a:lnTo>
                <a:lnTo>
                  <a:pt x="1518" y="1610"/>
                </a:lnTo>
                <a:lnTo>
                  <a:pt x="1500" y="1604"/>
                </a:lnTo>
                <a:lnTo>
                  <a:pt x="1482" y="1600"/>
                </a:lnTo>
                <a:lnTo>
                  <a:pt x="1464" y="1596"/>
                </a:lnTo>
                <a:lnTo>
                  <a:pt x="1444" y="1596"/>
                </a:lnTo>
                <a:lnTo>
                  <a:pt x="1444" y="1596"/>
                </a:lnTo>
                <a:lnTo>
                  <a:pt x="1422" y="1598"/>
                </a:lnTo>
                <a:lnTo>
                  <a:pt x="1402" y="1604"/>
                </a:lnTo>
                <a:lnTo>
                  <a:pt x="1384" y="1614"/>
                </a:lnTo>
                <a:lnTo>
                  <a:pt x="1368" y="1626"/>
                </a:lnTo>
                <a:lnTo>
                  <a:pt x="1356" y="1642"/>
                </a:lnTo>
                <a:lnTo>
                  <a:pt x="1346" y="1662"/>
                </a:lnTo>
                <a:lnTo>
                  <a:pt x="1338" y="1682"/>
                </a:lnTo>
                <a:lnTo>
                  <a:pt x="1336" y="1704"/>
                </a:lnTo>
                <a:lnTo>
                  <a:pt x="1336" y="1704"/>
                </a:lnTo>
                <a:lnTo>
                  <a:pt x="1334" y="1792"/>
                </a:lnTo>
                <a:lnTo>
                  <a:pt x="1330" y="1880"/>
                </a:lnTo>
                <a:lnTo>
                  <a:pt x="1320" y="1966"/>
                </a:lnTo>
                <a:lnTo>
                  <a:pt x="1308" y="2054"/>
                </a:lnTo>
                <a:lnTo>
                  <a:pt x="1292" y="2140"/>
                </a:lnTo>
                <a:lnTo>
                  <a:pt x="1274" y="2226"/>
                </a:lnTo>
                <a:lnTo>
                  <a:pt x="1250" y="2312"/>
                </a:lnTo>
                <a:lnTo>
                  <a:pt x="1224" y="2396"/>
                </a:lnTo>
                <a:lnTo>
                  <a:pt x="1200" y="2468"/>
                </a:lnTo>
                <a:lnTo>
                  <a:pt x="1200" y="2468"/>
                </a:lnTo>
                <a:lnTo>
                  <a:pt x="1194" y="2486"/>
                </a:lnTo>
                <a:lnTo>
                  <a:pt x="1186" y="2502"/>
                </a:lnTo>
                <a:lnTo>
                  <a:pt x="1176" y="2518"/>
                </a:lnTo>
                <a:lnTo>
                  <a:pt x="1166" y="2534"/>
                </a:lnTo>
                <a:lnTo>
                  <a:pt x="1154" y="2548"/>
                </a:lnTo>
                <a:lnTo>
                  <a:pt x="1142" y="2562"/>
                </a:lnTo>
                <a:lnTo>
                  <a:pt x="1128" y="2574"/>
                </a:lnTo>
                <a:lnTo>
                  <a:pt x="1114" y="2586"/>
                </a:lnTo>
                <a:lnTo>
                  <a:pt x="1098" y="2596"/>
                </a:lnTo>
                <a:lnTo>
                  <a:pt x="1082" y="2604"/>
                </a:lnTo>
                <a:lnTo>
                  <a:pt x="1066" y="2612"/>
                </a:lnTo>
                <a:lnTo>
                  <a:pt x="1048" y="2618"/>
                </a:lnTo>
                <a:lnTo>
                  <a:pt x="1032" y="2624"/>
                </a:lnTo>
                <a:lnTo>
                  <a:pt x="1012" y="2628"/>
                </a:lnTo>
                <a:lnTo>
                  <a:pt x="994" y="2630"/>
                </a:lnTo>
                <a:lnTo>
                  <a:pt x="976" y="2630"/>
                </a:lnTo>
                <a:lnTo>
                  <a:pt x="820" y="2630"/>
                </a:lnTo>
                <a:lnTo>
                  <a:pt x="820" y="2824"/>
                </a:lnTo>
                <a:lnTo>
                  <a:pt x="820" y="2824"/>
                </a:lnTo>
                <a:lnTo>
                  <a:pt x="818" y="2838"/>
                </a:lnTo>
                <a:lnTo>
                  <a:pt x="814" y="2850"/>
                </a:lnTo>
                <a:lnTo>
                  <a:pt x="808" y="2860"/>
                </a:lnTo>
                <a:lnTo>
                  <a:pt x="800" y="2870"/>
                </a:lnTo>
                <a:lnTo>
                  <a:pt x="790" y="2878"/>
                </a:lnTo>
                <a:lnTo>
                  <a:pt x="780" y="2884"/>
                </a:lnTo>
                <a:lnTo>
                  <a:pt x="768" y="2888"/>
                </a:lnTo>
                <a:lnTo>
                  <a:pt x="754" y="2888"/>
                </a:lnTo>
                <a:lnTo>
                  <a:pt x="754" y="2888"/>
                </a:lnTo>
                <a:lnTo>
                  <a:pt x="742" y="2888"/>
                </a:lnTo>
                <a:lnTo>
                  <a:pt x="730" y="2884"/>
                </a:lnTo>
                <a:lnTo>
                  <a:pt x="718" y="2878"/>
                </a:lnTo>
                <a:lnTo>
                  <a:pt x="708" y="2870"/>
                </a:lnTo>
                <a:lnTo>
                  <a:pt x="700" y="2860"/>
                </a:lnTo>
                <a:lnTo>
                  <a:pt x="694" y="2850"/>
                </a:lnTo>
                <a:lnTo>
                  <a:pt x="692" y="2838"/>
                </a:lnTo>
                <a:lnTo>
                  <a:pt x="690" y="2824"/>
                </a:lnTo>
                <a:lnTo>
                  <a:pt x="690" y="2480"/>
                </a:lnTo>
                <a:lnTo>
                  <a:pt x="690" y="2480"/>
                </a:lnTo>
                <a:lnTo>
                  <a:pt x="688" y="2470"/>
                </a:lnTo>
                <a:lnTo>
                  <a:pt x="684" y="2464"/>
                </a:lnTo>
                <a:lnTo>
                  <a:pt x="676" y="2460"/>
                </a:lnTo>
                <a:lnTo>
                  <a:pt x="668" y="2458"/>
                </a:lnTo>
                <a:lnTo>
                  <a:pt x="150" y="2458"/>
                </a:lnTo>
                <a:lnTo>
                  <a:pt x="150" y="2458"/>
                </a:lnTo>
                <a:lnTo>
                  <a:pt x="142" y="2460"/>
                </a:lnTo>
                <a:lnTo>
                  <a:pt x="136" y="2464"/>
                </a:lnTo>
                <a:lnTo>
                  <a:pt x="132" y="2470"/>
                </a:lnTo>
                <a:lnTo>
                  <a:pt x="130" y="2480"/>
                </a:lnTo>
                <a:lnTo>
                  <a:pt x="130" y="3946"/>
                </a:lnTo>
                <a:lnTo>
                  <a:pt x="130" y="3946"/>
                </a:lnTo>
                <a:lnTo>
                  <a:pt x="132" y="3954"/>
                </a:lnTo>
                <a:lnTo>
                  <a:pt x="136" y="3960"/>
                </a:lnTo>
                <a:lnTo>
                  <a:pt x="142" y="3964"/>
                </a:lnTo>
                <a:lnTo>
                  <a:pt x="150" y="3966"/>
                </a:lnTo>
                <a:lnTo>
                  <a:pt x="344" y="3966"/>
                </a:lnTo>
                <a:lnTo>
                  <a:pt x="344" y="3082"/>
                </a:lnTo>
                <a:lnTo>
                  <a:pt x="344" y="3082"/>
                </a:lnTo>
                <a:lnTo>
                  <a:pt x="346" y="3070"/>
                </a:lnTo>
                <a:lnTo>
                  <a:pt x="350" y="3058"/>
                </a:lnTo>
                <a:lnTo>
                  <a:pt x="356" y="3046"/>
                </a:lnTo>
                <a:lnTo>
                  <a:pt x="364" y="3038"/>
                </a:lnTo>
                <a:lnTo>
                  <a:pt x="374" y="3030"/>
                </a:lnTo>
                <a:lnTo>
                  <a:pt x="384" y="3024"/>
                </a:lnTo>
                <a:lnTo>
                  <a:pt x="396" y="3020"/>
                </a:lnTo>
                <a:lnTo>
                  <a:pt x="410" y="3018"/>
                </a:lnTo>
                <a:lnTo>
                  <a:pt x="410" y="3018"/>
                </a:lnTo>
                <a:lnTo>
                  <a:pt x="422" y="3020"/>
                </a:lnTo>
                <a:lnTo>
                  <a:pt x="434" y="3024"/>
                </a:lnTo>
                <a:lnTo>
                  <a:pt x="446" y="3030"/>
                </a:lnTo>
                <a:lnTo>
                  <a:pt x="456" y="3038"/>
                </a:lnTo>
                <a:lnTo>
                  <a:pt x="464" y="3046"/>
                </a:lnTo>
                <a:lnTo>
                  <a:pt x="470" y="3058"/>
                </a:lnTo>
                <a:lnTo>
                  <a:pt x="472" y="3070"/>
                </a:lnTo>
                <a:lnTo>
                  <a:pt x="474" y="3082"/>
                </a:lnTo>
                <a:lnTo>
                  <a:pt x="474" y="3966"/>
                </a:lnTo>
                <a:lnTo>
                  <a:pt x="668" y="3966"/>
                </a:lnTo>
                <a:lnTo>
                  <a:pt x="668" y="3966"/>
                </a:lnTo>
                <a:lnTo>
                  <a:pt x="676" y="3964"/>
                </a:lnTo>
                <a:lnTo>
                  <a:pt x="684" y="3960"/>
                </a:lnTo>
                <a:lnTo>
                  <a:pt x="688" y="3954"/>
                </a:lnTo>
                <a:lnTo>
                  <a:pt x="690" y="3946"/>
                </a:lnTo>
                <a:lnTo>
                  <a:pt x="690" y="3082"/>
                </a:lnTo>
                <a:lnTo>
                  <a:pt x="690" y="3082"/>
                </a:lnTo>
                <a:lnTo>
                  <a:pt x="692" y="3070"/>
                </a:lnTo>
                <a:lnTo>
                  <a:pt x="694" y="3058"/>
                </a:lnTo>
                <a:lnTo>
                  <a:pt x="700" y="3046"/>
                </a:lnTo>
                <a:lnTo>
                  <a:pt x="708" y="3038"/>
                </a:lnTo>
                <a:lnTo>
                  <a:pt x="718" y="3030"/>
                </a:lnTo>
                <a:lnTo>
                  <a:pt x="730" y="3024"/>
                </a:lnTo>
                <a:lnTo>
                  <a:pt x="742" y="3020"/>
                </a:lnTo>
                <a:lnTo>
                  <a:pt x="754" y="3018"/>
                </a:lnTo>
                <a:lnTo>
                  <a:pt x="754" y="3018"/>
                </a:lnTo>
                <a:lnTo>
                  <a:pt x="768" y="3020"/>
                </a:lnTo>
                <a:lnTo>
                  <a:pt x="780" y="3024"/>
                </a:lnTo>
                <a:lnTo>
                  <a:pt x="790" y="3030"/>
                </a:lnTo>
                <a:lnTo>
                  <a:pt x="800" y="3038"/>
                </a:lnTo>
                <a:lnTo>
                  <a:pt x="808" y="3046"/>
                </a:lnTo>
                <a:lnTo>
                  <a:pt x="814" y="3058"/>
                </a:lnTo>
                <a:lnTo>
                  <a:pt x="818" y="3070"/>
                </a:lnTo>
                <a:lnTo>
                  <a:pt x="820" y="3082"/>
                </a:lnTo>
                <a:lnTo>
                  <a:pt x="820" y="3794"/>
                </a:lnTo>
                <a:lnTo>
                  <a:pt x="978" y="3794"/>
                </a:lnTo>
                <a:lnTo>
                  <a:pt x="978" y="3794"/>
                </a:lnTo>
                <a:lnTo>
                  <a:pt x="1014" y="3796"/>
                </a:lnTo>
                <a:lnTo>
                  <a:pt x="1048" y="3802"/>
                </a:lnTo>
                <a:lnTo>
                  <a:pt x="1082" y="3810"/>
                </a:lnTo>
                <a:lnTo>
                  <a:pt x="1114" y="3822"/>
                </a:lnTo>
                <a:lnTo>
                  <a:pt x="1146" y="3836"/>
                </a:lnTo>
                <a:lnTo>
                  <a:pt x="1176" y="3854"/>
                </a:lnTo>
                <a:lnTo>
                  <a:pt x="1206" y="3876"/>
                </a:lnTo>
                <a:lnTo>
                  <a:pt x="1232" y="3900"/>
                </a:lnTo>
                <a:lnTo>
                  <a:pt x="1232" y="3900"/>
                </a:lnTo>
                <a:lnTo>
                  <a:pt x="1248" y="3916"/>
                </a:lnTo>
                <a:lnTo>
                  <a:pt x="1266" y="3928"/>
                </a:lnTo>
                <a:lnTo>
                  <a:pt x="1286" y="3940"/>
                </a:lnTo>
                <a:lnTo>
                  <a:pt x="1306" y="3950"/>
                </a:lnTo>
                <a:lnTo>
                  <a:pt x="1328" y="3956"/>
                </a:lnTo>
                <a:lnTo>
                  <a:pt x="1348" y="3962"/>
                </a:lnTo>
                <a:lnTo>
                  <a:pt x="1372" y="3966"/>
                </a:lnTo>
                <a:lnTo>
                  <a:pt x="1394" y="3966"/>
                </a:lnTo>
                <a:lnTo>
                  <a:pt x="2566" y="3966"/>
                </a:lnTo>
                <a:lnTo>
                  <a:pt x="2566" y="3966"/>
                </a:lnTo>
                <a:lnTo>
                  <a:pt x="2588" y="3964"/>
                </a:lnTo>
                <a:lnTo>
                  <a:pt x="2608" y="3958"/>
                </a:lnTo>
                <a:lnTo>
                  <a:pt x="2626" y="3948"/>
                </a:lnTo>
                <a:lnTo>
                  <a:pt x="2642" y="3936"/>
                </a:lnTo>
                <a:lnTo>
                  <a:pt x="2654" y="3920"/>
                </a:lnTo>
                <a:lnTo>
                  <a:pt x="2664" y="3900"/>
                </a:lnTo>
                <a:lnTo>
                  <a:pt x="2670" y="3880"/>
                </a:lnTo>
                <a:lnTo>
                  <a:pt x="2674" y="3858"/>
                </a:lnTo>
                <a:lnTo>
                  <a:pt x="2674" y="3772"/>
                </a:lnTo>
                <a:lnTo>
                  <a:pt x="2674" y="3772"/>
                </a:lnTo>
                <a:lnTo>
                  <a:pt x="2670" y="3750"/>
                </a:lnTo>
                <a:lnTo>
                  <a:pt x="2664" y="3730"/>
                </a:lnTo>
                <a:lnTo>
                  <a:pt x="2654" y="3712"/>
                </a:lnTo>
                <a:lnTo>
                  <a:pt x="2642" y="3696"/>
                </a:lnTo>
                <a:lnTo>
                  <a:pt x="2626" y="3684"/>
                </a:lnTo>
                <a:lnTo>
                  <a:pt x="2608" y="3674"/>
                </a:lnTo>
                <a:lnTo>
                  <a:pt x="2588" y="3668"/>
                </a:lnTo>
                <a:lnTo>
                  <a:pt x="2566" y="3664"/>
                </a:lnTo>
                <a:lnTo>
                  <a:pt x="1962" y="3664"/>
                </a:lnTo>
                <a:lnTo>
                  <a:pt x="1962" y="3664"/>
                </a:lnTo>
                <a:lnTo>
                  <a:pt x="1948" y="3664"/>
                </a:lnTo>
                <a:lnTo>
                  <a:pt x="1936" y="3660"/>
                </a:lnTo>
                <a:lnTo>
                  <a:pt x="1926" y="3654"/>
                </a:lnTo>
                <a:lnTo>
                  <a:pt x="1916" y="3646"/>
                </a:lnTo>
                <a:lnTo>
                  <a:pt x="1908" y="3636"/>
                </a:lnTo>
                <a:lnTo>
                  <a:pt x="1902" y="3626"/>
                </a:lnTo>
                <a:lnTo>
                  <a:pt x="1898" y="3614"/>
                </a:lnTo>
                <a:lnTo>
                  <a:pt x="1898" y="3600"/>
                </a:lnTo>
                <a:lnTo>
                  <a:pt x="1898" y="3600"/>
                </a:lnTo>
                <a:lnTo>
                  <a:pt x="1898" y="3588"/>
                </a:lnTo>
                <a:lnTo>
                  <a:pt x="1902" y="3574"/>
                </a:lnTo>
                <a:lnTo>
                  <a:pt x="1908" y="3564"/>
                </a:lnTo>
                <a:lnTo>
                  <a:pt x="1916" y="3554"/>
                </a:lnTo>
                <a:lnTo>
                  <a:pt x="1926" y="3546"/>
                </a:lnTo>
                <a:lnTo>
                  <a:pt x="1936" y="3540"/>
                </a:lnTo>
                <a:lnTo>
                  <a:pt x="1948" y="3536"/>
                </a:lnTo>
                <a:lnTo>
                  <a:pt x="1962" y="3536"/>
                </a:lnTo>
                <a:lnTo>
                  <a:pt x="2566" y="3536"/>
                </a:lnTo>
                <a:lnTo>
                  <a:pt x="2566" y="3536"/>
                </a:lnTo>
                <a:lnTo>
                  <a:pt x="2588" y="3534"/>
                </a:lnTo>
                <a:lnTo>
                  <a:pt x="2608" y="3528"/>
                </a:lnTo>
                <a:lnTo>
                  <a:pt x="2626" y="3518"/>
                </a:lnTo>
                <a:lnTo>
                  <a:pt x="2642" y="3504"/>
                </a:lnTo>
                <a:lnTo>
                  <a:pt x="2654" y="3488"/>
                </a:lnTo>
                <a:lnTo>
                  <a:pt x="2664" y="3470"/>
                </a:lnTo>
                <a:lnTo>
                  <a:pt x="2670" y="3450"/>
                </a:lnTo>
                <a:lnTo>
                  <a:pt x="2674" y="3428"/>
                </a:lnTo>
                <a:lnTo>
                  <a:pt x="2674" y="3342"/>
                </a:lnTo>
                <a:lnTo>
                  <a:pt x="2674" y="3342"/>
                </a:lnTo>
                <a:lnTo>
                  <a:pt x="2670" y="3320"/>
                </a:lnTo>
                <a:lnTo>
                  <a:pt x="2664" y="3300"/>
                </a:lnTo>
                <a:lnTo>
                  <a:pt x="2654" y="3282"/>
                </a:lnTo>
                <a:lnTo>
                  <a:pt x="2642" y="3266"/>
                </a:lnTo>
                <a:lnTo>
                  <a:pt x="2626" y="3252"/>
                </a:lnTo>
                <a:lnTo>
                  <a:pt x="2608" y="3242"/>
                </a:lnTo>
                <a:lnTo>
                  <a:pt x="2588" y="3236"/>
                </a:lnTo>
                <a:lnTo>
                  <a:pt x="2566" y="3234"/>
                </a:lnTo>
                <a:lnTo>
                  <a:pt x="1962" y="3234"/>
                </a:lnTo>
                <a:lnTo>
                  <a:pt x="1962" y="3234"/>
                </a:lnTo>
                <a:lnTo>
                  <a:pt x="1948" y="3232"/>
                </a:lnTo>
                <a:lnTo>
                  <a:pt x="1936" y="3228"/>
                </a:lnTo>
                <a:lnTo>
                  <a:pt x="1926" y="3222"/>
                </a:lnTo>
                <a:lnTo>
                  <a:pt x="1916" y="3214"/>
                </a:lnTo>
                <a:lnTo>
                  <a:pt x="1908" y="3206"/>
                </a:lnTo>
                <a:lnTo>
                  <a:pt x="1902" y="3194"/>
                </a:lnTo>
                <a:lnTo>
                  <a:pt x="1898" y="3182"/>
                </a:lnTo>
                <a:lnTo>
                  <a:pt x="1898" y="3170"/>
                </a:lnTo>
                <a:lnTo>
                  <a:pt x="1898" y="3170"/>
                </a:lnTo>
                <a:lnTo>
                  <a:pt x="1898" y="3156"/>
                </a:lnTo>
                <a:lnTo>
                  <a:pt x="1902" y="3144"/>
                </a:lnTo>
                <a:lnTo>
                  <a:pt x="1908" y="3132"/>
                </a:lnTo>
                <a:lnTo>
                  <a:pt x="1916" y="3124"/>
                </a:lnTo>
                <a:lnTo>
                  <a:pt x="1926" y="3116"/>
                </a:lnTo>
                <a:lnTo>
                  <a:pt x="1936" y="3110"/>
                </a:lnTo>
                <a:lnTo>
                  <a:pt x="1948" y="3106"/>
                </a:lnTo>
                <a:lnTo>
                  <a:pt x="1962" y="3104"/>
                </a:lnTo>
                <a:lnTo>
                  <a:pt x="2566" y="3104"/>
                </a:lnTo>
                <a:lnTo>
                  <a:pt x="2566" y="3104"/>
                </a:lnTo>
                <a:lnTo>
                  <a:pt x="2588" y="3102"/>
                </a:lnTo>
                <a:lnTo>
                  <a:pt x="2608" y="3096"/>
                </a:lnTo>
                <a:lnTo>
                  <a:pt x="2626" y="3086"/>
                </a:lnTo>
                <a:lnTo>
                  <a:pt x="2642" y="3072"/>
                </a:lnTo>
                <a:lnTo>
                  <a:pt x="2654" y="3056"/>
                </a:lnTo>
                <a:lnTo>
                  <a:pt x="2664" y="3038"/>
                </a:lnTo>
                <a:lnTo>
                  <a:pt x="2670" y="3018"/>
                </a:lnTo>
                <a:lnTo>
                  <a:pt x="2674" y="2996"/>
                </a:lnTo>
                <a:lnTo>
                  <a:pt x="2674" y="2910"/>
                </a:lnTo>
                <a:lnTo>
                  <a:pt x="2674" y="2910"/>
                </a:lnTo>
                <a:lnTo>
                  <a:pt x="2670" y="2888"/>
                </a:lnTo>
                <a:lnTo>
                  <a:pt x="2664" y="2868"/>
                </a:lnTo>
                <a:lnTo>
                  <a:pt x="2654" y="2850"/>
                </a:lnTo>
                <a:lnTo>
                  <a:pt x="2642" y="2834"/>
                </a:lnTo>
                <a:lnTo>
                  <a:pt x="2626" y="2820"/>
                </a:lnTo>
                <a:lnTo>
                  <a:pt x="2608" y="2812"/>
                </a:lnTo>
                <a:lnTo>
                  <a:pt x="2588" y="2804"/>
                </a:lnTo>
                <a:lnTo>
                  <a:pt x="2566" y="2802"/>
                </a:lnTo>
                <a:lnTo>
                  <a:pt x="1962" y="2802"/>
                </a:lnTo>
                <a:lnTo>
                  <a:pt x="1962" y="2802"/>
                </a:lnTo>
                <a:lnTo>
                  <a:pt x="1948" y="2802"/>
                </a:lnTo>
                <a:lnTo>
                  <a:pt x="1936" y="2798"/>
                </a:lnTo>
                <a:lnTo>
                  <a:pt x="1926" y="2792"/>
                </a:lnTo>
                <a:lnTo>
                  <a:pt x="1916" y="2784"/>
                </a:lnTo>
                <a:lnTo>
                  <a:pt x="1908" y="2774"/>
                </a:lnTo>
                <a:lnTo>
                  <a:pt x="1902" y="2764"/>
                </a:lnTo>
                <a:lnTo>
                  <a:pt x="1898" y="2750"/>
                </a:lnTo>
                <a:lnTo>
                  <a:pt x="1898" y="2738"/>
                </a:lnTo>
                <a:lnTo>
                  <a:pt x="1898" y="2738"/>
                </a:lnTo>
                <a:lnTo>
                  <a:pt x="1898" y="2724"/>
                </a:lnTo>
                <a:lnTo>
                  <a:pt x="1902" y="2712"/>
                </a:lnTo>
                <a:lnTo>
                  <a:pt x="1908" y="2702"/>
                </a:lnTo>
                <a:lnTo>
                  <a:pt x="1916" y="2692"/>
                </a:lnTo>
                <a:lnTo>
                  <a:pt x="1926" y="2684"/>
                </a:lnTo>
                <a:lnTo>
                  <a:pt x="1936" y="2678"/>
                </a:lnTo>
                <a:lnTo>
                  <a:pt x="1948" y="2674"/>
                </a:lnTo>
                <a:lnTo>
                  <a:pt x="1962" y="2674"/>
                </a:lnTo>
                <a:lnTo>
                  <a:pt x="2566" y="2674"/>
                </a:lnTo>
                <a:lnTo>
                  <a:pt x="2566" y="2674"/>
                </a:lnTo>
                <a:lnTo>
                  <a:pt x="2588" y="2670"/>
                </a:lnTo>
                <a:lnTo>
                  <a:pt x="2608" y="2664"/>
                </a:lnTo>
                <a:lnTo>
                  <a:pt x="2626" y="2654"/>
                </a:lnTo>
                <a:lnTo>
                  <a:pt x="2642" y="2642"/>
                </a:lnTo>
                <a:lnTo>
                  <a:pt x="2654" y="2626"/>
                </a:lnTo>
                <a:lnTo>
                  <a:pt x="2664" y="2608"/>
                </a:lnTo>
                <a:lnTo>
                  <a:pt x="2670" y="2588"/>
                </a:lnTo>
                <a:lnTo>
                  <a:pt x="2674" y="2566"/>
                </a:lnTo>
                <a:lnTo>
                  <a:pt x="2674" y="2480"/>
                </a:lnTo>
                <a:lnTo>
                  <a:pt x="2674" y="2480"/>
                </a:lnTo>
                <a:lnTo>
                  <a:pt x="2670" y="2458"/>
                </a:lnTo>
                <a:lnTo>
                  <a:pt x="2664" y="2438"/>
                </a:lnTo>
                <a:lnTo>
                  <a:pt x="2654" y="2418"/>
                </a:lnTo>
                <a:lnTo>
                  <a:pt x="2642" y="2402"/>
                </a:lnTo>
                <a:lnTo>
                  <a:pt x="2626" y="2390"/>
                </a:lnTo>
                <a:lnTo>
                  <a:pt x="2608" y="2380"/>
                </a:lnTo>
                <a:lnTo>
                  <a:pt x="2588" y="2374"/>
                </a:lnTo>
                <a:lnTo>
                  <a:pt x="2566" y="2372"/>
                </a:lnTo>
                <a:lnTo>
                  <a:pt x="1962" y="2372"/>
                </a:lnTo>
                <a:lnTo>
                  <a:pt x="1962" y="2372"/>
                </a:lnTo>
                <a:lnTo>
                  <a:pt x="1948" y="2370"/>
                </a:lnTo>
                <a:lnTo>
                  <a:pt x="1936" y="2366"/>
                </a:lnTo>
                <a:lnTo>
                  <a:pt x="1926" y="2360"/>
                </a:lnTo>
                <a:lnTo>
                  <a:pt x="1916" y="2352"/>
                </a:lnTo>
                <a:lnTo>
                  <a:pt x="1908" y="2342"/>
                </a:lnTo>
                <a:lnTo>
                  <a:pt x="1902" y="2332"/>
                </a:lnTo>
                <a:lnTo>
                  <a:pt x="1898" y="2320"/>
                </a:lnTo>
                <a:lnTo>
                  <a:pt x="1898" y="2306"/>
                </a:lnTo>
                <a:lnTo>
                  <a:pt x="1898" y="2306"/>
                </a:lnTo>
                <a:lnTo>
                  <a:pt x="1898" y="2294"/>
                </a:lnTo>
                <a:lnTo>
                  <a:pt x="1902" y="2282"/>
                </a:lnTo>
                <a:lnTo>
                  <a:pt x="1908" y="2270"/>
                </a:lnTo>
                <a:lnTo>
                  <a:pt x="1916" y="2260"/>
                </a:lnTo>
                <a:lnTo>
                  <a:pt x="1926" y="2254"/>
                </a:lnTo>
                <a:lnTo>
                  <a:pt x="1936" y="2248"/>
                </a:lnTo>
                <a:lnTo>
                  <a:pt x="1948" y="2244"/>
                </a:lnTo>
                <a:lnTo>
                  <a:pt x="1962" y="2242"/>
                </a:lnTo>
                <a:lnTo>
                  <a:pt x="2566" y="2242"/>
                </a:lnTo>
                <a:lnTo>
                  <a:pt x="2566" y="2242"/>
                </a:lnTo>
                <a:lnTo>
                  <a:pt x="2590" y="2244"/>
                </a:lnTo>
                <a:lnTo>
                  <a:pt x="2614" y="2246"/>
                </a:lnTo>
                <a:lnTo>
                  <a:pt x="2636" y="2252"/>
                </a:lnTo>
                <a:lnTo>
                  <a:pt x="2658" y="2260"/>
                </a:lnTo>
                <a:lnTo>
                  <a:pt x="2678" y="2270"/>
                </a:lnTo>
                <a:lnTo>
                  <a:pt x="2698" y="2282"/>
                </a:lnTo>
                <a:lnTo>
                  <a:pt x="2716" y="2296"/>
                </a:lnTo>
                <a:lnTo>
                  <a:pt x="2732" y="2312"/>
                </a:lnTo>
                <a:lnTo>
                  <a:pt x="2748" y="2328"/>
                </a:lnTo>
                <a:lnTo>
                  <a:pt x="2762" y="2346"/>
                </a:lnTo>
                <a:lnTo>
                  <a:pt x="2774" y="2366"/>
                </a:lnTo>
                <a:lnTo>
                  <a:pt x="2784" y="2386"/>
                </a:lnTo>
                <a:lnTo>
                  <a:pt x="2792" y="2408"/>
                </a:lnTo>
                <a:lnTo>
                  <a:pt x="2798" y="2432"/>
                </a:lnTo>
                <a:lnTo>
                  <a:pt x="2802" y="2454"/>
                </a:lnTo>
                <a:lnTo>
                  <a:pt x="2802" y="2480"/>
                </a:lnTo>
                <a:lnTo>
                  <a:pt x="2802" y="2480"/>
                </a:lnTo>
                <a:close/>
                <a:moveTo>
                  <a:pt x="2022" y="1798"/>
                </a:moveTo>
                <a:lnTo>
                  <a:pt x="2022" y="1798"/>
                </a:lnTo>
                <a:lnTo>
                  <a:pt x="2018" y="1764"/>
                </a:lnTo>
                <a:lnTo>
                  <a:pt x="2018" y="1730"/>
                </a:lnTo>
                <a:lnTo>
                  <a:pt x="2022" y="1698"/>
                </a:lnTo>
                <a:lnTo>
                  <a:pt x="2028" y="1666"/>
                </a:lnTo>
                <a:lnTo>
                  <a:pt x="2038" y="1634"/>
                </a:lnTo>
                <a:lnTo>
                  <a:pt x="2050" y="1606"/>
                </a:lnTo>
                <a:lnTo>
                  <a:pt x="2064" y="1578"/>
                </a:lnTo>
                <a:lnTo>
                  <a:pt x="2082" y="1550"/>
                </a:lnTo>
                <a:lnTo>
                  <a:pt x="2102" y="1526"/>
                </a:lnTo>
                <a:lnTo>
                  <a:pt x="2124" y="1502"/>
                </a:lnTo>
                <a:lnTo>
                  <a:pt x="2148" y="1482"/>
                </a:lnTo>
                <a:lnTo>
                  <a:pt x="2176" y="1464"/>
                </a:lnTo>
                <a:lnTo>
                  <a:pt x="2204" y="1448"/>
                </a:lnTo>
                <a:lnTo>
                  <a:pt x="2234" y="1436"/>
                </a:lnTo>
                <a:lnTo>
                  <a:pt x="2266" y="1426"/>
                </a:lnTo>
                <a:lnTo>
                  <a:pt x="2298" y="1418"/>
                </a:lnTo>
                <a:lnTo>
                  <a:pt x="2298" y="1418"/>
                </a:lnTo>
                <a:lnTo>
                  <a:pt x="2298" y="1418"/>
                </a:lnTo>
                <a:lnTo>
                  <a:pt x="2332" y="1414"/>
                </a:lnTo>
                <a:lnTo>
                  <a:pt x="2366" y="1414"/>
                </a:lnTo>
                <a:lnTo>
                  <a:pt x="2398" y="1418"/>
                </a:lnTo>
                <a:lnTo>
                  <a:pt x="2430" y="1424"/>
                </a:lnTo>
                <a:lnTo>
                  <a:pt x="2460" y="1434"/>
                </a:lnTo>
                <a:lnTo>
                  <a:pt x="2490" y="1446"/>
                </a:lnTo>
                <a:lnTo>
                  <a:pt x="2518" y="1460"/>
                </a:lnTo>
                <a:lnTo>
                  <a:pt x="2546" y="1478"/>
                </a:lnTo>
                <a:lnTo>
                  <a:pt x="2570" y="1498"/>
                </a:lnTo>
                <a:lnTo>
                  <a:pt x="2594" y="1520"/>
                </a:lnTo>
                <a:lnTo>
                  <a:pt x="2614" y="1544"/>
                </a:lnTo>
                <a:lnTo>
                  <a:pt x="2632" y="1572"/>
                </a:lnTo>
                <a:lnTo>
                  <a:pt x="2648" y="1600"/>
                </a:lnTo>
                <a:lnTo>
                  <a:pt x="2660" y="1630"/>
                </a:lnTo>
                <a:lnTo>
                  <a:pt x="2670" y="1662"/>
                </a:lnTo>
                <a:lnTo>
                  <a:pt x="2678" y="1696"/>
                </a:lnTo>
                <a:lnTo>
                  <a:pt x="2678" y="1696"/>
                </a:lnTo>
                <a:lnTo>
                  <a:pt x="2682" y="1728"/>
                </a:lnTo>
                <a:lnTo>
                  <a:pt x="2682" y="1762"/>
                </a:lnTo>
                <a:lnTo>
                  <a:pt x="2678" y="1794"/>
                </a:lnTo>
                <a:lnTo>
                  <a:pt x="2672" y="1826"/>
                </a:lnTo>
                <a:lnTo>
                  <a:pt x="2662" y="1858"/>
                </a:lnTo>
                <a:lnTo>
                  <a:pt x="2650" y="1888"/>
                </a:lnTo>
                <a:lnTo>
                  <a:pt x="2636" y="1916"/>
                </a:lnTo>
                <a:lnTo>
                  <a:pt x="2618" y="1942"/>
                </a:lnTo>
                <a:lnTo>
                  <a:pt x="2598" y="1966"/>
                </a:lnTo>
                <a:lnTo>
                  <a:pt x="2576" y="1990"/>
                </a:lnTo>
                <a:lnTo>
                  <a:pt x="2552" y="2010"/>
                </a:lnTo>
                <a:lnTo>
                  <a:pt x="2524" y="2028"/>
                </a:lnTo>
                <a:lnTo>
                  <a:pt x="2496" y="2044"/>
                </a:lnTo>
                <a:lnTo>
                  <a:pt x="2466" y="2058"/>
                </a:lnTo>
                <a:lnTo>
                  <a:pt x="2434" y="2068"/>
                </a:lnTo>
                <a:lnTo>
                  <a:pt x="2400" y="2074"/>
                </a:lnTo>
                <a:lnTo>
                  <a:pt x="2400" y="2074"/>
                </a:lnTo>
                <a:lnTo>
                  <a:pt x="2376" y="2078"/>
                </a:lnTo>
                <a:lnTo>
                  <a:pt x="2350" y="2078"/>
                </a:lnTo>
                <a:lnTo>
                  <a:pt x="2350" y="2078"/>
                </a:lnTo>
                <a:lnTo>
                  <a:pt x="2320" y="2076"/>
                </a:lnTo>
                <a:lnTo>
                  <a:pt x="2290" y="2072"/>
                </a:lnTo>
                <a:lnTo>
                  <a:pt x="2262" y="2066"/>
                </a:lnTo>
                <a:lnTo>
                  <a:pt x="2234" y="2058"/>
                </a:lnTo>
                <a:lnTo>
                  <a:pt x="2208" y="2046"/>
                </a:lnTo>
                <a:lnTo>
                  <a:pt x="2182" y="2032"/>
                </a:lnTo>
                <a:lnTo>
                  <a:pt x="2158" y="2016"/>
                </a:lnTo>
                <a:lnTo>
                  <a:pt x="2136" y="2000"/>
                </a:lnTo>
                <a:lnTo>
                  <a:pt x="2114" y="1980"/>
                </a:lnTo>
                <a:lnTo>
                  <a:pt x="2094" y="1958"/>
                </a:lnTo>
                <a:lnTo>
                  <a:pt x="2076" y="1936"/>
                </a:lnTo>
                <a:lnTo>
                  <a:pt x="2062" y="1910"/>
                </a:lnTo>
                <a:lnTo>
                  <a:pt x="2048" y="1884"/>
                </a:lnTo>
                <a:lnTo>
                  <a:pt x="2036" y="1856"/>
                </a:lnTo>
                <a:lnTo>
                  <a:pt x="2028" y="1828"/>
                </a:lnTo>
                <a:lnTo>
                  <a:pt x="2022" y="1798"/>
                </a:lnTo>
                <a:lnTo>
                  <a:pt x="2022" y="1798"/>
                </a:lnTo>
                <a:close/>
                <a:moveTo>
                  <a:pt x="2150" y="1778"/>
                </a:moveTo>
                <a:lnTo>
                  <a:pt x="2150" y="1778"/>
                </a:lnTo>
                <a:lnTo>
                  <a:pt x="2154" y="1798"/>
                </a:lnTo>
                <a:lnTo>
                  <a:pt x="2160" y="1818"/>
                </a:lnTo>
                <a:lnTo>
                  <a:pt x="2168" y="1836"/>
                </a:lnTo>
                <a:lnTo>
                  <a:pt x="2178" y="1852"/>
                </a:lnTo>
                <a:lnTo>
                  <a:pt x="2188" y="1870"/>
                </a:lnTo>
                <a:lnTo>
                  <a:pt x="2202" y="1884"/>
                </a:lnTo>
                <a:lnTo>
                  <a:pt x="2216" y="1898"/>
                </a:lnTo>
                <a:lnTo>
                  <a:pt x="2230" y="1910"/>
                </a:lnTo>
                <a:lnTo>
                  <a:pt x="2246" y="1920"/>
                </a:lnTo>
                <a:lnTo>
                  <a:pt x="2264" y="1930"/>
                </a:lnTo>
                <a:lnTo>
                  <a:pt x="2282" y="1938"/>
                </a:lnTo>
                <a:lnTo>
                  <a:pt x="2300" y="1942"/>
                </a:lnTo>
                <a:lnTo>
                  <a:pt x="2320" y="1946"/>
                </a:lnTo>
                <a:lnTo>
                  <a:pt x="2340" y="1948"/>
                </a:lnTo>
                <a:lnTo>
                  <a:pt x="2360" y="1948"/>
                </a:lnTo>
                <a:lnTo>
                  <a:pt x="2382" y="1946"/>
                </a:lnTo>
                <a:lnTo>
                  <a:pt x="2382" y="1946"/>
                </a:lnTo>
                <a:lnTo>
                  <a:pt x="2402" y="1942"/>
                </a:lnTo>
                <a:lnTo>
                  <a:pt x="2420" y="1936"/>
                </a:lnTo>
                <a:lnTo>
                  <a:pt x="2440" y="1928"/>
                </a:lnTo>
                <a:lnTo>
                  <a:pt x="2456" y="1918"/>
                </a:lnTo>
                <a:lnTo>
                  <a:pt x="2472" y="1908"/>
                </a:lnTo>
                <a:lnTo>
                  <a:pt x="2488" y="1894"/>
                </a:lnTo>
                <a:lnTo>
                  <a:pt x="2502" y="1880"/>
                </a:lnTo>
                <a:lnTo>
                  <a:pt x="2514" y="1866"/>
                </a:lnTo>
                <a:lnTo>
                  <a:pt x="2524" y="1850"/>
                </a:lnTo>
                <a:lnTo>
                  <a:pt x="2534" y="1832"/>
                </a:lnTo>
                <a:lnTo>
                  <a:pt x="2540" y="1814"/>
                </a:lnTo>
                <a:lnTo>
                  <a:pt x="2546" y="1796"/>
                </a:lnTo>
                <a:lnTo>
                  <a:pt x="2550" y="1776"/>
                </a:lnTo>
                <a:lnTo>
                  <a:pt x="2552" y="1756"/>
                </a:lnTo>
                <a:lnTo>
                  <a:pt x="2552" y="1736"/>
                </a:lnTo>
                <a:lnTo>
                  <a:pt x="2550" y="1714"/>
                </a:lnTo>
                <a:lnTo>
                  <a:pt x="2550" y="1714"/>
                </a:lnTo>
                <a:lnTo>
                  <a:pt x="2546" y="1694"/>
                </a:lnTo>
                <a:lnTo>
                  <a:pt x="2540" y="1676"/>
                </a:lnTo>
                <a:lnTo>
                  <a:pt x="2532" y="1656"/>
                </a:lnTo>
                <a:lnTo>
                  <a:pt x="2522" y="1640"/>
                </a:lnTo>
                <a:lnTo>
                  <a:pt x="2510" y="1624"/>
                </a:lnTo>
                <a:lnTo>
                  <a:pt x="2498" y="1608"/>
                </a:lnTo>
                <a:lnTo>
                  <a:pt x="2484" y="1594"/>
                </a:lnTo>
                <a:lnTo>
                  <a:pt x="2470" y="1582"/>
                </a:lnTo>
                <a:lnTo>
                  <a:pt x="2452" y="1572"/>
                </a:lnTo>
                <a:lnTo>
                  <a:pt x="2436" y="1562"/>
                </a:lnTo>
                <a:lnTo>
                  <a:pt x="2418" y="1556"/>
                </a:lnTo>
                <a:lnTo>
                  <a:pt x="2398" y="1550"/>
                </a:lnTo>
                <a:lnTo>
                  <a:pt x="2380" y="1546"/>
                </a:lnTo>
                <a:lnTo>
                  <a:pt x="2360" y="1544"/>
                </a:lnTo>
                <a:lnTo>
                  <a:pt x="2340" y="1544"/>
                </a:lnTo>
                <a:lnTo>
                  <a:pt x="2318" y="1546"/>
                </a:lnTo>
                <a:lnTo>
                  <a:pt x="2318" y="1546"/>
                </a:lnTo>
                <a:lnTo>
                  <a:pt x="2318" y="1546"/>
                </a:lnTo>
                <a:lnTo>
                  <a:pt x="2298" y="1550"/>
                </a:lnTo>
                <a:lnTo>
                  <a:pt x="2278" y="1556"/>
                </a:lnTo>
                <a:lnTo>
                  <a:pt x="2260" y="1564"/>
                </a:lnTo>
                <a:lnTo>
                  <a:pt x="2244" y="1574"/>
                </a:lnTo>
                <a:lnTo>
                  <a:pt x="2226" y="1586"/>
                </a:lnTo>
                <a:lnTo>
                  <a:pt x="2212" y="1598"/>
                </a:lnTo>
                <a:lnTo>
                  <a:pt x="2198" y="1612"/>
                </a:lnTo>
                <a:lnTo>
                  <a:pt x="2186" y="1626"/>
                </a:lnTo>
                <a:lnTo>
                  <a:pt x="2176" y="1644"/>
                </a:lnTo>
                <a:lnTo>
                  <a:pt x="2166" y="1660"/>
                </a:lnTo>
                <a:lnTo>
                  <a:pt x="2158" y="1678"/>
                </a:lnTo>
                <a:lnTo>
                  <a:pt x="2154" y="1698"/>
                </a:lnTo>
                <a:lnTo>
                  <a:pt x="2150" y="1716"/>
                </a:lnTo>
                <a:lnTo>
                  <a:pt x="2148" y="1736"/>
                </a:lnTo>
                <a:lnTo>
                  <a:pt x="2148" y="1756"/>
                </a:lnTo>
                <a:lnTo>
                  <a:pt x="2150" y="1778"/>
                </a:lnTo>
                <a:lnTo>
                  <a:pt x="2150" y="1778"/>
                </a:lnTo>
                <a:close/>
                <a:moveTo>
                  <a:pt x="2890" y="1138"/>
                </a:moveTo>
                <a:lnTo>
                  <a:pt x="2890" y="1138"/>
                </a:lnTo>
                <a:lnTo>
                  <a:pt x="2896" y="1128"/>
                </a:lnTo>
                <a:lnTo>
                  <a:pt x="2900" y="1116"/>
                </a:lnTo>
                <a:lnTo>
                  <a:pt x="2902" y="1102"/>
                </a:lnTo>
                <a:lnTo>
                  <a:pt x="2902" y="1090"/>
                </a:lnTo>
                <a:lnTo>
                  <a:pt x="2898" y="1078"/>
                </a:lnTo>
                <a:lnTo>
                  <a:pt x="2894" y="1068"/>
                </a:lnTo>
                <a:lnTo>
                  <a:pt x="2886" y="1056"/>
                </a:lnTo>
                <a:lnTo>
                  <a:pt x="2876" y="1048"/>
                </a:lnTo>
                <a:lnTo>
                  <a:pt x="2876" y="1048"/>
                </a:lnTo>
                <a:lnTo>
                  <a:pt x="2840" y="1022"/>
                </a:lnTo>
                <a:lnTo>
                  <a:pt x="2802" y="998"/>
                </a:lnTo>
                <a:lnTo>
                  <a:pt x="2764" y="976"/>
                </a:lnTo>
                <a:lnTo>
                  <a:pt x="2726" y="956"/>
                </a:lnTo>
                <a:lnTo>
                  <a:pt x="2686" y="938"/>
                </a:lnTo>
                <a:lnTo>
                  <a:pt x="2646" y="922"/>
                </a:lnTo>
                <a:lnTo>
                  <a:pt x="2604" y="908"/>
                </a:lnTo>
                <a:lnTo>
                  <a:pt x="2562" y="898"/>
                </a:lnTo>
                <a:lnTo>
                  <a:pt x="2520" y="888"/>
                </a:lnTo>
                <a:lnTo>
                  <a:pt x="2478" y="880"/>
                </a:lnTo>
                <a:lnTo>
                  <a:pt x="2434" y="876"/>
                </a:lnTo>
                <a:lnTo>
                  <a:pt x="2390" y="872"/>
                </a:lnTo>
                <a:lnTo>
                  <a:pt x="2348" y="872"/>
                </a:lnTo>
                <a:lnTo>
                  <a:pt x="2304" y="872"/>
                </a:lnTo>
                <a:lnTo>
                  <a:pt x="2260" y="876"/>
                </a:lnTo>
                <a:lnTo>
                  <a:pt x="2214" y="882"/>
                </a:lnTo>
                <a:lnTo>
                  <a:pt x="2214" y="882"/>
                </a:lnTo>
                <a:lnTo>
                  <a:pt x="2164" y="892"/>
                </a:lnTo>
                <a:lnTo>
                  <a:pt x="2116" y="904"/>
                </a:lnTo>
                <a:lnTo>
                  <a:pt x="2068" y="918"/>
                </a:lnTo>
                <a:lnTo>
                  <a:pt x="2020" y="936"/>
                </a:lnTo>
                <a:lnTo>
                  <a:pt x="1974" y="956"/>
                </a:lnTo>
                <a:lnTo>
                  <a:pt x="1930" y="978"/>
                </a:lnTo>
                <a:lnTo>
                  <a:pt x="1888" y="1002"/>
                </a:lnTo>
                <a:lnTo>
                  <a:pt x="1846" y="1030"/>
                </a:lnTo>
                <a:lnTo>
                  <a:pt x="1806" y="1060"/>
                </a:lnTo>
                <a:lnTo>
                  <a:pt x="1768" y="1092"/>
                </a:lnTo>
                <a:lnTo>
                  <a:pt x="1732" y="1126"/>
                </a:lnTo>
                <a:lnTo>
                  <a:pt x="1698" y="1162"/>
                </a:lnTo>
                <a:lnTo>
                  <a:pt x="1666" y="1200"/>
                </a:lnTo>
                <a:lnTo>
                  <a:pt x="1636" y="1240"/>
                </a:lnTo>
                <a:lnTo>
                  <a:pt x="1608" y="1282"/>
                </a:lnTo>
                <a:lnTo>
                  <a:pt x="1582" y="1328"/>
                </a:lnTo>
                <a:lnTo>
                  <a:pt x="1582" y="1328"/>
                </a:lnTo>
                <a:lnTo>
                  <a:pt x="1576" y="1340"/>
                </a:lnTo>
                <a:lnTo>
                  <a:pt x="1574" y="1352"/>
                </a:lnTo>
                <a:lnTo>
                  <a:pt x="1574" y="1364"/>
                </a:lnTo>
                <a:lnTo>
                  <a:pt x="1576" y="1376"/>
                </a:lnTo>
                <a:lnTo>
                  <a:pt x="1582" y="1388"/>
                </a:lnTo>
                <a:lnTo>
                  <a:pt x="1588" y="1398"/>
                </a:lnTo>
                <a:lnTo>
                  <a:pt x="1596" y="1408"/>
                </a:lnTo>
                <a:lnTo>
                  <a:pt x="1608" y="1414"/>
                </a:lnTo>
                <a:lnTo>
                  <a:pt x="1608" y="1414"/>
                </a:lnTo>
                <a:lnTo>
                  <a:pt x="1622" y="1420"/>
                </a:lnTo>
                <a:lnTo>
                  <a:pt x="1638" y="1422"/>
                </a:lnTo>
                <a:lnTo>
                  <a:pt x="1638" y="1422"/>
                </a:lnTo>
                <a:lnTo>
                  <a:pt x="1656" y="1420"/>
                </a:lnTo>
                <a:lnTo>
                  <a:pt x="1672" y="1414"/>
                </a:lnTo>
                <a:lnTo>
                  <a:pt x="1684" y="1404"/>
                </a:lnTo>
                <a:lnTo>
                  <a:pt x="1690" y="1396"/>
                </a:lnTo>
                <a:lnTo>
                  <a:pt x="1696" y="1390"/>
                </a:lnTo>
                <a:lnTo>
                  <a:pt x="1696" y="1390"/>
                </a:lnTo>
                <a:lnTo>
                  <a:pt x="1718" y="1352"/>
                </a:lnTo>
                <a:lnTo>
                  <a:pt x="1742" y="1316"/>
                </a:lnTo>
                <a:lnTo>
                  <a:pt x="1768" y="1282"/>
                </a:lnTo>
                <a:lnTo>
                  <a:pt x="1794" y="1248"/>
                </a:lnTo>
                <a:lnTo>
                  <a:pt x="1824" y="1218"/>
                </a:lnTo>
                <a:lnTo>
                  <a:pt x="1854" y="1188"/>
                </a:lnTo>
                <a:lnTo>
                  <a:pt x="1886" y="1162"/>
                </a:lnTo>
                <a:lnTo>
                  <a:pt x="1920" y="1136"/>
                </a:lnTo>
                <a:lnTo>
                  <a:pt x="1956" y="1112"/>
                </a:lnTo>
                <a:lnTo>
                  <a:pt x="1992" y="1092"/>
                </a:lnTo>
                <a:lnTo>
                  <a:pt x="2030" y="1072"/>
                </a:lnTo>
                <a:lnTo>
                  <a:pt x="2070" y="1056"/>
                </a:lnTo>
                <a:lnTo>
                  <a:pt x="2110" y="1040"/>
                </a:lnTo>
                <a:lnTo>
                  <a:pt x="2150" y="1028"/>
                </a:lnTo>
                <a:lnTo>
                  <a:pt x="2192" y="1018"/>
                </a:lnTo>
                <a:lnTo>
                  <a:pt x="2234" y="1010"/>
                </a:lnTo>
                <a:lnTo>
                  <a:pt x="2234" y="1010"/>
                </a:lnTo>
                <a:lnTo>
                  <a:pt x="2272" y="1004"/>
                </a:lnTo>
                <a:lnTo>
                  <a:pt x="2310" y="1002"/>
                </a:lnTo>
                <a:lnTo>
                  <a:pt x="2348" y="1000"/>
                </a:lnTo>
                <a:lnTo>
                  <a:pt x="2384" y="1002"/>
                </a:lnTo>
                <a:lnTo>
                  <a:pt x="2422" y="1004"/>
                </a:lnTo>
                <a:lnTo>
                  <a:pt x="2458" y="1008"/>
                </a:lnTo>
                <a:lnTo>
                  <a:pt x="2496" y="1014"/>
                </a:lnTo>
                <a:lnTo>
                  <a:pt x="2532" y="1022"/>
                </a:lnTo>
                <a:lnTo>
                  <a:pt x="2566" y="1032"/>
                </a:lnTo>
                <a:lnTo>
                  <a:pt x="2602" y="1044"/>
                </a:lnTo>
                <a:lnTo>
                  <a:pt x="2636" y="1058"/>
                </a:lnTo>
                <a:lnTo>
                  <a:pt x="2670" y="1072"/>
                </a:lnTo>
                <a:lnTo>
                  <a:pt x="2704" y="1090"/>
                </a:lnTo>
                <a:lnTo>
                  <a:pt x="2736" y="1108"/>
                </a:lnTo>
                <a:lnTo>
                  <a:pt x="2768" y="1128"/>
                </a:lnTo>
                <a:lnTo>
                  <a:pt x="2798" y="1152"/>
                </a:lnTo>
                <a:lnTo>
                  <a:pt x="2798" y="1152"/>
                </a:lnTo>
                <a:lnTo>
                  <a:pt x="2810" y="1158"/>
                </a:lnTo>
                <a:lnTo>
                  <a:pt x="2822" y="1162"/>
                </a:lnTo>
                <a:lnTo>
                  <a:pt x="2834" y="1164"/>
                </a:lnTo>
                <a:lnTo>
                  <a:pt x="2846" y="1164"/>
                </a:lnTo>
                <a:lnTo>
                  <a:pt x="2858" y="1160"/>
                </a:lnTo>
                <a:lnTo>
                  <a:pt x="2870" y="1156"/>
                </a:lnTo>
                <a:lnTo>
                  <a:pt x="2880" y="1148"/>
                </a:lnTo>
                <a:lnTo>
                  <a:pt x="2890" y="1138"/>
                </a:lnTo>
                <a:lnTo>
                  <a:pt x="2890" y="1138"/>
                </a:lnTo>
                <a:close/>
                <a:moveTo>
                  <a:pt x="3922" y="1428"/>
                </a:moveTo>
                <a:lnTo>
                  <a:pt x="3578" y="1360"/>
                </a:lnTo>
                <a:lnTo>
                  <a:pt x="3578" y="1360"/>
                </a:lnTo>
                <a:lnTo>
                  <a:pt x="3560" y="1306"/>
                </a:lnTo>
                <a:lnTo>
                  <a:pt x="3540" y="1254"/>
                </a:lnTo>
                <a:lnTo>
                  <a:pt x="3516" y="1202"/>
                </a:lnTo>
                <a:lnTo>
                  <a:pt x="3492" y="1150"/>
                </a:lnTo>
                <a:lnTo>
                  <a:pt x="3686" y="860"/>
                </a:lnTo>
                <a:lnTo>
                  <a:pt x="3686" y="860"/>
                </a:lnTo>
                <a:lnTo>
                  <a:pt x="3696" y="844"/>
                </a:lnTo>
                <a:lnTo>
                  <a:pt x="3704" y="826"/>
                </a:lnTo>
                <a:lnTo>
                  <a:pt x="3710" y="808"/>
                </a:lnTo>
                <a:lnTo>
                  <a:pt x="3716" y="790"/>
                </a:lnTo>
                <a:lnTo>
                  <a:pt x="3720" y="772"/>
                </a:lnTo>
                <a:lnTo>
                  <a:pt x="3722" y="754"/>
                </a:lnTo>
                <a:lnTo>
                  <a:pt x="3722" y="736"/>
                </a:lnTo>
                <a:lnTo>
                  <a:pt x="3720" y="718"/>
                </a:lnTo>
                <a:lnTo>
                  <a:pt x="3718" y="700"/>
                </a:lnTo>
                <a:lnTo>
                  <a:pt x="3714" y="682"/>
                </a:lnTo>
                <a:lnTo>
                  <a:pt x="3708" y="664"/>
                </a:lnTo>
                <a:lnTo>
                  <a:pt x="3702" y="646"/>
                </a:lnTo>
                <a:lnTo>
                  <a:pt x="3692" y="630"/>
                </a:lnTo>
                <a:lnTo>
                  <a:pt x="3682" y="614"/>
                </a:lnTo>
                <a:lnTo>
                  <a:pt x="3672" y="600"/>
                </a:lnTo>
                <a:lnTo>
                  <a:pt x="3658" y="584"/>
                </a:lnTo>
                <a:lnTo>
                  <a:pt x="3512" y="438"/>
                </a:lnTo>
                <a:lnTo>
                  <a:pt x="3512" y="438"/>
                </a:lnTo>
                <a:lnTo>
                  <a:pt x="3496" y="424"/>
                </a:lnTo>
                <a:lnTo>
                  <a:pt x="3482" y="414"/>
                </a:lnTo>
                <a:lnTo>
                  <a:pt x="3466" y="404"/>
                </a:lnTo>
                <a:lnTo>
                  <a:pt x="3450" y="394"/>
                </a:lnTo>
                <a:lnTo>
                  <a:pt x="3432" y="388"/>
                </a:lnTo>
                <a:lnTo>
                  <a:pt x="3414" y="382"/>
                </a:lnTo>
                <a:lnTo>
                  <a:pt x="3396" y="378"/>
                </a:lnTo>
                <a:lnTo>
                  <a:pt x="3378" y="376"/>
                </a:lnTo>
                <a:lnTo>
                  <a:pt x="3360" y="374"/>
                </a:lnTo>
                <a:lnTo>
                  <a:pt x="3342" y="374"/>
                </a:lnTo>
                <a:lnTo>
                  <a:pt x="3324" y="376"/>
                </a:lnTo>
                <a:lnTo>
                  <a:pt x="3306" y="380"/>
                </a:lnTo>
                <a:lnTo>
                  <a:pt x="3288" y="386"/>
                </a:lnTo>
                <a:lnTo>
                  <a:pt x="3270" y="392"/>
                </a:lnTo>
                <a:lnTo>
                  <a:pt x="3252" y="400"/>
                </a:lnTo>
                <a:lnTo>
                  <a:pt x="3236" y="410"/>
                </a:lnTo>
                <a:lnTo>
                  <a:pt x="2946" y="604"/>
                </a:lnTo>
                <a:lnTo>
                  <a:pt x="2946" y="604"/>
                </a:lnTo>
                <a:lnTo>
                  <a:pt x="2894" y="580"/>
                </a:lnTo>
                <a:lnTo>
                  <a:pt x="2842" y="556"/>
                </a:lnTo>
                <a:lnTo>
                  <a:pt x="2790" y="536"/>
                </a:lnTo>
                <a:lnTo>
                  <a:pt x="2736" y="518"/>
                </a:lnTo>
                <a:lnTo>
                  <a:pt x="2668" y="174"/>
                </a:lnTo>
                <a:lnTo>
                  <a:pt x="2668" y="174"/>
                </a:lnTo>
                <a:lnTo>
                  <a:pt x="2662" y="156"/>
                </a:lnTo>
                <a:lnTo>
                  <a:pt x="2656" y="138"/>
                </a:lnTo>
                <a:lnTo>
                  <a:pt x="2648" y="122"/>
                </a:lnTo>
                <a:lnTo>
                  <a:pt x="2640" y="104"/>
                </a:lnTo>
                <a:lnTo>
                  <a:pt x="2630" y="90"/>
                </a:lnTo>
                <a:lnTo>
                  <a:pt x="2618" y="76"/>
                </a:lnTo>
                <a:lnTo>
                  <a:pt x="2606" y="62"/>
                </a:lnTo>
                <a:lnTo>
                  <a:pt x="2592" y="50"/>
                </a:lnTo>
                <a:lnTo>
                  <a:pt x="2576" y="38"/>
                </a:lnTo>
                <a:lnTo>
                  <a:pt x="2562" y="28"/>
                </a:lnTo>
                <a:lnTo>
                  <a:pt x="2544" y="20"/>
                </a:lnTo>
                <a:lnTo>
                  <a:pt x="2528" y="14"/>
                </a:lnTo>
                <a:lnTo>
                  <a:pt x="2510" y="8"/>
                </a:lnTo>
                <a:lnTo>
                  <a:pt x="2492" y="4"/>
                </a:lnTo>
                <a:lnTo>
                  <a:pt x="2472" y="0"/>
                </a:lnTo>
                <a:lnTo>
                  <a:pt x="2454" y="0"/>
                </a:lnTo>
                <a:lnTo>
                  <a:pt x="2246" y="0"/>
                </a:lnTo>
                <a:lnTo>
                  <a:pt x="2246" y="0"/>
                </a:lnTo>
                <a:lnTo>
                  <a:pt x="2226" y="0"/>
                </a:lnTo>
                <a:lnTo>
                  <a:pt x="2208" y="4"/>
                </a:lnTo>
                <a:lnTo>
                  <a:pt x="2190" y="8"/>
                </a:lnTo>
                <a:lnTo>
                  <a:pt x="2172" y="14"/>
                </a:lnTo>
                <a:lnTo>
                  <a:pt x="2154" y="20"/>
                </a:lnTo>
                <a:lnTo>
                  <a:pt x="2138" y="28"/>
                </a:lnTo>
                <a:lnTo>
                  <a:pt x="2122" y="38"/>
                </a:lnTo>
                <a:lnTo>
                  <a:pt x="2108" y="50"/>
                </a:lnTo>
                <a:lnTo>
                  <a:pt x="2094" y="62"/>
                </a:lnTo>
                <a:lnTo>
                  <a:pt x="2082" y="76"/>
                </a:lnTo>
                <a:lnTo>
                  <a:pt x="2070" y="90"/>
                </a:lnTo>
                <a:lnTo>
                  <a:pt x="2060" y="104"/>
                </a:lnTo>
                <a:lnTo>
                  <a:pt x="2050" y="122"/>
                </a:lnTo>
                <a:lnTo>
                  <a:pt x="2044" y="138"/>
                </a:lnTo>
                <a:lnTo>
                  <a:pt x="2038" y="156"/>
                </a:lnTo>
                <a:lnTo>
                  <a:pt x="2032" y="174"/>
                </a:lnTo>
                <a:lnTo>
                  <a:pt x="1964" y="518"/>
                </a:lnTo>
                <a:lnTo>
                  <a:pt x="1964" y="518"/>
                </a:lnTo>
                <a:lnTo>
                  <a:pt x="1910" y="536"/>
                </a:lnTo>
                <a:lnTo>
                  <a:pt x="1858" y="556"/>
                </a:lnTo>
                <a:lnTo>
                  <a:pt x="1806" y="580"/>
                </a:lnTo>
                <a:lnTo>
                  <a:pt x="1754" y="604"/>
                </a:lnTo>
                <a:lnTo>
                  <a:pt x="1464" y="410"/>
                </a:lnTo>
                <a:lnTo>
                  <a:pt x="1464" y="410"/>
                </a:lnTo>
                <a:lnTo>
                  <a:pt x="1446" y="400"/>
                </a:lnTo>
                <a:lnTo>
                  <a:pt x="1430" y="392"/>
                </a:lnTo>
                <a:lnTo>
                  <a:pt x="1412" y="386"/>
                </a:lnTo>
                <a:lnTo>
                  <a:pt x="1394" y="380"/>
                </a:lnTo>
                <a:lnTo>
                  <a:pt x="1376" y="376"/>
                </a:lnTo>
                <a:lnTo>
                  <a:pt x="1358" y="374"/>
                </a:lnTo>
                <a:lnTo>
                  <a:pt x="1340" y="374"/>
                </a:lnTo>
                <a:lnTo>
                  <a:pt x="1320" y="376"/>
                </a:lnTo>
                <a:lnTo>
                  <a:pt x="1302" y="378"/>
                </a:lnTo>
                <a:lnTo>
                  <a:pt x="1284" y="382"/>
                </a:lnTo>
                <a:lnTo>
                  <a:pt x="1268" y="388"/>
                </a:lnTo>
                <a:lnTo>
                  <a:pt x="1250" y="394"/>
                </a:lnTo>
                <a:lnTo>
                  <a:pt x="1234" y="404"/>
                </a:lnTo>
                <a:lnTo>
                  <a:pt x="1218" y="414"/>
                </a:lnTo>
                <a:lnTo>
                  <a:pt x="1202" y="424"/>
                </a:lnTo>
                <a:lnTo>
                  <a:pt x="1188" y="438"/>
                </a:lnTo>
                <a:lnTo>
                  <a:pt x="1042" y="584"/>
                </a:lnTo>
                <a:lnTo>
                  <a:pt x="1042" y="584"/>
                </a:lnTo>
                <a:lnTo>
                  <a:pt x="1028" y="600"/>
                </a:lnTo>
                <a:lnTo>
                  <a:pt x="1018" y="614"/>
                </a:lnTo>
                <a:lnTo>
                  <a:pt x="1006" y="630"/>
                </a:lnTo>
                <a:lnTo>
                  <a:pt x="998" y="646"/>
                </a:lnTo>
                <a:lnTo>
                  <a:pt x="992" y="664"/>
                </a:lnTo>
                <a:lnTo>
                  <a:pt x="986" y="682"/>
                </a:lnTo>
                <a:lnTo>
                  <a:pt x="982" y="700"/>
                </a:lnTo>
                <a:lnTo>
                  <a:pt x="980" y="718"/>
                </a:lnTo>
                <a:lnTo>
                  <a:pt x="978" y="736"/>
                </a:lnTo>
                <a:lnTo>
                  <a:pt x="978" y="754"/>
                </a:lnTo>
                <a:lnTo>
                  <a:pt x="980" y="772"/>
                </a:lnTo>
                <a:lnTo>
                  <a:pt x="984" y="790"/>
                </a:lnTo>
                <a:lnTo>
                  <a:pt x="990" y="808"/>
                </a:lnTo>
                <a:lnTo>
                  <a:pt x="996" y="826"/>
                </a:lnTo>
                <a:lnTo>
                  <a:pt x="1004" y="844"/>
                </a:lnTo>
                <a:lnTo>
                  <a:pt x="1014" y="860"/>
                </a:lnTo>
                <a:lnTo>
                  <a:pt x="1208" y="1150"/>
                </a:lnTo>
                <a:lnTo>
                  <a:pt x="1208" y="1150"/>
                </a:lnTo>
                <a:lnTo>
                  <a:pt x="1184" y="1202"/>
                </a:lnTo>
                <a:lnTo>
                  <a:pt x="1160" y="1254"/>
                </a:lnTo>
                <a:lnTo>
                  <a:pt x="1140" y="1306"/>
                </a:lnTo>
                <a:lnTo>
                  <a:pt x="1122" y="1360"/>
                </a:lnTo>
                <a:lnTo>
                  <a:pt x="778" y="1428"/>
                </a:lnTo>
                <a:lnTo>
                  <a:pt x="778" y="1428"/>
                </a:lnTo>
                <a:lnTo>
                  <a:pt x="760" y="1434"/>
                </a:lnTo>
                <a:lnTo>
                  <a:pt x="742" y="1440"/>
                </a:lnTo>
                <a:lnTo>
                  <a:pt x="724" y="1448"/>
                </a:lnTo>
                <a:lnTo>
                  <a:pt x="708" y="1456"/>
                </a:lnTo>
                <a:lnTo>
                  <a:pt x="694" y="1466"/>
                </a:lnTo>
                <a:lnTo>
                  <a:pt x="678" y="1478"/>
                </a:lnTo>
                <a:lnTo>
                  <a:pt x="666" y="1490"/>
                </a:lnTo>
                <a:lnTo>
                  <a:pt x="654" y="1504"/>
                </a:lnTo>
                <a:lnTo>
                  <a:pt x="642" y="1520"/>
                </a:lnTo>
                <a:lnTo>
                  <a:pt x="632" y="1534"/>
                </a:lnTo>
                <a:lnTo>
                  <a:pt x="624" y="1552"/>
                </a:lnTo>
                <a:lnTo>
                  <a:pt x="616" y="1568"/>
                </a:lnTo>
                <a:lnTo>
                  <a:pt x="612" y="1586"/>
                </a:lnTo>
                <a:lnTo>
                  <a:pt x="606" y="1604"/>
                </a:lnTo>
                <a:lnTo>
                  <a:pt x="604" y="1624"/>
                </a:lnTo>
                <a:lnTo>
                  <a:pt x="604" y="1642"/>
                </a:lnTo>
                <a:lnTo>
                  <a:pt x="604" y="1850"/>
                </a:lnTo>
                <a:lnTo>
                  <a:pt x="604" y="1850"/>
                </a:lnTo>
                <a:lnTo>
                  <a:pt x="604" y="1870"/>
                </a:lnTo>
                <a:lnTo>
                  <a:pt x="606" y="1888"/>
                </a:lnTo>
                <a:lnTo>
                  <a:pt x="612" y="1906"/>
                </a:lnTo>
                <a:lnTo>
                  <a:pt x="616" y="1924"/>
                </a:lnTo>
                <a:lnTo>
                  <a:pt x="624" y="1942"/>
                </a:lnTo>
                <a:lnTo>
                  <a:pt x="632" y="1958"/>
                </a:lnTo>
                <a:lnTo>
                  <a:pt x="642" y="1974"/>
                </a:lnTo>
                <a:lnTo>
                  <a:pt x="654" y="1988"/>
                </a:lnTo>
                <a:lnTo>
                  <a:pt x="666" y="2002"/>
                </a:lnTo>
                <a:lnTo>
                  <a:pt x="678" y="2014"/>
                </a:lnTo>
                <a:lnTo>
                  <a:pt x="694" y="2026"/>
                </a:lnTo>
                <a:lnTo>
                  <a:pt x="708" y="2036"/>
                </a:lnTo>
                <a:lnTo>
                  <a:pt x="724" y="2046"/>
                </a:lnTo>
                <a:lnTo>
                  <a:pt x="742" y="2052"/>
                </a:lnTo>
                <a:lnTo>
                  <a:pt x="760" y="2058"/>
                </a:lnTo>
                <a:lnTo>
                  <a:pt x="778" y="2064"/>
                </a:lnTo>
                <a:lnTo>
                  <a:pt x="1000" y="2108"/>
                </a:lnTo>
                <a:lnTo>
                  <a:pt x="1000" y="2108"/>
                </a:lnTo>
                <a:lnTo>
                  <a:pt x="1014" y="2110"/>
                </a:lnTo>
                <a:lnTo>
                  <a:pt x="1026" y="2108"/>
                </a:lnTo>
                <a:lnTo>
                  <a:pt x="1038" y="2104"/>
                </a:lnTo>
                <a:lnTo>
                  <a:pt x="1050" y="2098"/>
                </a:lnTo>
                <a:lnTo>
                  <a:pt x="1058" y="2090"/>
                </a:lnTo>
                <a:lnTo>
                  <a:pt x="1066" y="2080"/>
                </a:lnTo>
                <a:lnTo>
                  <a:pt x="1072" y="2070"/>
                </a:lnTo>
                <a:lnTo>
                  <a:pt x="1076" y="2058"/>
                </a:lnTo>
                <a:lnTo>
                  <a:pt x="1076" y="2058"/>
                </a:lnTo>
                <a:lnTo>
                  <a:pt x="1078" y="2044"/>
                </a:lnTo>
                <a:lnTo>
                  <a:pt x="1076" y="2032"/>
                </a:lnTo>
                <a:lnTo>
                  <a:pt x="1072" y="2020"/>
                </a:lnTo>
                <a:lnTo>
                  <a:pt x="1068" y="2008"/>
                </a:lnTo>
                <a:lnTo>
                  <a:pt x="1060" y="1998"/>
                </a:lnTo>
                <a:lnTo>
                  <a:pt x="1050" y="1990"/>
                </a:lnTo>
                <a:lnTo>
                  <a:pt x="1038" y="1984"/>
                </a:lnTo>
                <a:lnTo>
                  <a:pt x="1026" y="1982"/>
                </a:lnTo>
                <a:lnTo>
                  <a:pt x="804" y="1936"/>
                </a:lnTo>
                <a:lnTo>
                  <a:pt x="804" y="1936"/>
                </a:lnTo>
                <a:lnTo>
                  <a:pt x="790" y="1932"/>
                </a:lnTo>
                <a:lnTo>
                  <a:pt x="776" y="1926"/>
                </a:lnTo>
                <a:lnTo>
                  <a:pt x="764" y="1916"/>
                </a:lnTo>
                <a:lnTo>
                  <a:pt x="754" y="1906"/>
                </a:lnTo>
                <a:lnTo>
                  <a:pt x="744" y="1894"/>
                </a:lnTo>
                <a:lnTo>
                  <a:pt x="738" y="1880"/>
                </a:lnTo>
                <a:lnTo>
                  <a:pt x="734" y="1866"/>
                </a:lnTo>
                <a:lnTo>
                  <a:pt x="732" y="1850"/>
                </a:lnTo>
                <a:lnTo>
                  <a:pt x="732" y="1642"/>
                </a:lnTo>
                <a:lnTo>
                  <a:pt x="732" y="1642"/>
                </a:lnTo>
                <a:lnTo>
                  <a:pt x="734" y="1626"/>
                </a:lnTo>
                <a:lnTo>
                  <a:pt x="738" y="1612"/>
                </a:lnTo>
                <a:lnTo>
                  <a:pt x="744" y="1598"/>
                </a:lnTo>
                <a:lnTo>
                  <a:pt x="754" y="1586"/>
                </a:lnTo>
                <a:lnTo>
                  <a:pt x="764" y="1576"/>
                </a:lnTo>
                <a:lnTo>
                  <a:pt x="776" y="1566"/>
                </a:lnTo>
                <a:lnTo>
                  <a:pt x="790" y="1560"/>
                </a:lnTo>
                <a:lnTo>
                  <a:pt x="804" y="1556"/>
                </a:lnTo>
                <a:lnTo>
                  <a:pt x="1186" y="1480"/>
                </a:lnTo>
                <a:lnTo>
                  <a:pt x="1186" y="1480"/>
                </a:lnTo>
                <a:lnTo>
                  <a:pt x="1194" y="1478"/>
                </a:lnTo>
                <a:lnTo>
                  <a:pt x="1202" y="1474"/>
                </a:lnTo>
                <a:lnTo>
                  <a:pt x="1210" y="1470"/>
                </a:lnTo>
                <a:lnTo>
                  <a:pt x="1216" y="1464"/>
                </a:lnTo>
                <a:lnTo>
                  <a:pt x="1222" y="1458"/>
                </a:lnTo>
                <a:lnTo>
                  <a:pt x="1228" y="1450"/>
                </a:lnTo>
                <a:lnTo>
                  <a:pt x="1232" y="1442"/>
                </a:lnTo>
                <a:lnTo>
                  <a:pt x="1234" y="1434"/>
                </a:lnTo>
                <a:lnTo>
                  <a:pt x="1234" y="1434"/>
                </a:lnTo>
                <a:lnTo>
                  <a:pt x="1256" y="1368"/>
                </a:lnTo>
                <a:lnTo>
                  <a:pt x="1280" y="1302"/>
                </a:lnTo>
                <a:lnTo>
                  <a:pt x="1308" y="1240"/>
                </a:lnTo>
                <a:lnTo>
                  <a:pt x="1340" y="1178"/>
                </a:lnTo>
                <a:lnTo>
                  <a:pt x="1340" y="1178"/>
                </a:lnTo>
                <a:lnTo>
                  <a:pt x="1344" y="1170"/>
                </a:lnTo>
                <a:lnTo>
                  <a:pt x="1346" y="1162"/>
                </a:lnTo>
                <a:lnTo>
                  <a:pt x="1348" y="1154"/>
                </a:lnTo>
                <a:lnTo>
                  <a:pt x="1348" y="1144"/>
                </a:lnTo>
                <a:lnTo>
                  <a:pt x="1348" y="1136"/>
                </a:lnTo>
                <a:lnTo>
                  <a:pt x="1346" y="1128"/>
                </a:lnTo>
                <a:lnTo>
                  <a:pt x="1342" y="1120"/>
                </a:lnTo>
                <a:lnTo>
                  <a:pt x="1338" y="1112"/>
                </a:lnTo>
                <a:lnTo>
                  <a:pt x="1122" y="788"/>
                </a:lnTo>
                <a:lnTo>
                  <a:pt x="1122" y="788"/>
                </a:lnTo>
                <a:lnTo>
                  <a:pt x="1114" y="774"/>
                </a:lnTo>
                <a:lnTo>
                  <a:pt x="1110" y="760"/>
                </a:lnTo>
                <a:lnTo>
                  <a:pt x="1108" y="744"/>
                </a:lnTo>
                <a:lnTo>
                  <a:pt x="1108" y="730"/>
                </a:lnTo>
                <a:lnTo>
                  <a:pt x="1110" y="716"/>
                </a:lnTo>
                <a:lnTo>
                  <a:pt x="1116" y="702"/>
                </a:lnTo>
                <a:lnTo>
                  <a:pt x="1124" y="688"/>
                </a:lnTo>
                <a:lnTo>
                  <a:pt x="1134" y="676"/>
                </a:lnTo>
                <a:lnTo>
                  <a:pt x="1280" y="530"/>
                </a:lnTo>
                <a:lnTo>
                  <a:pt x="1280" y="530"/>
                </a:lnTo>
                <a:lnTo>
                  <a:pt x="1292" y="520"/>
                </a:lnTo>
                <a:lnTo>
                  <a:pt x="1306" y="512"/>
                </a:lnTo>
                <a:lnTo>
                  <a:pt x="1320" y="506"/>
                </a:lnTo>
                <a:lnTo>
                  <a:pt x="1334" y="504"/>
                </a:lnTo>
                <a:lnTo>
                  <a:pt x="1348" y="504"/>
                </a:lnTo>
                <a:lnTo>
                  <a:pt x="1364" y="506"/>
                </a:lnTo>
                <a:lnTo>
                  <a:pt x="1378" y="510"/>
                </a:lnTo>
                <a:lnTo>
                  <a:pt x="1392" y="518"/>
                </a:lnTo>
                <a:lnTo>
                  <a:pt x="1714" y="734"/>
                </a:lnTo>
                <a:lnTo>
                  <a:pt x="1714" y="734"/>
                </a:lnTo>
                <a:lnTo>
                  <a:pt x="1722" y="738"/>
                </a:lnTo>
                <a:lnTo>
                  <a:pt x="1730" y="742"/>
                </a:lnTo>
                <a:lnTo>
                  <a:pt x="1740" y="744"/>
                </a:lnTo>
                <a:lnTo>
                  <a:pt x="1748" y="744"/>
                </a:lnTo>
                <a:lnTo>
                  <a:pt x="1758" y="744"/>
                </a:lnTo>
                <a:lnTo>
                  <a:pt x="1766" y="744"/>
                </a:lnTo>
                <a:lnTo>
                  <a:pt x="1774" y="740"/>
                </a:lnTo>
                <a:lnTo>
                  <a:pt x="1782" y="736"/>
                </a:lnTo>
                <a:lnTo>
                  <a:pt x="1782" y="736"/>
                </a:lnTo>
                <a:lnTo>
                  <a:pt x="1844" y="704"/>
                </a:lnTo>
                <a:lnTo>
                  <a:pt x="1906" y="676"/>
                </a:lnTo>
                <a:lnTo>
                  <a:pt x="1972" y="652"/>
                </a:lnTo>
                <a:lnTo>
                  <a:pt x="2038" y="632"/>
                </a:lnTo>
                <a:lnTo>
                  <a:pt x="2038" y="632"/>
                </a:lnTo>
                <a:lnTo>
                  <a:pt x="2046" y="628"/>
                </a:lnTo>
                <a:lnTo>
                  <a:pt x="2054" y="624"/>
                </a:lnTo>
                <a:lnTo>
                  <a:pt x="2060" y="618"/>
                </a:lnTo>
                <a:lnTo>
                  <a:pt x="2068" y="612"/>
                </a:lnTo>
                <a:lnTo>
                  <a:pt x="2072" y="606"/>
                </a:lnTo>
                <a:lnTo>
                  <a:pt x="2078" y="598"/>
                </a:lnTo>
                <a:lnTo>
                  <a:pt x="2080" y="590"/>
                </a:lnTo>
                <a:lnTo>
                  <a:pt x="2084" y="582"/>
                </a:lnTo>
                <a:lnTo>
                  <a:pt x="2160" y="200"/>
                </a:lnTo>
                <a:lnTo>
                  <a:pt x="2160" y="200"/>
                </a:lnTo>
                <a:lnTo>
                  <a:pt x="2164" y="186"/>
                </a:lnTo>
                <a:lnTo>
                  <a:pt x="2170" y="172"/>
                </a:lnTo>
                <a:lnTo>
                  <a:pt x="2180" y="160"/>
                </a:lnTo>
                <a:lnTo>
                  <a:pt x="2190" y="150"/>
                </a:lnTo>
                <a:lnTo>
                  <a:pt x="2202" y="140"/>
                </a:lnTo>
                <a:lnTo>
                  <a:pt x="2216" y="134"/>
                </a:lnTo>
                <a:lnTo>
                  <a:pt x="2230" y="130"/>
                </a:lnTo>
                <a:lnTo>
                  <a:pt x="2246" y="130"/>
                </a:lnTo>
                <a:lnTo>
                  <a:pt x="2454" y="130"/>
                </a:lnTo>
                <a:lnTo>
                  <a:pt x="2454" y="130"/>
                </a:lnTo>
                <a:lnTo>
                  <a:pt x="2470" y="130"/>
                </a:lnTo>
                <a:lnTo>
                  <a:pt x="2484" y="134"/>
                </a:lnTo>
                <a:lnTo>
                  <a:pt x="2498" y="140"/>
                </a:lnTo>
                <a:lnTo>
                  <a:pt x="2510" y="150"/>
                </a:lnTo>
                <a:lnTo>
                  <a:pt x="2520" y="160"/>
                </a:lnTo>
                <a:lnTo>
                  <a:pt x="2530" y="172"/>
                </a:lnTo>
                <a:lnTo>
                  <a:pt x="2536" y="186"/>
                </a:lnTo>
                <a:lnTo>
                  <a:pt x="2540" y="200"/>
                </a:lnTo>
                <a:lnTo>
                  <a:pt x="2616" y="582"/>
                </a:lnTo>
                <a:lnTo>
                  <a:pt x="2616" y="582"/>
                </a:lnTo>
                <a:lnTo>
                  <a:pt x="2618" y="590"/>
                </a:lnTo>
                <a:lnTo>
                  <a:pt x="2622" y="598"/>
                </a:lnTo>
                <a:lnTo>
                  <a:pt x="2626" y="606"/>
                </a:lnTo>
                <a:lnTo>
                  <a:pt x="2632" y="612"/>
                </a:lnTo>
                <a:lnTo>
                  <a:pt x="2638" y="618"/>
                </a:lnTo>
                <a:lnTo>
                  <a:pt x="2646" y="624"/>
                </a:lnTo>
                <a:lnTo>
                  <a:pt x="2654" y="628"/>
                </a:lnTo>
                <a:lnTo>
                  <a:pt x="2662" y="632"/>
                </a:lnTo>
                <a:lnTo>
                  <a:pt x="2662" y="632"/>
                </a:lnTo>
                <a:lnTo>
                  <a:pt x="2728" y="652"/>
                </a:lnTo>
                <a:lnTo>
                  <a:pt x="2794" y="676"/>
                </a:lnTo>
                <a:lnTo>
                  <a:pt x="2856" y="704"/>
                </a:lnTo>
                <a:lnTo>
                  <a:pt x="2918" y="736"/>
                </a:lnTo>
                <a:lnTo>
                  <a:pt x="2918" y="736"/>
                </a:lnTo>
                <a:lnTo>
                  <a:pt x="2926" y="740"/>
                </a:lnTo>
                <a:lnTo>
                  <a:pt x="2934" y="744"/>
                </a:lnTo>
                <a:lnTo>
                  <a:pt x="2942" y="744"/>
                </a:lnTo>
                <a:lnTo>
                  <a:pt x="2952" y="744"/>
                </a:lnTo>
                <a:lnTo>
                  <a:pt x="2960" y="744"/>
                </a:lnTo>
                <a:lnTo>
                  <a:pt x="2968" y="742"/>
                </a:lnTo>
                <a:lnTo>
                  <a:pt x="2976" y="738"/>
                </a:lnTo>
                <a:lnTo>
                  <a:pt x="2984" y="734"/>
                </a:lnTo>
                <a:lnTo>
                  <a:pt x="3308" y="518"/>
                </a:lnTo>
                <a:lnTo>
                  <a:pt x="3308" y="518"/>
                </a:lnTo>
                <a:lnTo>
                  <a:pt x="3322" y="510"/>
                </a:lnTo>
                <a:lnTo>
                  <a:pt x="3336" y="506"/>
                </a:lnTo>
                <a:lnTo>
                  <a:pt x="3352" y="504"/>
                </a:lnTo>
                <a:lnTo>
                  <a:pt x="3366" y="504"/>
                </a:lnTo>
                <a:lnTo>
                  <a:pt x="3380" y="506"/>
                </a:lnTo>
                <a:lnTo>
                  <a:pt x="3394" y="512"/>
                </a:lnTo>
                <a:lnTo>
                  <a:pt x="3408" y="520"/>
                </a:lnTo>
                <a:lnTo>
                  <a:pt x="3420" y="530"/>
                </a:lnTo>
                <a:lnTo>
                  <a:pt x="3566" y="676"/>
                </a:lnTo>
                <a:lnTo>
                  <a:pt x="3566" y="676"/>
                </a:lnTo>
                <a:lnTo>
                  <a:pt x="3576" y="688"/>
                </a:lnTo>
                <a:lnTo>
                  <a:pt x="3584" y="702"/>
                </a:lnTo>
                <a:lnTo>
                  <a:pt x="3590" y="716"/>
                </a:lnTo>
                <a:lnTo>
                  <a:pt x="3592" y="730"/>
                </a:lnTo>
                <a:lnTo>
                  <a:pt x="3592" y="744"/>
                </a:lnTo>
                <a:lnTo>
                  <a:pt x="3590" y="760"/>
                </a:lnTo>
                <a:lnTo>
                  <a:pt x="3586" y="774"/>
                </a:lnTo>
                <a:lnTo>
                  <a:pt x="3578" y="788"/>
                </a:lnTo>
                <a:lnTo>
                  <a:pt x="3362" y="1112"/>
                </a:lnTo>
                <a:lnTo>
                  <a:pt x="3362" y="1112"/>
                </a:lnTo>
                <a:lnTo>
                  <a:pt x="3358" y="1120"/>
                </a:lnTo>
                <a:lnTo>
                  <a:pt x="3354" y="1128"/>
                </a:lnTo>
                <a:lnTo>
                  <a:pt x="3352" y="1136"/>
                </a:lnTo>
                <a:lnTo>
                  <a:pt x="3352" y="1144"/>
                </a:lnTo>
                <a:lnTo>
                  <a:pt x="3352" y="1154"/>
                </a:lnTo>
                <a:lnTo>
                  <a:pt x="3352" y="1162"/>
                </a:lnTo>
                <a:lnTo>
                  <a:pt x="3356" y="1170"/>
                </a:lnTo>
                <a:lnTo>
                  <a:pt x="3360" y="1178"/>
                </a:lnTo>
                <a:lnTo>
                  <a:pt x="3360" y="1178"/>
                </a:lnTo>
                <a:lnTo>
                  <a:pt x="3392" y="1240"/>
                </a:lnTo>
                <a:lnTo>
                  <a:pt x="3420" y="1302"/>
                </a:lnTo>
                <a:lnTo>
                  <a:pt x="3444" y="1368"/>
                </a:lnTo>
                <a:lnTo>
                  <a:pt x="3466" y="1434"/>
                </a:lnTo>
                <a:lnTo>
                  <a:pt x="3466" y="1434"/>
                </a:lnTo>
                <a:lnTo>
                  <a:pt x="3468" y="1442"/>
                </a:lnTo>
                <a:lnTo>
                  <a:pt x="3472" y="1450"/>
                </a:lnTo>
                <a:lnTo>
                  <a:pt x="3478" y="1458"/>
                </a:lnTo>
                <a:lnTo>
                  <a:pt x="3484" y="1464"/>
                </a:lnTo>
                <a:lnTo>
                  <a:pt x="3490" y="1470"/>
                </a:lnTo>
                <a:lnTo>
                  <a:pt x="3498" y="1474"/>
                </a:lnTo>
                <a:lnTo>
                  <a:pt x="3506" y="1478"/>
                </a:lnTo>
                <a:lnTo>
                  <a:pt x="3514" y="1480"/>
                </a:lnTo>
                <a:lnTo>
                  <a:pt x="3896" y="1556"/>
                </a:lnTo>
                <a:lnTo>
                  <a:pt x="3896" y="1556"/>
                </a:lnTo>
                <a:lnTo>
                  <a:pt x="3910" y="1560"/>
                </a:lnTo>
                <a:lnTo>
                  <a:pt x="3924" y="1566"/>
                </a:lnTo>
                <a:lnTo>
                  <a:pt x="3936" y="1576"/>
                </a:lnTo>
                <a:lnTo>
                  <a:pt x="3946" y="1586"/>
                </a:lnTo>
                <a:lnTo>
                  <a:pt x="3956" y="1598"/>
                </a:lnTo>
                <a:lnTo>
                  <a:pt x="3962" y="1612"/>
                </a:lnTo>
                <a:lnTo>
                  <a:pt x="3966" y="1626"/>
                </a:lnTo>
                <a:lnTo>
                  <a:pt x="3966" y="1642"/>
                </a:lnTo>
                <a:lnTo>
                  <a:pt x="3966" y="1850"/>
                </a:lnTo>
                <a:lnTo>
                  <a:pt x="3966" y="1850"/>
                </a:lnTo>
                <a:lnTo>
                  <a:pt x="3966" y="1866"/>
                </a:lnTo>
                <a:lnTo>
                  <a:pt x="3962" y="1880"/>
                </a:lnTo>
                <a:lnTo>
                  <a:pt x="3956" y="1894"/>
                </a:lnTo>
                <a:lnTo>
                  <a:pt x="3946" y="1906"/>
                </a:lnTo>
                <a:lnTo>
                  <a:pt x="3936" y="1916"/>
                </a:lnTo>
                <a:lnTo>
                  <a:pt x="3924" y="1926"/>
                </a:lnTo>
                <a:lnTo>
                  <a:pt x="3910" y="1932"/>
                </a:lnTo>
                <a:lnTo>
                  <a:pt x="3896" y="1936"/>
                </a:lnTo>
                <a:lnTo>
                  <a:pt x="3514" y="2012"/>
                </a:lnTo>
                <a:lnTo>
                  <a:pt x="3514" y="2012"/>
                </a:lnTo>
                <a:lnTo>
                  <a:pt x="3506" y="2016"/>
                </a:lnTo>
                <a:lnTo>
                  <a:pt x="3498" y="2018"/>
                </a:lnTo>
                <a:lnTo>
                  <a:pt x="3490" y="2024"/>
                </a:lnTo>
                <a:lnTo>
                  <a:pt x="3484" y="2028"/>
                </a:lnTo>
                <a:lnTo>
                  <a:pt x="3478" y="2036"/>
                </a:lnTo>
                <a:lnTo>
                  <a:pt x="3472" y="2042"/>
                </a:lnTo>
                <a:lnTo>
                  <a:pt x="3468" y="2050"/>
                </a:lnTo>
                <a:lnTo>
                  <a:pt x="3466" y="2058"/>
                </a:lnTo>
                <a:lnTo>
                  <a:pt x="3466" y="2058"/>
                </a:lnTo>
                <a:lnTo>
                  <a:pt x="3444" y="2124"/>
                </a:lnTo>
                <a:lnTo>
                  <a:pt x="3420" y="2190"/>
                </a:lnTo>
                <a:lnTo>
                  <a:pt x="3392" y="2252"/>
                </a:lnTo>
                <a:lnTo>
                  <a:pt x="3360" y="2314"/>
                </a:lnTo>
                <a:lnTo>
                  <a:pt x="3360" y="2314"/>
                </a:lnTo>
                <a:lnTo>
                  <a:pt x="3356" y="2322"/>
                </a:lnTo>
                <a:lnTo>
                  <a:pt x="3352" y="2330"/>
                </a:lnTo>
                <a:lnTo>
                  <a:pt x="3352" y="2338"/>
                </a:lnTo>
                <a:lnTo>
                  <a:pt x="3352" y="2348"/>
                </a:lnTo>
                <a:lnTo>
                  <a:pt x="3352" y="2356"/>
                </a:lnTo>
                <a:lnTo>
                  <a:pt x="3354" y="2366"/>
                </a:lnTo>
                <a:lnTo>
                  <a:pt x="3358" y="2374"/>
                </a:lnTo>
                <a:lnTo>
                  <a:pt x="3362" y="2382"/>
                </a:lnTo>
                <a:lnTo>
                  <a:pt x="3578" y="2704"/>
                </a:lnTo>
                <a:lnTo>
                  <a:pt x="3578" y="2704"/>
                </a:lnTo>
                <a:lnTo>
                  <a:pt x="3586" y="2718"/>
                </a:lnTo>
                <a:lnTo>
                  <a:pt x="3590" y="2732"/>
                </a:lnTo>
                <a:lnTo>
                  <a:pt x="3592" y="2748"/>
                </a:lnTo>
                <a:lnTo>
                  <a:pt x="3592" y="2762"/>
                </a:lnTo>
                <a:lnTo>
                  <a:pt x="3590" y="2776"/>
                </a:lnTo>
                <a:lnTo>
                  <a:pt x="3584" y="2790"/>
                </a:lnTo>
                <a:lnTo>
                  <a:pt x="3576" y="2804"/>
                </a:lnTo>
                <a:lnTo>
                  <a:pt x="3566" y="2816"/>
                </a:lnTo>
                <a:lnTo>
                  <a:pt x="3420" y="2962"/>
                </a:lnTo>
                <a:lnTo>
                  <a:pt x="3420" y="2962"/>
                </a:lnTo>
                <a:lnTo>
                  <a:pt x="3408" y="2972"/>
                </a:lnTo>
                <a:lnTo>
                  <a:pt x="3394" y="2980"/>
                </a:lnTo>
                <a:lnTo>
                  <a:pt x="3380" y="2986"/>
                </a:lnTo>
                <a:lnTo>
                  <a:pt x="3366" y="2988"/>
                </a:lnTo>
                <a:lnTo>
                  <a:pt x="3352" y="2988"/>
                </a:lnTo>
                <a:lnTo>
                  <a:pt x="3336" y="2986"/>
                </a:lnTo>
                <a:lnTo>
                  <a:pt x="3322" y="2982"/>
                </a:lnTo>
                <a:lnTo>
                  <a:pt x="3308" y="2974"/>
                </a:lnTo>
                <a:lnTo>
                  <a:pt x="2984" y="2758"/>
                </a:lnTo>
                <a:lnTo>
                  <a:pt x="2984" y="2758"/>
                </a:lnTo>
                <a:lnTo>
                  <a:pt x="2974" y="2752"/>
                </a:lnTo>
                <a:lnTo>
                  <a:pt x="2962" y="2748"/>
                </a:lnTo>
                <a:lnTo>
                  <a:pt x="2948" y="2748"/>
                </a:lnTo>
                <a:lnTo>
                  <a:pt x="2936" y="2748"/>
                </a:lnTo>
                <a:lnTo>
                  <a:pt x="2924" y="2752"/>
                </a:lnTo>
                <a:lnTo>
                  <a:pt x="2914" y="2758"/>
                </a:lnTo>
                <a:lnTo>
                  <a:pt x="2904" y="2766"/>
                </a:lnTo>
                <a:lnTo>
                  <a:pt x="2896" y="2776"/>
                </a:lnTo>
                <a:lnTo>
                  <a:pt x="2896" y="2776"/>
                </a:lnTo>
                <a:lnTo>
                  <a:pt x="2890" y="2788"/>
                </a:lnTo>
                <a:lnTo>
                  <a:pt x="2886" y="2800"/>
                </a:lnTo>
                <a:lnTo>
                  <a:pt x="2884" y="2812"/>
                </a:lnTo>
                <a:lnTo>
                  <a:pt x="2886" y="2824"/>
                </a:lnTo>
                <a:lnTo>
                  <a:pt x="2890" y="2836"/>
                </a:lnTo>
                <a:lnTo>
                  <a:pt x="2894" y="2848"/>
                </a:lnTo>
                <a:lnTo>
                  <a:pt x="2902" y="2858"/>
                </a:lnTo>
                <a:lnTo>
                  <a:pt x="2914" y="2866"/>
                </a:lnTo>
                <a:lnTo>
                  <a:pt x="3236" y="3082"/>
                </a:lnTo>
                <a:lnTo>
                  <a:pt x="3236" y="3082"/>
                </a:lnTo>
                <a:lnTo>
                  <a:pt x="3250" y="3090"/>
                </a:lnTo>
                <a:lnTo>
                  <a:pt x="3264" y="3098"/>
                </a:lnTo>
                <a:lnTo>
                  <a:pt x="3294" y="3108"/>
                </a:lnTo>
                <a:lnTo>
                  <a:pt x="3326" y="3116"/>
                </a:lnTo>
                <a:lnTo>
                  <a:pt x="3356" y="3118"/>
                </a:lnTo>
                <a:lnTo>
                  <a:pt x="3356" y="3118"/>
                </a:lnTo>
                <a:lnTo>
                  <a:pt x="3378" y="3118"/>
                </a:lnTo>
                <a:lnTo>
                  <a:pt x="3398" y="3114"/>
                </a:lnTo>
                <a:lnTo>
                  <a:pt x="3420" y="3108"/>
                </a:lnTo>
                <a:lnTo>
                  <a:pt x="3440" y="3102"/>
                </a:lnTo>
                <a:lnTo>
                  <a:pt x="3458" y="3092"/>
                </a:lnTo>
                <a:lnTo>
                  <a:pt x="3478" y="3082"/>
                </a:lnTo>
                <a:lnTo>
                  <a:pt x="3494" y="3070"/>
                </a:lnTo>
                <a:lnTo>
                  <a:pt x="3512" y="3054"/>
                </a:lnTo>
                <a:lnTo>
                  <a:pt x="3658" y="2908"/>
                </a:lnTo>
                <a:lnTo>
                  <a:pt x="3658" y="2908"/>
                </a:lnTo>
                <a:lnTo>
                  <a:pt x="3672" y="2894"/>
                </a:lnTo>
                <a:lnTo>
                  <a:pt x="3682" y="2878"/>
                </a:lnTo>
                <a:lnTo>
                  <a:pt x="3692" y="2862"/>
                </a:lnTo>
                <a:lnTo>
                  <a:pt x="3702" y="2846"/>
                </a:lnTo>
                <a:lnTo>
                  <a:pt x="3708" y="2828"/>
                </a:lnTo>
                <a:lnTo>
                  <a:pt x="3714" y="2812"/>
                </a:lnTo>
                <a:lnTo>
                  <a:pt x="3718" y="2794"/>
                </a:lnTo>
                <a:lnTo>
                  <a:pt x="3720" y="2776"/>
                </a:lnTo>
                <a:lnTo>
                  <a:pt x="3722" y="2756"/>
                </a:lnTo>
                <a:lnTo>
                  <a:pt x="3722" y="2738"/>
                </a:lnTo>
                <a:lnTo>
                  <a:pt x="3720" y="2720"/>
                </a:lnTo>
                <a:lnTo>
                  <a:pt x="3716" y="2702"/>
                </a:lnTo>
                <a:lnTo>
                  <a:pt x="3710" y="2684"/>
                </a:lnTo>
                <a:lnTo>
                  <a:pt x="3704" y="2666"/>
                </a:lnTo>
                <a:lnTo>
                  <a:pt x="3696" y="2650"/>
                </a:lnTo>
                <a:lnTo>
                  <a:pt x="3686" y="2632"/>
                </a:lnTo>
                <a:lnTo>
                  <a:pt x="3492" y="2342"/>
                </a:lnTo>
                <a:lnTo>
                  <a:pt x="3492" y="2342"/>
                </a:lnTo>
                <a:lnTo>
                  <a:pt x="3516" y="2290"/>
                </a:lnTo>
                <a:lnTo>
                  <a:pt x="3540" y="2238"/>
                </a:lnTo>
                <a:lnTo>
                  <a:pt x="3560" y="2186"/>
                </a:lnTo>
                <a:lnTo>
                  <a:pt x="3578" y="2132"/>
                </a:lnTo>
                <a:lnTo>
                  <a:pt x="3922" y="2064"/>
                </a:lnTo>
                <a:lnTo>
                  <a:pt x="3922" y="2064"/>
                </a:lnTo>
                <a:lnTo>
                  <a:pt x="3940" y="2058"/>
                </a:lnTo>
                <a:lnTo>
                  <a:pt x="3958" y="2052"/>
                </a:lnTo>
                <a:lnTo>
                  <a:pt x="3974" y="2046"/>
                </a:lnTo>
                <a:lnTo>
                  <a:pt x="3992" y="2036"/>
                </a:lnTo>
                <a:lnTo>
                  <a:pt x="4006" y="2026"/>
                </a:lnTo>
                <a:lnTo>
                  <a:pt x="4020" y="2014"/>
                </a:lnTo>
                <a:lnTo>
                  <a:pt x="4034" y="2002"/>
                </a:lnTo>
                <a:lnTo>
                  <a:pt x="4046" y="1988"/>
                </a:lnTo>
                <a:lnTo>
                  <a:pt x="4058" y="1974"/>
                </a:lnTo>
                <a:lnTo>
                  <a:pt x="4068" y="1958"/>
                </a:lnTo>
                <a:lnTo>
                  <a:pt x="4076" y="1942"/>
                </a:lnTo>
                <a:lnTo>
                  <a:pt x="4082" y="1924"/>
                </a:lnTo>
                <a:lnTo>
                  <a:pt x="4088" y="1906"/>
                </a:lnTo>
                <a:lnTo>
                  <a:pt x="4092" y="1888"/>
                </a:lnTo>
                <a:lnTo>
                  <a:pt x="4096" y="1870"/>
                </a:lnTo>
                <a:lnTo>
                  <a:pt x="4096" y="1850"/>
                </a:lnTo>
                <a:lnTo>
                  <a:pt x="4096" y="1642"/>
                </a:lnTo>
                <a:lnTo>
                  <a:pt x="4096" y="1642"/>
                </a:lnTo>
                <a:lnTo>
                  <a:pt x="4096" y="1624"/>
                </a:lnTo>
                <a:lnTo>
                  <a:pt x="4092" y="1604"/>
                </a:lnTo>
                <a:lnTo>
                  <a:pt x="4088" y="1586"/>
                </a:lnTo>
                <a:lnTo>
                  <a:pt x="4082" y="1568"/>
                </a:lnTo>
                <a:lnTo>
                  <a:pt x="4076" y="1552"/>
                </a:lnTo>
                <a:lnTo>
                  <a:pt x="4068" y="1534"/>
                </a:lnTo>
                <a:lnTo>
                  <a:pt x="4058" y="1520"/>
                </a:lnTo>
                <a:lnTo>
                  <a:pt x="4046" y="1504"/>
                </a:lnTo>
                <a:lnTo>
                  <a:pt x="4034" y="1490"/>
                </a:lnTo>
                <a:lnTo>
                  <a:pt x="4020" y="1478"/>
                </a:lnTo>
                <a:lnTo>
                  <a:pt x="4006" y="1466"/>
                </a:lnTo>
                <a:lnTo>
                  <a:pt x="3992" y="1456"/>
                </a:lnTo>
                <a:lnTo>
                  <a:pt x="3974" y="1448"/>
                </a:lnTo>
                <a:lnTo>
                  <a:pt x="3958" y="1440"/>
                </a:lnTo>
                <a:lnTo>
                  <a:pt x="3940" y="1434"/>
                </a:lnTo>
                <a:lnTo>
                  <a:pt x="3922" y="1428"/>
                </a:lnTo>
                <a:lnTo>
                  <a:pt x="3922" y="1428"/>
                </a:lnTo>
                <a:close/>
                <a:moveTo>
                  <a:pt x="2934" y="2372"/>
                </a:moveTo>
                <a:lnTo>
                  <a:pt x="2934" y="2372"/>
                </a:lnTo>
                <a:lnTo>
                  <a:pt x="2948" y="2370"/>
                </a:lnTo>
                <a:lnTo>
                  <a:pt x="2960" y="2366"/>
                </a:lnTo>
                <a:lnTo>
                  <a:pt x="2972" y="2360"/>
                </a:lnTo>
                <a:lnTo>
                  <a:pt x="2982" y="2352"/>
                </a:lnTo>
                <a:lnTo>
                  <a:pt x="2982" y="2352"/>
                </a:lnTo>
                <a:lnTo>
                  <a:pt x="3016" y="2314"/>
                </a:lnTo>
                <a:lnTo>
                  <a:pt x="3048" y="2274"/>
                </a:lnTo>
                <a:lnTo>
                  <a:pt x="3078" y="2232"/>
                </a:lnTo>
                <a:lnTo>
                  <a:pt x="3104" y="2190"/>
                </a:lnTo>
                <a:lnTo>
                  <a:pt x="3128" y="2146"/>
                </a:lnTo>
                <a:lnTo>
                  <a:pt x="3150" y="2102"/>
                </a:lnTo>
                <a:lnTo>
                  <a:pt x="3168" y="2056"/>
                </a:lnTo>
                <a:lnTo>
                  <a:pt x="3184" y="2008"/>
                </a:lnTo>
                <a:lnTo>
                  <a:pt x="3198" y="1960"/>
                </a:lnTo>
                <a:lnTo>
                  <a:pt x="3210" y="1912"/>
                </a:lnTo>
                <a:lnTo>
                  <a:pt x="3218" y="1864"/>
                </a:lnTo>
                <a:lnTo>
                  <a:pt x="3222" y="1814"/>
                </a:lnTo>
                <a:lnTo>
                  <a:pt x="3224" y="1764"/>
                </a:lnTo>
                <a:lnTo>
                  <a:pt x="3224" y="1712"/>
                </a:lnTo>
                <a:lnTo>
                  <a:pt x="3220" y="1662"/>
                </a:lnTo>
                <a:lnTo>
                  <a:pt x="3214" y="1612"/>
                </a:lnTo>
                <a:lnTo>
                  <a:pt x="3214" y="1612"/>
                </a:lnTo>
                <a:lnTo>
                  <a:pt x="3204" y="1560"/>
                </a:lnTo>
                <a:lnTo>
                  <a:pt x="3192" y="1510"/>
                </a:lnTo>
                <a:lnTo>
                  <a:pt x="3176" y="1460"/>
                </a:lnTo>
                <a:lnTo>
                  <a:pt x="3158" y="1414"/>
                </a:lnTo>
                <a:lnTo>
                  <a:pt x="3138" y="1366"/>
                </a:lnTo>
                <a:lnTo>
                  <a:pt x="3114" y="1320"/>
                </a:lnTo>
                <a:lnTo>
                  <a:pt x="3088" y="1276"/>
                </a:lnTo>
                <a:lnTo>
                  <a:pt x="3060" y="1234"/>
                </a:lnTo>
                <a:lnTo>
                  <a:pt x="3060" y="1234"/>
                </a:lnTo>
                <a:lnTo>
                  <a:pt x="3050" y="1224"/>
                </a:lnTo>
                <a:lnTo>
                  <a:pt x="3040" y="1216"/>
                </a:lnTo>
                <a:lnTo>
                  <a:pt x="3028" y="1212"/>
                </a:lnTo>
                <a:lnTo>
                  <a:pt x="3016" y="1208"/>
                </a:lnTo>
                <a:lnTo>
                  <a:pt x="3004" y="1208"/>
                </a:lnTo>
                <a:lnTo>
                  <a:pt x="2992" y="1208"/>
                </a:lnTo>
                <a:lnTo>
                  <a:pt x="2980" y="1212"/>
                </a:lnTo>
                <a:lnTo>
                  <a:pt x="2968" y="1220"/>
                </a:lnTo>
                <a:lnTo>
                  <a:pt x="2968" y="1220"/>
                </a:lnTo>
                <a:lnTo>
                  <a:pt x="2958" y="1228"/>
                </a:lnTo>
                <a:lnTo>
                  <a:pt x="2952" y="1238"/>
                </a:lnTo>
                <a:lnTo>
                  <a:pt x="2946" y="1250"/>
                </a:lnTo>
                <a:lnTo>
                  <a:pt x="2942" y="1262"/>
                </a:lnTo>
                <a:lnTo>
                  <a:pt x="2942" y="1274"/>
                </a:lnTo>
                <a:lnTo>
                  <a:pt x="2944" y="1286"/>
                </a:lnTo>
                <a:lnTo>
                  <a:pt x="2948" y="1298"/>
                </a:lnTo>
                <a:lnTo>
                  <a:pt x="2954" y="1310"/>
                </a:lnTo>
                <a:lnTo>
                  <a:pt x="2954" y="1310"/>
                </a:lnTo>
                <a:lnTo>
                  <a:pt x="2980" y="1346"/>
                </a:lnTo>
                <a:lnTo>
                  <a:pt x="3002" y="1384"/>
                </a:lnTo>
                <a:lnTo>
                  <a:pt x="3022" y="1422"/>
                </a:lnTo>
                <a:lnTo>
                  <a:pt x="3040" y="1462"/>
                </a:lnTo>
                <a:lnTo>
                  <a:pt x="3054" y="1504"/>
                </a:lnTo>
                <a:lnTo>
                  <a:pt x="3068" y="1544"/>
                </a:lnTo>
                <a:lnTo>
                  <a:pt x="3078" y="1588"/>
                </a:lnTo>
                <a:lnTo>
                  <a:pt x="3086" y="1632"/>
                </a:lnTo>
                <a:lnTo>
                  <a:pt x="3086" y="1632"/>
                </a:lnTo>
                <a:lnTo>
                  <a:pt x="3092" y="1674"/>
                </a:lnTo>
                <a:lnTo>
                  <a:pt x="3094" y="1718"/>
                </a:lnTo>
                <a:lnTo>
                  <a:pt x="3096" y="1760"/>
                </a:lnTo>
                <a:lnTo>
                  <a:pt x="3094" y="1804"/>
                </a:lnTo>
                <a:lnTo>
                  <a:pt x="3088" y="1846"/>
                </a:lnTo>
                <a:lnTo>
                  <a:pt x="3082" y="1888"/>
                </a:lnTo>
                <a:lnTo>
                  <a:pt x="3072" y="1930"/>
                </a:lnTo>
                <a:lnTo>
                  <a:pt x="3062" y="1970"/>
                </a:lnTo>
                <a:lnTo>
                  <a:pt x="3048" y="2010"/>
                </a:lnTo>
                <a:lnTo>
                  <a:pt x="3032" y="2048"/>
                </a:lnTo>
                <a:lnTo>
                  <a:pt x="3014" y="2088"/>
                </a:lnTo>
                <a:lnTo>
                  <a:pt x="2992" y="2124"/>
                </a:lnTo>
                <a:lnTo>
                  <a:pt x="2970" y="2160"/>
                </a:lnTo>
                <a:lnTo>
                  <a:pt x="2944" y="2196"/>
                </a:lnTo>
                <a:lnTo>
                  <a:pt x="2918" y="2230"/>
                </a:lnTo>
                <a:lnTo>
                  <a:pt x="2888" y="2262"/>
                </a:lnTo>
                <a:lnTo>
                  <a:pt x="2888" y="2262"/>
                </a:lnTo>
                <a:lnTo>
                  <a:pt x="2880" y="2272"/>
                </a:lnTo>
                <a:lnTo>
                  <a:pt x="2874" y="2284"/>
                </a:lnTo>
                <a:lnTo>
                  <a:pt x="2870" y="2296"/>
                </a:lnTo>
                <a:lnTo>
                  <a:pt x="2870" y="2308"/>
                </a:lnTo>
                <a:lnTo>
                  <a:pt x="2872" y="2320"/>
                </a:lnTo>
                <a:lnTo>
                  <a:pt x="2876" y="2332"/>
                </a:lnTo>
                <a:lnTo>
                  <a:pt x="2882" y="2344"/>
                </a:lnTo>
                <a:lnTo>
                  <a:pt x="2890" y="2354"/>
                </a:lnTo>
                <a:lnTo>
                  <a:pt x="2890" y="2354"/>
                </a:lnTo>
                <a:lnTo>
                  <a:pt x="2900" y="2362"/>
                </a:lnTo>
                <a:lnTo>
                  <a:pt x="2910" y="2366"/>
                </a:lnTo>
                <a:lnTo>
                  <a:pt x="2922" y="2370"/>
                </a:lnTo>
                <a:lnTo>
                  <a:pt x="2934" y="2372"/>
                </a:lnTo>
                <a:lnTo>
                  <a:pt x="2934" y="237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8107371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18">
            <a:extLst>
              <a:ext uri="{FF2B5EF4-FFF2-40B4-BE49-F238E27FC236}">
                <a16:creationId xmlns:a16="http://schemas.microsoft.com/office/drawing/2014/main" id="{56953C94-89C5-4E90-BB4F-70B33728744E}"/>
              </a:ext>
            </a:extLst>
          </p:cNvPr>
          <p:cNvSpPr>
            <a:spLocks noGrp="1"/>
          </p:cNvSpPr>
          <p:nvPr>
            <p:ph type="title"/>
          </p:nvPr>
        </p:nvSpPr>
        <p:spPr>
          <a:xfrm>
            <a:off x="442913" y="25400"/>
            <a:ext cx="8577797" cy="822325"/>
          </a:xfrm>
          <a:prstGeom prst="rect">
            <a:avLst/>
          </a:prstGeom>
          <a:gradFill flip="none" rotWithShape="1">
            <a:gsLst>
              <a:gs pos="0">
                <a:schemeClr val="bg1">
                  <a:alpha val="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noAutofit/>
          </a:bodyPr>
          <a:lstStyle/>
          <a:p>
            <a:pPr>
              <a:spcBef>
                <a:spcPts val="300"/>
              </a:spcBef>
              <a:spcAft>
                <a:spcPts val="300"/>
              </a:spcAft>
            </a:pPr>
            <a:r>
              <a:rPr lang="en-US" sz="2000" b="1" dirty="0"/>
              <a:t>API Gateway Service </a:t>
            </a:r>
          </a:p>
        </p:txBody>
      </p:sp>
      <p:sp>
        <p:nvSpPr>
          <p:cNvPr id="27" name="Freeform 25">
            <a:extLst>
              <a:ext uri="{FF2B5EF4-FFF2-40B4-BE49-F238E27FC236}">
                <a16:creationId xmlns:a16="http://schemas.microsoft.com/office/drawing/2014/main" id="{F00817DA-451E-43F0-9668-895E33E16936}"/>
              </a:ext>
            </a:extLst>
          </p:cNvPr>
          <p:cNvSpPr>
            <a:spLocks noEditPoints="1"/>
          </p:cNvSpPr>
          <p:nvPr/>
        </p:nvSpPr>
        <p:spPr bwMode="auto">
          <a:xfrm rot="19589649">
            <a:off x="3681774" y="5801135"/>
            <a:ext cx="517480" cy="575630"/>
          </a:xfrm>
          <a:custGeom>
            <a:avLst/>
            <a:gdLst>
              <a:gd name="T0" fmla="*/ 2 w 232"/>
              <a:gd name="T1" fmla="*/ 246 h 248"/>
              <a:gd name="T2" fmla="*/ 1 w 232"/>
              <a:gd name="T3" fmla="*/ 246 h 248"/>
              <a:gd name="T4" fmla="*/ 1 w 232"/>
              <a:gd name="T5" fmla="*/ 246 h 248"/>
              <a:gd name="T6" fmla="*/ 1 w 232"/>
              <a:gd name="T7" fmla="*/ 246 h 248"/>
              <a:gd name="T8" fmla="*/ 1 w 232"/>
              <a:gd name="T9" fmla="*/ 246 h 248"/>
              <a:gd name="T10" fmla="*/ 0 w 232"/>
              <a:gd name="T11" fmla="*/ 246 h 248"/>
              <a:gd name="T12" fmla="*/ 0 w 232"/>
              <a:gd name="T13" fmla="*/ 246 h 248"/>
              <a:gd name="T14" fmla="*/ 31 w 232"/>
              <a:gd name="T15" fmla="*/ 248 h 248"/>
              <a:gd name="T16" fmla="*/ 58 w 232"/>
              <a:gd name="T17" fmla="*/ 246 h 248"/>
              <a:gd name="T18" fmla="*/ 231 w 232"/>
              <a:gd name="T19" fmla="*/ 20 h 248"/>
              <a:gd name="T20" fmla="*/ 231 w 232"/>
              <a:gd name="T21" fmla="*/ 19 h 248"/>
              <a:gd name="T22" fmla="*/ 230 w 232"/>
              <a:gd name="T23" fmla="*/ 19 h 248"/>
              <a:gd name="T24" fmla="*/ 230 w 232"/>
              <a:gd name="T25" fmla="*/ 19 h 248"/>
              <a:gd name="T26" fmla="*/ 230 w 232"/>
              <a:gd name="T27" fmla="*/ 18 h 248"/>
              <a:gd name="T28" fmla="*/ 230 w 232"/>
              <a:gd name="T29" fmla="*/ 18 h 248"/>
              <a:gd name="T30" fmla="*/ 230 w 232"/>
              <a:gd name="T31" fmla="*/ 18 h 248"/>
              <a:gd name="T32" fmla="*/ 230 w 232"/>
              <a:gd name="T33" fmla="*/ 17 h 248"/>
              <a:gd name="T34" fmla="*/ 230 w 232"/>
              <a:gd name="T35" fmla="*/ 17 h 248"/>
              <a:gd name="T36" fmla="*/ 230 w 232"/>
              <a:gd name="T37" fmla="*/ 17 h 248"/>
              <a:gd name="T38" fmla="*/ 230 w 232"/>
              <a:gd name="T39" fmla="*/ 17 h 248"/>
              <a:gd name="T40" fmla="*/ 230 w 232"/>
              <a:gd name="T41" fmla="*/ 16 h 248"/>
              <a:gd name="T42" fmla="*/ 230 w 232"/>
              <a:gd name="T43" fmla="*/ 16 h 248"/>
              <a:gd name="T44" fmla="*/ 230 w 232"/>
              <a:gd name="T45" fmla="*/ 15 h 248"/>
              <a:gd name="T46" fmla="*/ 230 w 232"/>
              <a:gd name="T47" fmla="*/ 15 h 248"/>
              <a:gd name="T48" fmla="*/ 230 w 232"/>
              <a:gd name="T49" fmla="*/ 15 h 248"/>
              <a:gd name="T50" fmla="*/ 230 w 232"/>
              <a:gd name="T51" fmla="*/ 14 h 248"/>
              <a:gd name="T52" fmla="*/ 230 w 232"/>
              <a:gd name="T53" fmla="*/ 14 h 248"/>
              <a:gd name="T54" fmla="*/ 230 w 232"/>
              <a:gd name="T55" fmla="*/ 14 h 248"/>
              <a:gd name="T56" fmla="*/ 230 w 232"/>
              <a:gd name="T57" fmla="*/ 13 h 248"/>
              <a:gd name="T58" fmla="*/ 230 w 232"/>
              <a:gd name="T59" fmla="*/ 13 h 248"/>
              <a:gd name="T60" fmla="*/ 229 w 232"/>
              <a:gd name="T61" fmla="*/ 13 h 248"/>
              <a:gd name="T62" fmla="*/ 229 w 232"/>
              <a:gd name="T63" fmla="*/ 12 h 248"/>
              <a:gd name="T64" fmla="*/ 229 w 232"/>
              <a:gd name="T65" fmla="*/ 12 h 248"/>
              <a:gd name="T66" fmla="*/ 229 w 232"/>
              <a:gd name="T67" fmla="*/ 12 h 248"/>
              <a:gd name="T68" fmla="*/ 229 w 232"/>
              <a:gd name="T69" fmla="*/ 11 h 248"/>
              <a:gd name="T70" fmla="*/ 229 w 232"/>
              <a:gd name="T71" fmla="*/ 11 h 248"/>
              <a:gd name="T72" fmla="*/ 229 w 232"/>
              <a:gd name="T73" fmla="*/ 11 h 248"/>
              <a:gd name="T74" fmla="*/ 229 w 232"/>
              <a:gd name="T75" fmla="*/ 10 h 248"/>
              <a:gd name="T76" fmla="*/ 229 w 232"/>
              <a:gd name="T77" fmla="*/ 10 h 248"/>
              <a:gd name="T78" fmla="*/ 229 w 232"/>
              <a:gd name="T79" fmla="*/ 10 h 248"/>
              <a:gd name="T80" fmla="*/ 229 w 232"/>
              <a:gd name="T81" fmla="*/ 10 h 248"/>
              <a:gd name="T82" fmla="*/ 229 w 232"/>
              <a:gd name="T83" fmla="*/ 9 h 248"/>
              <a:gd name="T84" fmla="*/ 229 w 232"/>
              <a:gd name="T85" fmla="*/ 9 h 248"/>
              <a:gd name="T86" fmla="*/ 229 w 232"/>
              <a:gd name="T87" fmla="*/ 8 h 248"/>
              <a:gd name="T88" fmla="*/ 229 w 232"/>
              <a:gd name="T89" fmla="*/ 8 h 248"/>
              <a:gd name="T90" fmla="*/ 229 w 232"/>
              <a:gd name="T91" fmla="*/ 8 h 248"/>
              <a:gd name="T92" fmla="*/ 229 w 232"/>
              <a:gd name="T93" fmla="*/ 8 h 248"/>
              <a:gd name="T94" fmla="*/ 228 w 232"/>
              <a:gd name="T95" fmla="*/ 7 h 248"/>
              <a:gd name="T96" fmla="*/ 228 w 232"/>
              <a:gd name="T97" fmla="*/ 7 h 248"/>
              <a:gd name="T98" fmla="*/ 228 w 232"/>
              <a:gd name="T99" fmla="*/ 7 h 248"/>
              <a:gd name="T100" fmla="*/ 228 w 232"/>
              <a:gd name="T101" fmla="*/ 6 h 248"/>
              <a:gd name="T102" fmla="*/ 228 w 232"/>
              <a:gd name="T103" fmla="*/ 5 h 248"/>
              <a:gd name="T104" fmla="*/ 228 w 232"/>
              <a:gd name="T105" fmla="*/ 5 h 248"/>
              <a:gd name="T106" fmla="*/ 228 w 232"/>
              <a:gd name="T107" fmla="*/ 5 h 248"/>
              <a:gd name="T108" fmla="*/ 228 w 232"/>
              <a:gd name="T109" fmla="*/ 4 h 248"/>
              <a:gd name="T110" fmla="*/ 228 w 232"/>
              <a:gd name="T111" fmla="*/ 4 h 248"/>
              <a:gd name="T112" fmla="*/ 228 w 232"/>
              <a:gd name="T113" fmla="*/ 4 h 248"/>
              <a:gd name="T114" fmla="*/ 228 w 232"/>
              <a:gd name="T115" fmla="*/ 4 h 248"/>
              <a:gd name="T116" fmla="*/ 228 w 232"/>
              <a:gd name="T117" fmla="*/ 3 h 248"/>
              <a:gd name="T118" fmla="*/ 227 w 232"/>
              <a:gd name="T119" fmla="*/ 1 h 248"/>
              <a:gd name="T120" fmla="*/ 227 w 232"/>
              <a:gd name="T121" fmla="*/ 1 h 248"/>
              <a:gd name="T122" fmla="*/ 227 w 232"/>
              <a:gd name="T123" fmla="*/ 1 h 248"/>
              <a:gd name="T124" fmla="*/ 227 w 232"/>
              <a:gd name="T12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248">
                <a:moveTo>
                  <a:pt x="2" y="246"/>
                </a:moveTo>
                <a:cubicBezTo>
                  <a:pt x="2" y="246"/>
                  <a:pt x="2" y="246"/>
                  <a:pt x="2" y="246"/>
                </a:cubicBezTo>
                <a:cubicBezTo>
                  <a:pt x="2" y="246"/>
                  <a:pt x="2" y="246"/>
                  <a:pt x="2" y="246"/>
                </a:cubicBezTo>
                <a:moveTo>
                  <a:pt x="1" y="246"/>
                </a:moveTo>
                <a:cubicBezTo>
                  <a:pt x="1" y="246"/>
                  <a:pt x="1" y="246"/>
                  <a:pt x="2"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0" y="246"/>
                </a:moveTo>
                <a:cubicBezTo>
                  <a:pt x="0" y="246"/>
                  <a:pt x="0" y="246"/>
                  <a:pt x="0" y="246"/>
                </a:cubicBezTo>
                <a:cubicBezTo>
                  <a:pt x="0" y="246"/>
                  <a:pt x="0" y="246"/>
                  <a:pt x="0" y="246"/>
                </a:cubicBezTo>
                <a:moveTo>
                  <a:pt x="0" y="246"/>
                </a:moveTo>
                <a:cubicBezTo>
                  <a:pt x="0" y="246"/>
                  <a:pt x="0" y="246"/>
                  <a:pt x="0" y="246"/>
                </a:cubicBezTo>
                <a:cubicBezTo>
                  <a:pt x="0" y="246"/>
                  <a:pt x="0" y="246"/>
                  <a:pt x="0" y="246"/>
                </a:cubicBezTo>
                <a:moveTo>
                  <a:pt x="232" y="47"/>
                </a:moveTo>
                <a:cubicBezTo>
                  <a:pt x="232" y="146"/>
                  <a:pt x="159" y="232"/>
                  <a:pt x="58" y="246"/>
                </a:cubicBezTo>
                <a:cubicBezTo>
                  <a:pt x="49" y="247"/>
                  <a:pt x="40" y="248"/>
                  <a:pt x="31" y="248"/>
                </a:cubicBezTo>
                <a:cubicBezTo>
                  <a:pt x="21" y="248"/>
                  <a:pt x="11" y="247"/>
                  <a:pt x="2" y="246"/>
                </a:cubicBezTo>
                <a:cubicBezTo>
                  <a:pt x="11" y="247"/>
                  <a:pt x="21" y="248"/>
                  <a:pt x="31" y="248"/>
                </a:cubicBezTo>
                <a:cubicBezTo>
                  <a:pt x="40" y="248"/>
                  <a:pt x="49" y="247"/>
                  <a:pt x="58" y="246"/>
                </a:cubicBezTo>
                <a:cubicBezTo>
                  <a:pt x="159" y="232"/>
                  <a:pt x="232" y="146"/>
                  <a:pt x="232" y="47"/>
                </a:cubicBezTo>
                <a:moveTo>
                  <a:pt x="231" y="19"/>
                </a:moveTo>
                <a:cubicBezTo>
                  <a:pt x="231" y="20"/>
                  <a:pt x="231" y="20"/>
                  <a:pt x="231" y="20"/>
                </a:cubicBezTo>
                <a:cubicBezTo>
                  <a:pt x="231" y="20"/>
                  <a:pt x="231" y="20"/>
                  <a:pt x="231" y="19"/>
                </a:cubicBezTo>
                <a:moveTo>
                  <a:pt x="230" y="19"/>
                </a:moveTo>
                <a:cubicBezTo>
                  <a:pt x="230" y="19"/>
                  <a:pt x="231" y="19"/>
                  <a:pt x="231" y="19"/>
                </a:cubicBezTo>
                <a:cubicBezTo>
                  <a:pt x="231" y="19"/>
                  <a:pt x="230" y="19"/>
                  <a:pt x="230" y="19"/>
                </a:cubicBezTo>
                <a:moveTo>
                  <a:pt x="230" y="19"/>
                </a:moveTo>
                <a:cubicBezTo>
                  <a:pt x="230" y="19"/>
                  <a:pt x="230" y="19"/>
                  <a:pt x="230" y="19"/>
                </a:cubicBezTo>
                <a:cubicBezTo>
                  <a:pt x="230" y="19"/>
                  <a:pt x="230" y="19"/>
                  <a:pt x="230" y="19"/>
                </a:cubicBezTo>
                <a:moveTo>
                  <a:pt x="230" y="19"/>
                </a:moveTo>
                <a:cubicBezTo>
                  <a:pt x="230" y="19"/>
                  <a:pt x="230" y="19"/>
                  <a:pt x="230" y="19"/>
                </a:cubicBezTo>
                <a:cubicBezTo>
                  <a:pt x="230" y="19"/>
                  <a:pt x="230" y="19"/>
                  <a:pt x="230" y="19"/>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6"/>
                </a:moveTo>
                <a:cubicBezTo>
                  <a:pt x="230" y="16"/>
                  <a:pt x="230" y="16"/>
                  <a:pt x="230" y="17"/>
                </a:cubicBezTo>
                <a:cubicBezTo>
                  <a:pt x="230" y="16"/>
                  <a:pt x="230" y="16"/>
                  <a:pt x="230" y="16"/>
                </a:cubicBezTo>
                <a:moveTo>
                  <a:pt x="230" y="16"/>
                </a:moveTo>
                <a:cubicBezTo>
                  <a:pt x="230" y="16"/>
                  <a:pt x="230" y="16"/>
                  <a:pt x="230" y="16"/>
                </a:cubicBezTo>
                <a:cubicBezTo>
                  <a:pt x="230" y="16"/>
                  <a:pt x="230" y="16"/>
                  <a:pt x="230" y="16"/>
                </a:cubicBezTo>
                <a:moveTo>
                  <a:pt x="230" y="15"/>
                </a:moveTo>
                <a:cubicBezTo>
                  <a:pt x="230" y="15"/>
                  <a:pt x="230" y="15"/>
                  <a:pt x="230" y="16"/>
                </a:cubicBezTo>
                <a:cubicBezTo>
                  <a:pt x="230" y="15"/>
                  <a:pt x="230" y="15"/>
                  <a:pt x="230" y="15"/>
                </a:cubicBezTo>
                <a:moveTo>
                  <a:pt x="230" y="15"/>
                </a:moveTo>
                <a:cubicBezTo>
                  <a:pt x="230" y="15"/>
                  <a:pt x="230" y="15"/>
                  <a:pt x="230" y="15"/>
                </a:cubicBezTo>
                <a:cubicBezTo>
                  <a:pt x="230" y="15"/>
                  <a:pt x="230" y="15"/>
                  <a:pt x="230" y="15"/>
                </a:cubicBezTo>
                <a:moveTo>
                  <a:pt x="230" y="15"/>
                </a:moveTo>
                <a:cubicBezTo>
                  <a:pt x="230" y="15"/>
                  <a:pt x="230" y="15"/>
                  <a:pt x="230" y="15"/>
                </a:cubicBezTo>
                <a:cubicBezTo>
                  <a:pt x="230" y="15"/>
                  <a:pt x="230" y="15"/>
                  <a:pt x="230" y="15"/>
                </a:cubicBezTo>
                <a:moveTo>
                  <a:pt x="230" y="14"/>
                </a:moveTo>
                <a:cubicBezTo>
                  <a:pt x="230" y="14"/>
                  <a:pt x="230" y="15"/>
                  <a:pt x="230" y="15"/>
                </a:cubicBezTo>
                <a:cubicBezTo>
                  <a:pt x="230" y="15"/>
                  <a:pt x="230" y="14"/>
                  <a:pt x="230" y="14"/>
                </a:cubicBezTo>
                <a:moveTo>
                  <a:pt x="230" y="14"/>
                </a:moveTo>
                <a:cubicBezTo>
                  <a:pt x="230" y="14"/>
                  <a:pt x="230" y="14"/>
                  <a:pt x="230" y="14"/>
                </a:cubicBezTo>
                <a:cubicBezTo>
                  <a:pt x="230" y="14"/>
                  <a:pt x="230" y="14"/>
                  <a:pt x="230" y="14"/>
                </a:cubicBezTo>
                <a:moveTo>
                  <a:pt x="230" y="14"/>
                </a:moveTo>
                <a:cubicBezTo>
                  <a:pt x="230" y="14"/>
                  <a:pt x="230" y="14"/>
                  <a:pt x="230" y="14"/>
                </a:cubicBezTo>
                <a:cubicBezTo>
                  <a:pt x="230" y="14"/>
                  <a:pt x="230" y="14"/>
                  <a:pt x="230" y="14"/>
                </a:cubicBezTo>
                <a:moveTo>
                  <a:pt x="230" y="13"/>
                </a:moveTo>
                <a:cubicBezTo>
                  <a:pt x="230" y="14"/>
                  <a:pt x="230" y="14"/>
                  <a:pt x="230" y="14"/>
                </a:cubicBezTo>
                <a:cubicBezTo>
                  <a:pt x="230" y="14"/>
                  <a:pt x="230" y="14"/>
                  <a:pt x="230" y="13"/>
                </a:cubicBezTo>
                <a:moveTo>
                  <a:pt x="230" y="13"/>
                </a:moveTo>
                <a:cubicBezTo>
                  <a:pt x="230" y="13"/>
                  <a:pt x="230" y="13"/>
                  <a:pt x="230" y="13"/>
                </a:cubicBezTo>
                <a:cubicBezTo>
                  <a:pt x="230" y="13"/>
                  <a:pt x="230" y="13"/>
                  <a:pt x="230" y="13"/>
                </a:cubicBezTo>
                <a:moveTo>
                  <a:pt x="229" y="13"/>
                </a:moveTo>
                <a:cubicBezTo>
                  <a:pt x="230" y="13"/>
                  <a:pt x="230" y="13"/>
                  <a:pt x="230" y="13"/>
                </a:cubicBezTo>
                <a:cubicBezTo>
                  <a:pt x="230" y="13"/>
                  <a:pt x="230" y="13"/>
                  <a:pt x="229" y="13"/>
                </a:cubicBezTo>
                <a:moveTo>
                  <a:pt x="229" y="12"/>
                </a:moveTo>
                <a:cubicBezTo>
                  <a:pt x="229" y="13"/>
                  <a:pt x="229" y="13"/>
                  <a:pt x="229" y="13"/>
                </a:cubicBezTo>
                <a:cubicBezTo>
                  <a:pt x="229" y="13"/>
                  <a:pt x="229" y="13"/>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9"/>
                </a:moveTo>
                <a:cubicBezTo>
                  <a:pt x="229" y="9"/>
                  <a:pt x="229" y="10"/>
                  <a:pt x="229" y="10"/>
                </a:cubicBezTo>
                <a:cubicBezTo>
                  <a:pt x="229" y="10"/>
                  <a:pt x="229" y="9"/>
                  <a:pt x="229" y="9"/>
                </a:cubicBezTo>
                <a:moveTo>
                  <a:pt x="229" y="9"/>
                </a:moveTo>
                <a:cubicBezTo>
                  <a:pt x="229" y="9"/>
                  <a:pt x="229" y="9"/>
                  <a:pt x="229" y="9"/>
                </a:cubicBezTo>
                <a:cubicBezTo>
                  <a:pt x="229" y="9"/>
                  <a:pt x="229" y="9"/>
                  <a:pt x="229" y="9"/>
                </a:cubicBezTo>
                <a:moveTo>
                  <a:pt x="229" y="9"/>
                </a:moveTo>
                <a:cubicBezTo>
                  <a:pt x="229" y="9"/>
                  <a:pt x="229" y="9"/>
                  <a:pt x="229" y="9"/>
                </a:cubicBezTo>
                <a:cubicBezTo>
                  <a:pt x="229" y="9"/>
                  <a:pt x="229" y="9"/>
                  <a:pt x="229" y="9"/>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7"/>
                </a:moveTo>
                <a:cubicBezTo>
                  <a:pt x="229" y="7"/>
                  <a:pt x="229" y="8"/>
                  <a:pt x="229" y="8"/>
                </a:cubicBezTo>
                <a:cubicBezTo>
                  <a:pt x="229" y="8"/>
                  <a:pt x="229" y="7"/>
                  <a:pt x="229"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6"/>
                </a:moveTo>
                <a:cubicBezTo>
                  <a:pt x="228" y="6"/>
                  <a:pt x="228" y="6"/>
                  <a:pt x="228" y="6"/>
                </a:cubicBezTo>
                <a:cubicBezTo>
                  <a:pt x="228" y="6"/>
                  <a:pt x="228" y="6"/>
                  <a:pt x="228" y="6"/>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3"/>
                </a:moveTo>
                <a:cubicBezTo>
                  <a:pt x="228" y="3"/>
                  <a:pt x="228" y="3"/>
                  <a:pt x="228" y="4"/>
                </a:cubicBezTo>
                <a:cubicBezTo>
                  <a:pt x="228" y="3"/>
                  <a:pt x="228" y="3"/>
                  <a:pt x="228" y="3"/>
                </a:cubicBezTo>
                <a:moveTo>
                  <a:pt x="228" y="3"/>
                </a:moveTo>
                <a:cubicBezTo>
                  <a:pt x="228" y="3"/>
                  <a:pt x="228" y="3"/>
                  <a:pt x="228" y="3"/>
                </a:cubicBezTo>
                <a:cubicBezTo>
                  <a:pt x="228" y="3"/>
                  <a:pt x="228" y="3"/>
                  <a:pt x="228" y="3"/>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0"/>
                </a:moveTo>
                <a:cubicBezTo>
                  <a:pt x="227" y="0"/>
                  <a:pt x="227" y="0"/>
                  <a:pt x="227" y="0"/>
                </a:cubicBezTo>
                <a:cubicBezTo>
                  <a:pt x="227" y="0"/>
                  <a:pt x="227" y="0"/>
                  <a:pt x="227" y="0"/>
                </a:cubicBezTo>
              </a:path>
            </a:pathLst>
          </a:custGeom>
          <a:solidFill>
            <a:srgbClr val="D5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06" name="Rounded Rectangle 11">
            <a:extLst>
              <a:ext uri="{FF2B5EF4-FFF2-40B4-BE49-F238E27FC236}">
                <a16:creationId xmlns:a16="http://schemas.microsoft.com/office/drawing/2014/main" id="{32905760-FA91-456A-BBE2-043043891DAB}"/>
              </a:ext>
            </a:extLst>
          </p:cNvPr>
          <p:cNvSpPr/>
          <p:nvPr/>
        </p:nvSpPr>
        <p:spPr>
          <a:xfrm>
            <a:off x="3836194" y="1200049"/>
            <a:ext cx="7187041" cy="752618"/>
          </a:xfrm>
          <a:prstGeom prst="round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endParaRPr lang="en-IN" sz="1600" b="1" dirty="0">
              <a:solidFill>
                <a:schemeClr val="tx1"/>
              </a:solidFill>
            </a:endParaRPr>
          </a:p>
          <a:p>
            <a:endParaRPr lang="en-IN" sz="1600" b="1" dirty="0">
              <a:solidFill>
                <a:schemeClr val="tx1"/>
              </a:solidFill>
            </a:endParaRPr>
          </a:p>
          <a:p>
            <a:r>
              <a:rPr lang="en-IN" sz="1600" b="1" dirty="0">
                <a:solidFill>
                  <a:schemeClr val="tx1"/>
                </a:solidFill>
              </a:rPr>
              <a:t>Architecting API Ecosystem</a:t>
            </a:r>
          </a:p>
          <a:p>
            <a:pPr marL="285750" indent="-285750">
              <a:buFont typeface="Arial" panose="020B0604020202020204" pitchFamily="34" charset="0"/>
              <a:buChar char="•"/>
            </a:pPr>
            <a:r>
              <a:rPr lang="en-IN" sz="1600" dirty="0">
                <a:solidFill>
                  <a:schemeClr val="tx1"/>
                </a:solidFill>
              </a:rPr>
              <a:t>Defining solutions for API based integration</a:t>
            </a:r>
          </a:p>
          <a:p>
            <a:pPr marL="285750" indent="-285750">
              <a:buFont typeface="Arial" panose="020B0604020202020204" pitchFamily="34" charset="0"/>
              <a:buChar char="•"/>
            </a:pPr>
            <a:r>
              <a:rPr lang="en-US" sz="1600" dirty="0">
                <a:solidFill>
                  <a:schemeClr val="tx1"/>
                </a:solidFill>
              </a:rPr>
              <a:t>Subscription analysis, Contract negotiations and Cost control</a:t>
            </a:r>
            <a:r>
              <a:rPr lang="en-IN" sz="1600" dirty="0">
                <a:solidFill>
                  <a:schemeClr val="tx1"/>
                </a:solidFill>
              </a:rPr>
              <a:t> </a:t>
            </a:r>
          </a:p>
          <a:p>
            <a:pPr marL="285750" indent="-285750">
              <a:buFont typeface="Arial" panose="020B0604020202020204" pitchFamily="34" charset="0"/>
              <a:buChar char="•"/>
            </a:pPr>
            <a:endParaRPr lang="en-IN" sz="1600" dirty="0">
              <a:solidFill>
                <a:schemeClr val="tx1"/>
              </a:solidFill>
            </a:endParaRPr>
          </a:p>
          <a:p>
            <a:r>
              <a:rPr lang="en-IN" sz="1600" b="1" dirty="0">
                <a:solidFill>
                  <a:schemeClr val="tx1"/>
                </a:solidFill>
              </a:rPr>
              <a:t> </a:t>
            </a:r>
            <a:endParaRPr lang="en-IN" sz="1600" dirty="0">
              <a:solidFill>
                <a:schemeClr val="tx1"/>
              </a:solidFill>
            </a:endParaRPr>
          </a:p>
        </p:txBody>
      </p:sp>
      <p:sp>
        <p:nvSpPr>
          <p:cNvPr id="107" name="Freeform 20">
            <a:extLst>
              <a:ext uri="{FF2B5EF4-FFF2-40B4-BE49-F238E27FC236}">
                <a16:creationId xmlns:a16="http://schemas.microsoft.com/office/drawing/2014/main" id="{990E4CB4-AAEB-4F04-B624-10658F787465}"/>
              </a:ext>
            </a:extLst>
          </p:cNvPr>
          <p:cNvSpPr>
            <a:spLocks noEditPoints="1"/>
          </p:cNvSpPr>
          <p:nvPr/>
        </p:nvSpPr>
        <p:spPr bwMode="auto">
          <a:xfrm rot="19589649">
            <a:off x="3230620" y="1283354"/>
            <a:ext cx="805083" cy="836109"/>
          </a:xfrm>
          <a:custGeom>
            <a:avLst/>
            <a:gdLst>
              <a:gd name="T0" fmla="*/ 158 w 361"/>
              <a:gd name="T1" fmla="*/ 13 h 361"/>
              <a:gd name="T2" fmla="*/ 12 w 361"/>
              <a:gd name="T3" fmla="*/ 203 h 361"/>
              <a:gd name="T4" fmla="*/ 203 w 361"/>
              <a:gd name="T5" fmla="*/ 349 h 361"/>
              <a:gd name="T6" fmla="*/ 348 w 361"/>
              <a:gd name="T7" fmla="*/ 158 h 361"/>
              <a:gd name="T8" fmla="*/ 158 w 361"/>
              <a:gd name="T9" fmla="*/ 13 h 361"/>
              <a:gd name="T10" fmla="*/ 199 w 361"/>
              <a:gd name="T11" fmla="*/ 317 h 361"/>
              <a:gd name="T12" fmla="*/ 44 w 361"/>
              <a:gd name="T13" fmla="*/ 199 h 361"/>
              <a:gd name="T14" fmla="*/ 162 w 361"/>
              <a:gd name="T15" fmla="*/ 45 h 361"/>
              <a:gd name="T16" fmla="*/ 316 w 361"/>
              <a:gd name="T17" fmla="*/ 162 h 361"/>
              <a:gd name="T18" fmla="*/ 199 w 361"/>
              <a:gd name="T19" fmla="*/ 317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361">
                <a:moveTo>
                  <a:pt x="158" y="13"/>
                </a:moveTo>
                <a:cubicBezTo>
                  <a:pt x="65" y="25"/>
                  <a:pt x="0" y="111"/>
                  <a:pt x="12" y="203"/>
                </a:cubicBezTo>
                <a:cubicBezTo>
                  <a:pt x="25" y="296"/>
                  <a:pt x="110" y="361"/>
                  <a:pt x="203" y="349"/>
                </a:cubicBezTo>
                <a:cubicBezTo>
                  <a:pt x="296" y="336"/>
                  <a:pt x="361" y="251"/>
                  <a:pt x="348" y="158"/>
                </a:cubicBezTo>
                <a:cubicBezTo>
                  <a:pt x="336" y="65"/>
                  <a:pt x="250" y="0"/>
                  <a:pt x="158" y="13"/>
                </a:cubicBezTo>
                <a:close/>
                <a:moveTo>
                  <a:pt x="199" y="317"/>
                </a:moveTo>
                <a:cubicBezTo>
                  <a:pt x="123" y="327"/>
                  <a:pt x="54" y="274"/>
                  <a:pt x="44" y="199"/>
                </a:cubicBezTo>
                <a:cubicBezTo>
                  <a:pt x="34" y="124"/>
                  <a:pt x="87" y="55"/>
                  <a:pt x="162" y="45"/>
                </a:cubicBezTo>
                <a:cubicBezTo>
                  <a:pt x="237" y="35"/>
                  <a:pt x="306" y="87"/>
                  <a:pt x="316" y="162"/>
                </a:cubicBezTo>
                <a:cubicBezTo>
                  <a:pt x="326" y="237"/>
                  <a:pt x="274" y="307"/>
                  <a:pt x="199" y="317"/>
                </a:cubicBezTo>
                <a:close/>
              </a:path>
            </a:pathLst>
          </a:custGeom>
          <a:solidFill>
            <a:srgbClr val="998C85">
              <a:lumMod val="20000"/>
              <a:lumOff val="80000"/>
            </a:srgbClr>
          </a:solidFill>
          <a:ln w="6350">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08" name="Freeform 21">
            <a:extLst>
              <a:ext uri="{FF2B5EF4-FFF2-40B4-BE49-F238E27FC236}">
                <a16:creationId xmlns:a16="http://schemas.microsoft.com/office/drawing/2014/main" id="{A69B7F18-592A-4174-8C25-E7946B4DF934}"/>
              </a:ext>
            </a:extLst>
          </p:cNvPr>
          <p:cNvSpPr>
            <a:spLocks/>
          </p:cNvSpPr>
          <p:nvPr/>
        </p:nvSpPr>
        <p:spPr bwMode="auto">
          <a:xfrm rot="19589649">
            <a:off x="3307665" y="1333660"/>
            <a:ext cx="650458" cy="677463"/>
          </a:xfrm>
          <a:custGeom>
            <a:avLst/>
            <a:gdLst>
              <a:gd name="T0" fmla="*/ 10 w 292"/>
              <a:gd name="T1" fmla="*/ 164 h 292"/>
              <a:gd name="T2" fmla="*/ 128 w 292"/>
              <a:gd name="T3" fmla="*/ 10 h 292"/>
              <a:gd name="T4" fmla="*/ 282 w 292"/>
              <a:gd name="T5" fmla="*/ 127 h 292"/>
              <a:gd name="T6" fmla="*/ 165 w 292"/>
              <a:gd name="T7" fmla="*/ 282 h 292"/>
              <a:gd name="T8" fmla="*/ 10 w 292"/>
              <a:gd name="T9" fmla="*/ 164 h 292"/>
            </a:gdLst>
            <a:ahLst/>
            <a:cxnLst>
              <a:cxn ang="0">
                <a:pos x="T0" y="T1"/>
              </a:cxn>
              <a:cxn ang="0">
                <a:pos x="T2" y="T3"/>
              </a:cxn>
              <a:cxn ang="0">
                <a:pos x="T4" y="T5"/>
              </a:cxn>
              <a:cxn ang="0">
                <a:pos x="T6" y="T7"/>
              </a:cxn>
              <a:cxn ang="0">
                <a:pos x="T8" y="T9"/>
              </a:cxn>
            </a:cxnLst>
            <a:rect l="0" t="0" r="r" b="b"/>
            <a:pathLst>
              <a:path w="292" h="292">
                <a:moveTo>
                  <a:pt x="10" y="164"/>
                </a:moveTo>
                <a:cubicBezTo>
                  <a:pt x="0" y="89"/>
                  <a:pt x="53" y="20"/>
                  <a:pt x="128" y="10"/>
                </a:cubicBezTo>
                <a:cubicBezTo>
                  <a:pt x="203" y="0"/>
                  <a:pt x="272" y="52"/>
                  <a:pt x="282" y="127"/>
                </a:cubicBezTo>
                <a:cubicBezTo>
                  <a:pt x="292" y="202"/>
                  <a:pt x="240" y="272"/>
                  <a:pt x="165" y="282"/>
                </a:cubicBezTo>
                <a:cubicBezTo>
                  <a:pt x="89" y="292"/>
                  <a:pt x="20" y="239"/>
                  <a:pt x="10" y="16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957756"/>
            <a:endParaRPr lang="fr-FR" sz="1400" kern="0" dirty="0">
              <a:solidFill>
                <a:srgbClr val="263147"/>
              </a:solidFill>
              <a:latin typeface="Verdana"/>
            </a:endParaRPr>
          </a:p>
        </p:txBody>
      </p:sp>
      <p:sp>
        <p:nvSpPr>
          <p:cNvPr id="109" name="Freeform 22">
            <a:extLst>
              <a:ext uri="{FF2B5EF4-FFF2-40B4-BE49-F238E27FC236}">
                <a16:creationId xmlns:a16="http://schemas.microsoft.com/office/drawing/2014/main" id="{EA3C339D-9691-418C-B157-59F6194E2BB3}"/>
              </a:ext>
            </a:extLst>
          </p:cNvPr>
          <p:cNvSpPr>
            <a:spLocks/>
          </p:cNvSpPr>
          <p:nvPr/>
        </p:nvSpPr>
        <p:spPr bwMode="auto">
          <a:xfrm rot="19589649">
            <a:off x="3300946" y="1381015"/>
            <a:ext cx="531911" cy="598141"/>
          </a:xfrm>
          <a:custGeom>
            <a:avLst/>
            <a:gdLst>
              <a:gd name="T0" fmla="*/ 30 w 239"/>
              <a:gd name="T1" fmla="*/ 175 h 258"/>
              <a:gd name="T2" fmla="*/ 148 w 239"/>
              <a:gd name="T3" fmla="*/ 21 h 258"/>
              <a:gd name="T4" fmla="*/ 239 w 239"/>
              <a:gd name="T5" fmla="*/ 41 h 258"/>
              <a:gd name="T6" fmla="*/ 128 w 239"/>
              <a:gd name="T7" fmla="*/ 6 h 258"/>
              <a:gd name="T8" fmla="*/ 10 w 239"/>
              <a:gd name="T9" fmla="*/ 160 h 258"/>
              <a:gd name="T10" fmla="*/ 73 w 239"/>
              <a:gd name="T11" fmla="*/ 258 h 258"/>
              <a:gd name="T12" fmla="*/ 30 w 239"/>
              <a:gd name="T13" fmla="*/ 175 h 258"/>
            </a:gdLst>
            <a:ahLst/>
            <a:cxnLst>
              <a:cxn ang="0">
                <a:pos x="T0" y="T1"/>
              </a:cxn>
              <a:cxn ang="0">
                <a:pos x="T2" y="T3"/>
              </a:cxn>
              <a:cxn ang="0">
                <a:pos x="T4" y="T5"/>
              </a:cxn>
              <a:cxn ang="0">
                <a:pos x="T6" y="T7"/>
              </a:cxn>
              <a:cxn ang="0">
                <a:pos x="T8" y="T9"/>
              </a:cxn>
              <a:cxn ang="0">
                <a:pos x="T10" y="T11"/>
              </a:cxn>
              <a:cxn ang="0">
                <a:pos x="T12" y="T13"/>
              </a:cxn>
            </a:cxnLst>
            <a:rect l="0" t="0" r="r" b="b"/>
            <a:pathLst>
              <a:path w="239" h="258">
                <a:moveTo>
                  <a:pt x="30" y="175"/>
                </a:moveTo>
                <a:cubicBezTo>
                  <a:pt x="20" y="100"/>
                  <a:pt x="72" y="31"/>
                  <a:pt x="148" y="21"/>
                </a:cubicBezTo>
                <a:cubicBezTo>
                  <a:pt x="181" y="16"/>
                  <a:pt x="213" y="24"/>
                  <a:pt x="239" y="41"/>
                </a:cubicBezTo>
                <a:cubicBezTo>
                  <a:pt x="210" y="14"/>
                  <a:pt x="170" y="0"/>
                  <a:pt x="128" y="6"/>
                </a:cubicBezTo>
                <a:cubicBezTo>
                  <a:pt x="53" y="16"/>
                  <a:pt x="0" y="85"/>
                  <a:pt x="10" y="160"/>
                </a:cubicBezTo>
                <a:cubicBezTo>
                  <a:pt x="16" y="202"/>
                  <a:pt x="40" y="237"/>
                  <a:pt x="73" y="258"/>
                </a:cubicBezTo>
                <a:cubicBezTo>
                  <a:pt x="50" y="237"/>
                  <a:pt x="34" y="208"/>
                  <a:pt x="30" y="175"/>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957756"/>
            <a:endParaRPr lang="fr-FR" sz="1400" kern="0" dirty="0">
              <a:solidFill>
                <a:srgbClr val="263147"/>
              </a:solidFill>
              <a:latin typeface="Verdana"/>
            </a:endParaRPr>
          </a:p>
        </p:txBody>
      </p:sp>
      <p:sp>
        <p:nvSpPr>
          <p:cNvPr id="110" name="Freeform 24">
            <a:extLst>
              <a:ext uri="{FF2B5EF4-FFF2-40B4-BE49-F238E27FC236}">
                <a16:creationId xmlns:a16="http://schemas.microsoft.com/office/drawing/2014/main" id="{3769087B-4224-4C4B-A263-217D4A9F056D}"/>
              </a:ext>
            </a:extLst>
          </p:cNvPr>
          <p:cNvSpPr>
            <a:spLocks/>
          </p:cNvSpPr>
          <p:nvPr/>
        </p:nvSpPr>
        <p:spPr bwMode="auto">
          <a:xfrm rot="19589649">
            <a:off x="3374557" y="1223650"/>
            <a:ext cx="789619" cy="867196"/>
          </a:xfrm>
          <a:custGeom>
            <a:avLst/>
            <a:gdLst>
              <a:gd name="T0" fmla="*/ 318 w 354"/>
              <a:gd name="T1" fmla="*/ 113 h 374"/>
              <a:gd name="T2" fmla="*/ 318 w 354"/>
              <a:gd name="T3" fmla="*/ 114 h 374"/>
              <a:gd name="T4" fmla="*/ 318 w 354"/>
              <a:gd name="T5" fmla="*/ 114 h 374"/>
              <a:gd name="T6" fmla="*/ 319 w 354"/>
              <a:gd name="T7" fmla="*/ 116 h 374"/>
              <a:gd name="T8" fmla="*/ 319 w 354"/>
              <a:gd name="T9" fmla="*/ 117 h 374"/>
              <a:gd name="T10" fmla="*/ 319 w 354"/>
              <a:gd name="T11" fmla="*/ 117 h 374"/>
              <a:gd name="T12" fmla="*/ 319 w 354"/>
              <a:gd name="T13" fmla="*/ 118 h 374"/>
              <a:gd name="T14" fmla="*/ 319 w 354"/>
              <a:gd name="T15" fmla="*/ 118 h 374"/>
              <a:gd name="T16" fmla="*/ 319 w 354"/>
              <a:gd name="T17" fmla="*/ 119 h 374"/>
              <a:gd name="T18" fmla="*/ 319 w 354"/>
              <a:gd name="T19" fmla="*/ 120 h 374"/>
              <a:gd name="T20" fmla="*/ 319 w 354"/>
              <a:gd name="T21" fmla="*/ 120 h 374"/>
              <a:gd name="T22" fmla="*/ 320 w 354"/>
              <a:gd name="T23" fmla="*/ 121 h 374"/>
              <a:gd name="T24" fmla="*/ 320 w 354"/>
              <a:gd name="T25" fmla="*/ 121 h 374"/>
              <a:gd name="T26" fmla="*/ 320 w 354"/>
              <a:gd name="T27" fmla="*/ 122 h 374"/>
              <a:gd name="T28" fmla="*/ 320 w 354"/>
              <a:gd name="T29" fmla="*/ 122 h 374"/>
              <a:gd name="T30" fmla="*/ 320 w 354"/>
              <a:gd name="T31" fmla="*/ 123 h 374"/>
              <a:gd name="T32" fmla="*/ 320 w 354"/>
              <a:gd name="T33" fmla="*/ 123 h 374"/>
              <a:gd name="T34" fmla="*/ 320 w 354"/>
              <a:gd name="T35" fmla="*/ 124 h 374"/>
              <a:gd name="T36" fmla="*/ 320 w 354"/>
              <a:gd name="T37" fmla="*/ 124 h 374"/>
              <a:gd name="T38" fmla="*/ 320 w 354"/>
              <a:gd name="T39" fmla="*/ 125 h 374"/>
              <a:gd name="T40" fmla="*/ 320 w 354"/>
              <a:gd name="T41" fmla="*/ 125 h 374"/>
              <a:gd name="T42" fmla="*/ 320 w 354"/>
              <a:gd name="T43" fmla="*/ 125 h 374"/>
              <a:gd name="T44" fmla="*/ 321 w 354"/>
              <a:gd name="T45" fmla="*/ 126 h 374"/>
              <a:gd name="T46" fmla="*/ 321 w 354"/>
              <a:gd name="T47" fmla="*/ 126 h 374"/>
              <a:gd name="T48" fmla="*/ 321 w 354"/>
              <a:gd name="T49" fmla="*/ 127 h 374"/>
              <a:gd name="T50" fmla="*/ 321 w 354"/>
              <a:gd name="T51" fmla="*/ 127 h 374"/>
              <a:gd name="T52" fmla="*/ 321 w 354"/>
              <a:gd name="T53" fmla="*/ 128 h 374"/>
              <a:gd name="T54" fmla="*/ 321 w 354"/>
              <a:gd name="T55" fmla="*/ 128 h 374"/>
              <a:gd name="T56" fmla="*/ 321 w 354"/>
              <a:gd name="T57" fmla="*/ 129 h 374"/>
              <a:gd name="T58" fmla="*/ 321 w 354"/>
              <a:gd name="T59" fmla="*/ 130 h 374"/>
              <a:gd name="T60" fmla="*/ 321 w 354"/>
              <a:gd name="T61" fmla="*/ 130 h 374"/>
              <a:gd name="T62" fmla="*/ 321 w 354"/>
              <a:gd name="T63" fmla="*/ 131 h 374"/>
              <a:gd name="T64" fmla="*/ 321 w 354"/>
              <a:gd name="T65" fmla="*/ 131 h 374"/>
              <a:gd name="T66" fmla="*/ 321 w 354"/>
              <a:gd name="T67" fmla="*/ 132 h 374"/>
              <a:gd name="T68" fmla="*/ 321 w 354"/>
              <a:gd name="T69" fmla="*/ 132 h 374"/>
              <a:gd name="T70" fmla="*/ 322 w 354"/>
              <a:gd name="T71" fmla="*/ 132 h 374"/>
              <a:gd name="T72" fmla="*/ 323 w 354"/>
              <a:gd name="T73" fmla="*/ 160 h 374"/>
              <a:gd name="T74" fmla="*/ 93 w 354"/>
              <a:gd name="T75" fmla="*/ 359 h 374"/>
              <a:gd name="T76" fmla="*/ 93 w 354"/>
              <a:gd name="T77" fmla="*/ 359 h 374"/>
              <a:gd name="T78" fmla="*/ 92 w 354"/>
              <a:gd name="T79" fmla="*/ 359 h 374"/>
              <a:gd name="T80" fmla="*/ 92 w 354"/>
              <a:gd name="T81" fmla="*/ 359 h 374"/>
              <a:gd name="T82" fmla="*/ 91 w 354"/>
              <a:gd name="T83" fmla="*/ 359 h 374"/>
              <a:gd name="T84" fmla="*/ 0 w 354"/>
              <a:gd name="T85" fmla="*/ 320 h 374"/>
              <a:gd name="T86" fmla="*/ 339 w 354"/>
              <a:gd name="T87" fmla="*/ 14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4" h="374">
                <a:moveTo>
                  <a:pt x="244" y="0"/>
                </a:moveTo>
                <a:cubicBezTo>
                  <a:pt x="280" y="27"/>
                  <a:pt x="307" y="67"/>
                  <a:pt x="318" y="113"/>
                </a:cubicBezTo>
                <a:cubicBezTo>
                  <a:pt x="318" y="113"/>
                  <a:pt x="318" y="113"/>
                  <a:pt x="318" y="113"/>
                </a:cubicBezTo>
                <a:cubicBezTo>
                  <a:pt x="318" y="113"/>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5"/>
                  <a:pt x="318" y="116"/>
                  <a:pt x="319" y="116"/>
                </a:cubicBezTo>
                <a:cubicBezTo>
                  <a:pt x="319" y="116"/>
                  <a:pt x="319" y="116"/>
                  <a:pt x="319" y="116"/>
                </a:cubicBezTo>
                <a:cubicBezTo>
                  <a:pt x="319" y="116"/>
                  <a:pt x="319" y="116"/>
                  <a:pt x="319" y="116"/>
                </a:cubicBezTo>
                <a:cubicBezTo>
                  <a:pt x="319" y="116"/>
                  <a:pt x="319" y="116"/>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9"/>
                  <a:pt x="319" y="119"/>
                  <a:pt x="319" y="119"/>
                </a:cubicBezTo>
                <a:cubicBezTo>
                  <a:pt x="319" y="119"/>
                  <a:pt x="319" y="119"/>
                  <a:pt x="319" y="119"/>
                </a:cubicBezTo>
                <a:cubicBezTo>
                  <a:pt x="319" y="119"/>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20" y="120"/>
                  <a:pt x="320" y="120"/>
                </a:cubicBezTo>
                <a:cubicBezTo>
                  <a:pt x="320" y="120"/>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6"/>
                  <a:pt x="320" y="126"/>
                  <a:pt x="320" y="126"/>
                </a:cubicBezTo>
                <a:cubicBezTo>
                  <a:pt x="320" y="126"/>
                  <a:pt x="320" y="126"/>
                  <a:pt x="320" y="126"/>
                </a:cubicBezTo>
                <a:cubicBezTo>
                  <a:pt x="321" y="126"/>
                  <a:pt x="321" y="126"/>
                  <a:pt x="321" y="126"/>
                </a:cubicBezTo>
                <a:cubicBezTo>
                  <a:pt x="321" y="126"/>
                  <a:pt x="321" y="126"/>
                  <a:pt x="321" y="126"/>
                </a:cubicBezTo>
                <a:cubicBezTo>
                  <a:pt x="321" y="126"/>
                  <a:pt x="321" y="126"/>
                  <a:pt x="321" y="126"/>
                </a:cubicBezTo>
                <a:cubicBezTo>
                  <a:pt x="321" y="126"/>
                  <a:pt x="321" y="126"/>
                  <a:pt x="321" y="126"/>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9"/>
                </a:cubicBezTo>
                <a:cubicBezTo>
                  <a:pt x="321" y="129"/>
                  <a:pt x="321" y="129"/>
                  <a:pt x="321" y="129"/>
                </a:cubicBezTo>
                <a:cubicBezTo>
                  <a:pt x="321" y="129"/>
                  <a:pt x="321" y="129"/>
                  <a:pt x="321" y="129"/>
                </a:cubicBezTo>
                <a:cubicBezTo>
                  <a:pt x="321" y="129"/>
                  <a:pt x="321" y="129"/>
                  <a:pt x="321" y="129"/>
                </a:cubicBezTo>
                <a:cubicBezTo>
                  <a:pt x="321" y="129"/>
                  <a:pt x="321" y="129"/>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2"/>
                  <a:pt x="321" y="132"/>
                </a:cubicBezTo>
                <a:cubicBezTo>
                  <a:pt x="321" y="132"/>
                  <a:pt x="321" y="132"/>
                  <a:pt x="321" y="132"/>
                </a:cubicBezTo>
                <a:cubicBezTo>
                  <a:pt x="321" y="132"/>
                  <a:pt x="321" y="132"/>
                  <a:pt x="321" y="132"/>
                </a:cubicBezTo>
                <a:cubicBezTo>
                  <a:pt x="321" y="132"/>
                  <a:pt x="321" y="132"/>
                  <a:pt x="321" y="132"/>
                </a:cubicBezTo>
                <a:cubicBezTo>
                  <a:pt x="321" y="132"/>
                  <a:pt x="321" y="132"/>
                  <a:pt x="321" y="132"/>
                </a:cubicBezTo>
                <a:cubicBezTo>
                  <a:pt x="321" y="132"/>
                  <a:pt x="322" y="132"/>
                  <a:pt x="322" y="132"/>
                </a:cubicBezTo>
                <a:cubicBezTo>
                  <a:pt x="322" y="132"/>
                  <a:pt x="322" y="132"/>
                  <a:pt x="322" y="132"/>
                </a:cubicBezTo>
                <a:cubicBezTo>
                  <a:pt x="322" y="133"/>
                  <a:pt x="322" y="133"/>
                  <a:pt x="322" y="133"/>
                </a:cubicBezTo>
                <a:cubicBezTo>
                  <a:pt x="322" y="133"/>
                  <a:pt x="322" y="133"/>
                  <a:pt x="322" y="133"/>
                </a:cubicBezTo>
                <a:cubicBezTo>
                  <a:pt x="323" y="142"/>
                  <a:pt x="323" y="151"/>
                  <a:pt x="323" y="160"/>
                </a:cubicBezTo>
                <a:cubicBezTo>
                  <a:pt x="323" y="259"/>
                  <a:pt x="250" y="345"/>
                  <a:pt x="149" y="359"/>
                </a:cubicBezTo>
                <a:cubicBezTo>
                  <a:pt x="140" y="360"/>
                  <a:pt x="131" y="361"/>
                  <a:pt x="122" y="361"/>
                </a:cubicBezTo>
                <a:cubicBezTo>
                  <a:pt x="112" y="361"/>
                  <a:pt x="102" y="360"/>
                  <a:pt x="93" y="359"/>
                </a:cubicBezTo>
                <a:cubicBezTo>
                  <a:pt x="93" y="359"/>
                  <a:pt x="93" y="359"/>
                  <a:pt x="93" y="359"/>
                </a:cubicBezTo>
                <a:cubicBezTo>
                  <a:pt x="93" y="359"/>
                  <a:pt x="93" y="359"/>
                  <a:pt x="93" y="359"/>
                </a:cubicBezTo>
                <a:cubicBezTo>
                  <a:pt x="93" y="359"/>
                  <a:pt x="93" y="359"/>
                  <a:pt x="93"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1" y="359"/>
                  <a:pt x="91" y="359"/>
                </a:cubicBezTo>
                <a:cubicBezTo>
                  <a:pt x="91" y="359"/>
                  <a:pt x="91" y="359"/>
                  <a:pt x="91" y="359"/>
                </a:cubicBezTo>
                <a:cubicBezTo>
                  <a:pt x="91" y="359"/>
                  <a:pt x="91" y="359"/>
                  <a:pt x="91" y="359"/>
                </a:cubicBezTo>
                <a:cubicBezTo>
                  <a:pt x="91" y="359"/>
                  <a:pt x="91" y="359"/>
                  <a:pt x="91" y="359"/>
                </a:cubicBezTo>
                <a:cubicBezTo>
                  <a:pt x="58" y="353"/>
                  <a:pt x="27" y="340"/>
                  <a:pt x="0" y="320"/>
                </a:cubicBezTo>
                <a:cubicBezTo>
                  <a:pt x="37" y="354"/>
                  <a:pt x="86" y="374"/>
                  <a:pt x="138" y="374"/>
                </a:cubicBezTo>
                <a:cubicBezTo>
                  <a:pt x="147" y="374"/>
                  <a:pt x="156" y="374"/>
                  <a:pt x="165" y="372"/>
                </a:cubicBezTo>
                <a:cubicBezTo>
                  <a:pt x="276" y="357"/>
                  <a:pt x="354" y="256"/>
                  <a:pt x="339" y="145"/>
                </a:cubicBezTo>
                <a:cubicBezTo>
                  <a:pt x="330" y="82"/>
                  <a:pt x="294" y="30"/>
                  <a:pt x="244" y="0"/>
                </a:cubicBezTo>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11" name="Freeform 25">
            <a:extLst>
              <a:ext uri="{FF2B5EF4-FFF2-40B4-BE49-F238E27FC236}">
                <a16:creationId xmlns:a16="http://schemas.microsoft.com/office/drawing/2014/main" id="{07AC76F3-F2C9-40B2-BE14-1D4A09563ED6}"/>
              </a:ext>
            </a:extLst>
          </p:cNvPr>
          <p:cNvSpPr>
            <a:spLocks noEditPoints="1"/>
          </p:cNvSpPr>
          <p:nvPr/>
        </p:nvSpPr>
        <p:spPr bwMode="auto">
          <a:xfrm rot="19589649">
            <a:off x="3630403" y="1428977"/>
            <a:ext cx="517479" cy="575630"/>
          </a:xfrm>
          <a:custGeom>
            <a:avLst/>
            <a:gdLst>
              <a:gd name="T0" fmla="*/ 2 w 232"/>
              <a:gd name="T1" fmla="*/ 246 h 248"/>
              <a:gd name="T2" fmla="*/ 1 w 232"/>
              <a:gd name="T3" fmla="*/ 246 h 248"/>
              <a:gd name="T4" fmla="*/ 1 w 232"/>
              <a:gd name="T5" fmla="*/ 246 h 248"/>
              <a:gd name="T6" fmla="*/ 1 w 232"/>
              <a:gd name="T7" fmla="*/ 246 h 248"/>
              <a:gd name="T8" fmla="*/ 1 w 232"/>
              <a:gd name="T9" fmla="*/ 246 h 248"/>
              <a:gd name="T10" fmla="*/ 0 w 232"/>
              <a:gd name="T11" fmla="*/ 246 h 248"/>
              <a:gd name="T12" fmla="*/ 0 w 232"/>
              <a:gd name="T13" fmla="*/ 246 h 248"/>
              <a:gd name="T14" fmla="*/ 31 w 232"/>
              <a:gd name="T15" fmla="*/ 248 h 248"/>
              <a:gd name="T16" fmla="*/ 58 w 232"/>
              <a:gd name="T17" fmla="*/ 246 h 248"/>
              <a:gd name="T18" fmla="*/ 231 w 232"/>
              <a:gd name="T19" fmla="*/ 20 h 248"/>
              <a:gd name="T20" fmla="*/ 231 w 232"/>
              <a:gd name="T21" fmla="*/ 19 h 248"/>
              <a:gd name="T22" fmla="*/ 230 w 232"/>
              <a:gd name="T23" fmla="*/ 19 h 248"/>
              <a:gd name="T24" fmla="*/ 230 w 232"/>
              <a:gd name="T25" fmla="*/ 19 h 248"/>
              <a:gd name="T26" fmla="*/ 230 w 232"/>
              <a:gd name="T27" fmla="*/ 18 h 248"/>
              <a:gd name="T28" fmla="*/ 230 w 232"/>
              <a:gd name="T29" fmla="*/ 18 h 248"/>
              <a:gd name="T30" fmla="*/ 230 w 232"/>
              <a:gd name="T31" fmla="*/ 18 h 248"/>
              <a:gd name="T32" fmla="*/ 230 w 232"/>
              <a:gd name="T33" fmla="*/ 17 h 248"/>
              <a:gd name="T34" fmla="*/ 230 w 232"/>
              <a:gd name="T35" fmla="*/ 17 h 248"/>
              <a:gd name="T36" fmla="*/ 230 w 232"/>
              <a:gd name="T37" fmla="*/ 17 h 248"/>
              <a:gd name="T38" fmla="*/ 230 w 232"/>
              <a:gd name="T39" fmla="*/ 17 h 248"/>
              <a:gd name="T40" fmla="*/ 230 w 232"/>
              <a:gd name="T41" fmla="*/ 16 h 248"/>
              <a:gd name="T42" fmla="*/ 230 w 232"/>
              <a:gd name="T43" fmla="*/ 16 h 248"/>
              <a:gd name="T44" fmla="*/ 230 w 232"/>
              <a:gd name="T45" fmla="*/ 15 h 248"/>
              <a:gd name="T46" fmla="*/ 230 w 232"/>
              <a:gd name="T47" fmla="*/ 15 h 248"/>
              <a:gd name="T48" fmla="*/ 230 w 232"/>
              <a:gd name="T49" fmla="*/ 15 h 248"/>
              <a:gd name="T50" fmla="*/ 230 w 232"/>
              <a:gd name="T51" fmla="*/ 14 h 248"/>
              <a:gd name="T52" fmla="*/ 230 w 232"/>
              <a:gd name="T53" fmla="*/ 14 h 248"/>
              <a:gd name="T54" fmla="*/ 230 w 232"/>
              <a:gd name="T55" fmla="*/ 14 h 248"/>
              <a:gd name="T56" fmla="*/ 230 w 232"/>
              <a:gd name="T57" fmla="*/ 13 h 248"/>
              <a:gd name="T58" fmla="*/ 230 w 232"/>
              <a:gd name="T59" fmla="*/ 13 h 248"/>
              <a:gd name="T60" fmla="*/ 229 w 232"/>
              <a:gd name="T61" fmla="*/ 13 h 248"/>
              <a:gd name="T62" fmla="*/ 229 w 232"/>
              <a:gd name="T63" fmla="*/ 12 h 248"/>
              <a:gd name="T64" fmla="*/ 229 w 232"/>
              <a:gd name="T65" fmla="*/ 12 h 248"/>
              <a:gd name="T66" fmla="*/ 229 w 232"/>
              <a:gd name="T67" fmla="*/ 12 h 248"/>
              <a:gd name="T68" fmla="*/ 229 w 232"/>
              <a:gd name="T69" fmla="*/ 11 h 248"/>
              <a:gd name="T70" fmla="*/ 229 w 232"/>
              <a:gd name="T71" fmla="*/ 11 h 248"/>
              <a:gd name="T72" fmla="*/ 229 w 232"/>
              <a:gd name="T73" fmla="*/ 11 h 248"/>
              <a:gd name="T74" fmla="*/ 229 w 232"/>
              <a:gd name="T75" fmla="*/ 10 h 248"/>
              <a:gd name="T76" fmla="*/ 229 w 232"/>
              <a:gd name="T77" fmla="*/ 10 h 248"/>
              <a:gd name="T78" fmla="*/ 229 w 232"/>
              <a:gd name="T79" fmla="*/ 10 h 248"/>
              <a:gd name="T80" fmla="*/ 229 w 232"/>
              <a:gd name="T81" fmla="*/ 10 h 248"/>
              <a:gd name="T82" fmla="*/ 229 w 232"/>
              <a:gd name="T83" fmla="*/ 9 h 248"/>
              <a:gd name="T84" fmla="*/ 229 w 232"/>
              <a:gd name="T85" fmla="*/ 9 h 248"/>
              <a:gd name="T86" fmla="*/ 229 w 232"/>
              <a:gd name="T87" fmla="*/ 8 h 248"/>
              <a:gd name="T88" fmla="*/ 229 w 232"/>
              <a:gd name="T89" fmla="*/ 8 h 248"/>
              <a:gd name="T90" fmla="*/ 229 w 232"/>
              <a:gd name="T91" fmla="*/ 8 h 248"/>
              <a:gd name="T92" fmla="*/ 229 w 232"/>
              <a:gd name="T93" fmla="*/ 8 h 248"/>
              <a:gd name="T94" fmla="*/ 228 w 232"/>
              <a:gd name="T95" fmla="*/ 7 h 248"/>
              <a:gd name="T96" fmla="*/ 228 w 232"/>
              <a:gd name="T97" fmla="*/ 7 h 248"/>
              <a:gd name="T98" fmla="*/ 228 w 232"/>
              <a:gd name="T99" fmla="*/ 7 h 248"/>
              <a:gd name="T100" fmla="*/ 228 w 232"/>
              <a:gd name="T101" fmla="*/ 6 h 248"/>
              <a:gd name="T102" fmla="*/ 228 w 232"/>
              <a:gd name="T103" fmla="*/ 5 h 248"/>
              <a:gd name="T104" fmla="*/ 228 w 232"/>
              <a:gd name="T105" fmla="*/ 5 h 248"/>
              <a:gd name="T106" fmla="*/ 228 w 232"/>
              <a:gd name="T107" fmla="*/ 5 h 248"/>
              <a:gd name="T108" fmla="*/ 228 w 232"/>
              <a:gd name="T109" fmla="*/ 4 h 248"/>
              <a:gd name="T110" fmla="*/ 228 w 232"/>
              <a:gd name="T111" fmla="*/ 4 h 248"/>
              <a:gd name="T112" fmla="*/ 228 w 232"/>
              <a:gd name="T113" fmla="*/ 4 h 248"/>
              <a:gd name="T114" fmla="*/ 228 w 232"/>
              <a:gd name="T115" fmla="*/ 4 h 248"/>
              <a:gd name="T116" fmla="*/ 228 w 232"/>
              <a:gd name="T117" fmla="*/ 3 h 248"/>
              <a:gd name="T118" fmla="*/ 227 w 232"/>
              <a:gd name="T119" fmla="*/ 1 h 248"/>
              <a:gd name="T120" fmla="*/ 227 w 232"/>
              <a:gd name="T121" fmla="*/ 1 h 248"/>
              <a:gd name="T122" fmla="*/ 227 w 232"/>
              <a:gd name="T123" fmla="*/ 1 h 248"/>
              <a:gd name="T124" fmla="*/ 227 w 232"/>
              <a:gd name="T12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248">
                <a:moveTo>
                  <a:pt x="2" y="246"/>
                </a:moveTo>
                <a:cubicBezTo>
                  <a:pt x="2" y="246"/>
                  <a:pt x="2" y="246"/>
                  <a:pt x="2" y="246"/>
                </a:cubicBezTo>
                <a:cubicBezTo>
                  <a:pt x="2" y="246"/>
                  <a:pt x="2" y="246"/>
                  <a:pt x="2" y="246"/>
                </a:cubicBezTo>
                <a:moveTo>
                  <a:pt x="1" y="246"/>
                </a:moveTo>
                <a:cubicBezTo>
                  <a:pt x="1" y="246"/>
                  <a:pt x="1" y="246"/>
                  <a:pt x="2"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0" y="246"/>
                </a:moveTo>
                <a:cubicBezTo>
                  <a:pt x="0" y="246"/>
                  <a:pt x="0" y="246"/>
                  <a:pt x="0" y="246"/>
                </a:cubicBezTo>
                <a:cubicBezTo>
                  <a:pt x="0" y="246"/>
                  <a:pt x="0" y="246"/>
                  <a:pt x="0" y="246"/>
                </a:cubicBezTo>
                <a:moveTo>
                  <a:pt x="0" y="246"/>
                </a:moveTo>
                <a:cubicBezTo>
                  <a:pt x="0" y="246"/>
                  <a:pt x="0" y="246"/>
                  <a:pt x="0" y="246"/>
                </a:cubicBezTo>
                <a:cubicBezTo>
                  <a:pt x="0" y="246"/>
                  <a:pt x="0" y="246"/>
                  <a:pt x="0" y="246"/>
                </a:cubicBezTo>
                <a:moveTo>
                  <a:pt x="232" y="47"/>
                </a:moveTo>
                <a:cubicBezTo>
                  <a:pt x="232" y="146"/>
                  <a:pt x="159" y="232"/>
                  <a:pt x="58" y="246"/>
                </a:cubicBezTo>
                <a:cubicBezTo>
                  <a:pt x="49" y="247"/>
                  <a:pt x="40" y="248"/>
                  <a:pt x="31" y="248"/>
                </a:cubicBezTo>
                <a:cubicBezTo>
                  <a:pt x="21" y="248"/>
                  <a:pt x="11" y="247"/>
                  <a:pt x="2" y="246"/>
                </a:cubicBezTo>
                <a:cubicBezTo>
                  <a:pt x="11" y="247"/>
                  <a:pt x="21" y="248"/>
                  <a:pt x="31" y="248"/>
                </a:cubicBezTo>
                <a:cubicBezTo>
                  <a:pt x="40" y="248"/>
                  <a:pt x="49" y="247"/>
                  <a:pt x="58" y="246"/>
                </a:cubicBezTo>
                <a:cubicBezTo>
                  <a:pt x="159" y="232"/>
                  <a:pt x="232" y="146"/>
                  <a:pt x="232" y="47"/>
                </a:cubicBezTo>
                <a:moveTo>
                  <a:pt x="231" y="19"/>
                </a:moveTo>
                <a:cubicBezTo>
                  <a:pt x="231" y="20"/>
                  <a:pt x="231" y="20"/>
                  <a:pt x="231" y="20"/>
                </a:cubicBezTo>
                <a:cubicBezTo>
                  <a:pt x="231" y="20"/>
                  <a:pt x="231" y="20"/>
                  <a:pt x="231" y="19"/>
                </a:cubicBezTo>
                <a:moveTo>
                  <a:pt x="230" y="19"/>
                </a:moveTo>
                <a:cubicBezTo>
                  <a:pt x="230" y="19"/>
                  <a:pt x="231" y="19"/>
                  <a:pt x="231" y="19"/>
                </a:cubicBezTo>
                <a:cubicBezTo>
                  <a:pt x="231" y="19"/>
                  <a:pt x="230" y="19"/>
                  <a:pt x="230" y="19"/>
                </a:cubicBezTo>
                <a:moveTo>
                  <a:pt x="230" y="19"/>
                </a:moveTo>
                <a:cubicBezTo>
                  <a:pt x="230" y="19"/>
                  <a:pt x="230" y="19"/>
                  <a:pt x="230" y="19"/>
                </a:cubicBezTo>
                <a:cubicBezTo>
                  <a:pt x="230" y="19"/>
                  <a:pt x="230" y="19"/>
                  <a:pt x="230" y="19"/>
                </a:cubicBezTo>
                <a:moveTo>
                  <a:pt x="230" y="19"/>
                </a:moveTo>
                <a:cubicBezTo>
                  <a:pt x="230" y="19"/>
                  <a:pt x="230" y="19"/>
                  <a:pt x="230" y="19"/>
                </a:cubicBezTo>
                <a:cubicBezTo>
                  <a:pt x="230" y="19"/>
                  <a:pt x="230" y="19"/>
                  <a:pt x="230" y="19"/>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6"/>
                </a:moveTo>
                <a:cubicBezTo>
                  <a:pt x="230" y="16"/>
                  <a:pt x="230" y="16"/>
                  <a:pt x="230" y="17"/>
                </a:cubicBezTo>
                <a:cubicBezTo>
                  <a:pt x="230" y="16"/>
                  <a:pt x="230" y="16"/>
                  <a:pt x="230" y="16"/>
                </a:cubicBezTo>
                <a:moveTo>
                  <a:pt x="230" y="16"/>
                </a:moveTo>
                <a:cubicBezTo>
                  <a:pt x="230" y="16"/>
                  <a:pt x="230" y="16"/>
                  <a:pt x="230" y="16"/>
                </a:cubicBezTo>
                <a:cubicBezTo>
                  <a:pt x="230" y="16"/>
                  <a:pt x="230" y="16"/>
                  <a:pt x="230" y="16"/>
                </a:cubicBezTo>
                <a:moveTo>
                  <a:pt x="230" y="15"/>
                </a:moveTo>
                <a:cubicBezTo>
                  <a:pt x="230" y="15"/>
                  <a:pt x="230" y="15"/>
                  <a:pt x="230" y="16"/>
                </a:cubicBezTo>
                <a:cubicBezTo>
                  <a:pt x="230" y="15"/>
                  <a:pt x="230" y="15"/>
                  <a:pt x="230" y="15"/>
                </a:cubicBezTo>
                <a:moveTo>
                  <a:pt x="230" y="15"/>
                </a:moveTo>
                <a:cubicBezTo>
                  <a:pt x="230" y="15"/>
                  <a:pt x="230" y="15"/>
                  <a:pt x="230" y="15"/>
                </a:cubicBezTo>
                <a:cubicBezTo>
                  <a:pt x="230" y="15"/>
                  <a:pt x="230" y="15"/>
                  <a:pt x="230" y="15"/>
                </a:cubicBezTo>
                <a:moveTo>
                  <a:pt x="230" y="15"/>
                </a:moveTo>
                <a:cubicBezTo>
                  <a:pt x="230" y="15"/>
                  <a:pt x="230" y="15"/>
                  <a:pt x="230" y="15"/>
                </a:cubicBezTo>
                <a:cubicBezTo>
                  <a:pt x="230" y="15"/>
                  <a:pt x="230" y="15"/>
                  <a:pt x="230" y="15"/>
                </a:cubicBezTo>
                <a:moveTo>
                  <a:pt x="230" y="14"/>
                </a:moveTo>
                <a:cubicBezTo>
                  <a:pt x="230" y="14"/>
                  <a:pt x="230" y="15"/>
                  <a:pt x="230" y="15"/>
                </a:cubicBezTo>
                <a:cubicBezTo>
                  <a:pt x="230" y="15"/>
                  <a:pt x="230" y="14"/>
                  <a:pt x="230" y="14"/>
                </a:cubicBezTo>
                <a:moveTo>
                  <a:pt x="230" y="14"/>
                </a:moveTo>
                <a:cubicBezTo>
                  <a:pt x="230" y="14"/>
                  <a:pt x="230" y="14"/>
                  <a:pt x="230" y="14"/>
                </a:cubicBezTo>
                <a:cubicBezTo>
                  <a:pt x="230" y="14"/>
                  <a:pt x="230" y="14"/>
                  <a:pt x="230" y="14"/>
                </a:cubicBezTo>
                <a:moveTo>
                  <a:pt x="230" y="14"/>
                </a:moveTo>
                <a:cubicBezTo>
                  <a:pt x="230" y="14"/>
                  <a:pt x="230" y="14"/>
                  <a:pt x="230" y="14"/>
                </a:cubicBezTo>
                <a:cubicBezTo>
                  <a:pt x="230" y="14"/>
                  <a:pt x="230" y="14"/>
                  <a:pt x="230" y="14"/>
                </a:cubicBezTo>
                <a:moveTo>
                  <a:pt x="230" y="13"/>
                </a:moveTo>
                <a:cubicBezTo>
                  <a:pt x="230" y="14"/>
                  <a:pt x="230" y="14"/>
                  <a:pt x="230" y="14"/>
                </a:cubicBezTo>
                <a:cubicBezTo>
                  <a:pt x="230" y="14"/>
                  <a:pt x="230" y="14"/>
                  <a:pt x="230" y="13"/>
                </a:cubicBezTo>
                <a:moveTo>
                  <a:pt x="230" y="13"/>
                </a:moveTo>
                <a:cubicBezTo>
                  <a:pt x="230" y="13"/>
                  <a:pt x="230" y="13"/>
                  <a:pt x="230" y="13"/>
                </a:cubicBezTo>
                <a:cubicBezTo>
                  <a:pt x="230" y="13"/>
                  <a:pt x="230" y="13"/>
                  <a:pt x="230" y="13"/>
                </a:cubicBezTo>
                <a:moveTo>
                  <a:pt x="229" y="13"/>
                </a:moveTo>
                <a:cubicBezTo>
                  <a:pt x="230" y="13"/>
                  <a:pt x="230" y="13"/>
                  <a:pt x="230" y="13"/>
                </a:cubicBezTo>
                <a:cubicBezTo>
                  <a:pt x="230" y="13"/>
                  <a:pt x="230" y="13"/>
                  <a:pt x="229" y="13"/>
                </a:cubicBezTo>
                <a:moveTo>
                  <a:pt x="229" y="12"/>
                </a:moveTo>
                <a:cubicBezTo>
                  <a:pt x="229" y="13"/>
                  <a:pt x="229" y="13"/>
                  <a:pt x="229" y="13"/>
                </a:cubicBezTo>
                <a:cubicBezTo>
                  <a:pt x="229" y="13"/>
                  <a:pt x="229" y="13"/>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9"/>
                </a:moveTo>
                <a:cubicBezTo>
                  <a:pt x="229" y="9"/>
                  <a:pt x="229" y="10"/>
                  <a:pt x="229" y="10"/>
                </a:cubicBezTo>
                <a:cubicBezTo>
                  <a:pt x="229" y="10"/>
                  <a:pt x="229" y="9"/>
                  <a:pt x="229" y="9"/>
                </a:cubicBezTo>
                <a:moveTo>
                  <a:pt x="229" y="9"/>
                </a:moveTo>
                <a:cubicBezTo>
                  <a:pt x="229" y="9"/>
                  <a:pt x="229" y="9"/>
                  <a:pt x="229" y="9"/>
                </a:cubicBezTo>
                <a:cubicBezTo>
                  <a:pt x="229" y="9"/>
                  <a:pt x="229" y="9"/>
                  <a:pt x="229" y="9"/>
                </a:cubicBezTo>
                <a:moveTo>
                  <a:pt x="229" y="9"/>
                </a:moveTo>
                <a:cubicBezTo>
                  <a:pt x="229" y="9"/>
                  <a:pt x="229" y="9"/>
                  <a:pt x="229" y="9"/>
                </a:cubicBezTo>
                <a:cubicBezTo>
                  <a:pt x="229" y="9"/>
                  <a:pt x="229" y="9"/>
                  <a:pt x="229" y="9"/>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7"/>
                </a:moveTo>
                <a:cubicBezTo>
                  <a:pt x="229" y="7"/>
                  <a:pt x="229" y="8"/>
                  <a:pt x="229" y="8"/>
                </a:cubicBezTo>
                <a:cubicBezTo>
                  <a:pt x="229" y="8"/>
                  <a:pt x="229" y="7"/>
                  <a:pt x="229"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6"/>
                </a:moveTo>
                <a:cubicBezTo>
                  <a:pt x="228" y="6"/>
                  <a:pt x="228" y="6"/>
                  <a:pt x="228" y="6"/>
                </a:cubicBezTo>
                <a:cubicBezTo>
                  <a:pt x="228" y="6"/>
                  <a:pt x="228" y="6"/>
                  <a:pt x="228" y="6"/>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3"/>
                </a:moveTo>
                <a:cubicBezTo>
                  <a:pt x="228" y="3"/>
                  <a:pt x="228" y="3"/>
                  <a:pt x="228" y="4"/>
                </a:cubicBezTo>
                <a:cubicBezTo>
                  <a:pt x="228" y="3"/>
                  <a:pt x="228" y="3"/>
                  <a:pt x="228" y="3"/>
                </a:cubicBezTo>
                <a:moveTo>
                  <a:pt x="228" y="3"/>
                </a:moveTo>
                <a:cubicBezTo>
                  <a:pt x="228" y="3"/>
                  <a:pt x="228" y="3"/>
                  <a:pt x="228" y="3"/>
                </a:cubicBezTo>
                <a:cubicBezTo>
                  <a:pt x="228" y="3"/>
                  <a:pt x="228" y="3"/>
                  <a:pt x="228" y="3"/>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0"/>
                </a:moveTo>
                <a:cubicBezTo>
                  <a:pt x="227" y="0"/>
                  <a:pt x="227" y="0"/>
                  <a:pt x="227" y="0"/>
                </a:cubicBezTo>
                <a:cubicBezTo>
                  <a:pt x="227" y="0"/>
                  <a:pt x="227" y="0"/>
                  <a:pt x="227" y="0"/>
                </a:cubicBezTo>
              </a:path>
            </a:pathLst>
          </a:custGeom>
          <a:solidFill>
            <a:srgbClr val="D5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12" name="Rounded Rectangle 10">
            <a:extLst>
              <a:ext uri="{FF2B5EF4-FFF2-40B4-BE49-F238E27FC236}">
                <a16:creationId xmlns:a16="http://schemas.microsoft.com/office/drawing/2014/main" id="{8FCFB7FE-C09E-4524-A968-62F6E0DCD449}"/>
              </a:ext>
            </a:extLst>
          </p:cNvPr>
          <p:cNvSpPr/>
          <p:nvPr/>
        </p:nvSpPr>
        <p:spPr>
          <a:xfrm>
            <a:off x="3836194" y="2250120"/>
            <a:ext cx="7187041" cy="914400"/>
          </a:xfrm>
          <a:prstGeom prst="round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r>
              <a:rPr lang="en-US" sz="1600" dirty="0">
                <a:solidFill>
                  <a:schemeClr val="tx1"/>
                </a:solidFill>
              </a:rPr>
              <a:t>Enforcing API design standards, Governance, and  best practices</a:t>
            </a:r>
            <a:endParaRPr lang="en-IN" sz="1600" dirty="0">
              <a:solidFill>
                <a:schemeClr val="tx1"/>
              </a:solidFill>
            </a:endParaRPr>
          </a:p>
        </p:txBody>
      </p:sp>
      <p:sp>
        <p:nvSpPr>
          <p:cNvPr id="113" name="Freeform 20">
            <a:extLst>
              <a:ext uri="{FF2B5EF4-FFF2-40B4-BE49-F238E27FC236}">
                <a16:creationId xmlns:a16="http://schemas.microsoft.com/office/drawing/2014/main" id="{2E31D39B-2FCF-4CC8-9AD3-DB1862B466F1}"/>
              </a:ext>
            </a:extLst>
          </p:cNvPr>
          <p:cNvSpPr>
            <a:spLocks noEditPoints="1"/>
          </p:cNvSpPr>
          <p:nvPr/>
        </p:nvSpPr>
        <p:spPr bwMode="auto">
          <a:xfrm rot="19589649">
            <a:off x="3230620" y="2288412"/>
            <a:ext cx="805083" cy="836109"/>
          </a:xfrm>
          <a:custGeom>
            <a:avLst/>
            <a:gdLst>
              <a:gd name="T0" fmla="*/ 158 w 361"/>
              <a:gd name="T1" fmla="*/ 13 h 361"/>
              <a:gd name="T2" fmla="*/ 12 w 361"/>
              <a:gd name="T3" fmla="*/ 203 h 361"/>
              <a:gd name="T4" fmla="*/ 203 w 361"/>
              <a:gd name="T5" fmla="*/ 349 h 361"/>
              <a:gd name="T6" fmla="*/ 348 w 361"/>
              <a:gd name="T7" fmla="*/ 158 h 361"/>
              <a:gd name="T8" fmla="*/ 158 w 361"/>
              <a:gd name="T9" fmla="*/ 13 h 361"/>
              <a:gd name="T10" fmla="*/ 199 w 361"/>
              <a:gd name="T11" fmla="*/ 317 h 361"/>
              <a:gd name="T12" fmla="*/ 44 w 361"/>
              <a:gd name="T13" fmla="*/ 199 h 361"/>
              <a:gd name="T14" fmla="*/ 162 w 361"/>
              <a:gd name="T15" fmla="*/ 45 h 361"/>
              <a:gd name="T16" fmla="*/ 316 w 361"/>
              <a:gd name="T17" fmla="*/ 162 h 361"/>
              <a:gd name="T18" fmla="*/ 199 w 361"/>
              <a:gd name="T19" fmla="*/ 317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361">
                <a:moveTo>
                  <a:pt x="158" y="13"/>
                </a:moveTo>
                <a:cubicBezTo>
                  <a:pt x="65" y="25"/>
                  <a:pt x="0" y="111"/>
                  <a:pt x="12" y="203"/>
                </a:cubicBezTo>
                <a:cubicBezTo>
                  <a:pt x="25" y="296"/>
                  <a:pt x="110" y="361"/>
                  <a:pt x="203" y="349"/>
                </a:cubicBezTo>
                <a:cubicBezTo>
                  <a:pt x="296" y="336"/>
                  <a:pt x="361" y="251"/>
                  <a:pt x="348" y="158"/>
                </a:cubicBezTo>
                <a:cubicBezTo>
                  <a:pt x="336" y="65"/>
                  <a:pt x="250" y="0"/>
                  <a:pt x="158" y="13"/>
                </a:cubicBezTo>
                <a:close/>
                <a:moveTo>
                  <a:pt x="199" y="317"/>
                </a:moveTo>
                <a:cubicBezTo>
                  <a:pt x="123" y="327"/>
                  <a:pt x="54" y="274"/>
                  <a:pt x="44" y="199"/>
                </a:cubicBezTo>
                <a:cubicBezTo>
                  <a:pt x="34" y="124"/>
                  <a:pt x="87" y="55"/>
                  <a:pt x="162" y="45"/>
                </a:cubicBezTo>
                <a:cubicBezTo>
                  <a:pt x="237" y="35"/>
                  <a:pt x="306" y="87"/>
                  <a:pt x="316" y="162"/>
                </a:cubicBezTo>
                <a:cubicBezTo>
                  <a:pt x="326" y="237"/>
                  <a:pt x="274" y="307"/>
                  <a:pt x="199" y="317"/>
                </a:cubicBezTo>
                <a:close/>
              </a:path>
            </a:pathLst>
          </a:custGeom>
          <a:solidFill>
            <a:srgbClr val="998C85">
              <a:lumMod val="20000"/>
              <a:lumOff val="80000"/>
            </a:srgbClr>
          </a:solidFill>
          <a:ln w="6350">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14" name="Freeform 21">
            <a:extLst>
              <a:ext uri="{FF2B5EF4-FFF2-40B4-BE49-F238E27FC236}">
                <a16:creationId xmlns:a16="http://schemas.microsoft.com/office/drawing/2014/main" id="{8719EFA0-36C7-493A-B40F-205D3EB9A451}"/>
              </a:ext>
            </a:extLst>
          </p:cNvPr>
          <p:cNvSpPr>
            <a:spLocks/>
          </p:cNvSpPr>
          <p:nvPr/>
        </p:nvSpPr>
        <p:spPr bwMode="auto">
          <a:xfrm rot="19589649">
            <a:off x="3307665" y="2369198"/>
            <a:ext cx="650458" cy="677463"/>
          </a:xfrm>
          <a:custGeom>
            <a:avLst/>
            <a:gdLst>
              <a:gd name="T0" fmla="*/ 10 w 292"/>
              <a:gd name="T1" fmla="*/ 164 h 292"/>
              <a:gd name="T2" fmla="*/ 128 w 292"/>
              <a:gd name="T3" fmla="*/ 10 h 292"/>
              <a:gd name="T4" fmla="*/ 282 w 292"/>
              <a:gd name="T5" fmla="*/ 127 h 292"/>
              <a:gd name="T6" fmla="*/ 165 w 292"/>
              <a:gd name="T7" fmla="*/ 282 h 292"/>
              <a:gd name="T8" fmla="*/ 10 w 292"/>
              <a:gd name="T9" fmla="*/ 164 h 292"/>
            </a:gdLst>
            <a:ahLst/>
            <a:cxnLst>
              <a:cxn ang="0">
                <a:pos x="T0" y="T1"/>
              </a:cxn>
              <a:cxn ang="0">
                <a:pos x="T2" y="T3"/>
              </a:cxn>
              <a:cxn ang="0">
                <a:pos x="T4" y="T5"/>
              </a:cxn>
              <a:cxn ang="0">
                <a:pos x="T6" y="T7"/>
              </a:cxn>
              <a:cxn ang="0">
                <a:pos x="T8" y="T9"/>
              </a:cxn>
            </a:cxnLst>
            <a:rect l="0" t="0" r="r" b="b"/>
            <a:pathLst>
              <a:path w="292" h="292">
                <a:moveTo>
                  <a:pt x="10" y="164"/>
                </a:moveTo>
                <a:cubicBezTo>
                  <a:pt x="0" y="89"/>
                  <a:pt x="53" y="20"/>
                  <a:pt x="128" y="10"/>
                </a:cubicBezTo>
                <a:cubicBezTo>
                  <a:pt x="203" y="0"/>
                  <a:pt x="272" y="52"/>
                  <a:pt x="282" y="127"/>
                </a:cubicBezTo>
                <a:cubicBezTo>
                  <a:pt x="292" y="202"/>
                  <a:pt x="240" y="272"/>
                  <a:pt x="165" y="282"/>
                </a:cubicBezTo>
                <a:cubicBezTo>
                  <a:pt x="89" y="292"/>
                  <a:pt x="20" y="239"/>
                  <a:pt x="10" y="16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957756"/>
            <a:endParaRPr lang="fr-FR" sz="1400" kern="0" dirty="0">
              <a:solidFill>
                <a:srgbClr val="263147"/>
              </a:solidFill>
              <a:latin typeface="Verdana"/>
            </a:endParaRPr>
          </a:p>
        </p:txBody>
      </p:sp>
      <p:sp>
        <p:nvSpPr>
          <p:cNvPr id="115" name="Freeform 22">
            <a:extLst>
              <a:ext uri="{FF2B5EF4-FFF2-40B4-BE49-F238E27FC236}">
                <a16:creationId xmlns:a16="http://schemas.microsoft.com/office/drawing/2014/main" id="{EC77EF7A-B4AD-48F9-8C98-4517E5DA3771}"/>
              </a:ext>
            </a:extLst>
          </p:cNvPr>
          <p:cNvSpPr>
            <a:spLocks/>
          </p:cNvSpPr>
          <p:nvPr/>
        </p:nvSpPr>
        <p:spPr bwMode="auto">
          <a:xfrm rot="19589649">
            <a:off x="3300946" y="2416553"/>
            <a:ext cx="531911" cy="598140"/>
          </a:xfrm>
          <a:custGeom>
            <a:avLst/>
            <a:gdLst>
              <a:gd name="T0" fmla="*/ 30 w 239"/>
              <a:gd name="T1" fmla="*/ 175 h 258"/>
              <a:gd name="T2" fmla="*/ 148 w 239"/>
              <a:gd name="T3" fmla="*/ 21 h 258"/>
              <a:gd name="T4" fmla="*/ 239 w 239"/>
              <a:gd name="T5" fmla="*/ 41 h 258"/>
              <a:gd name="T6" fmla="*/ 128 w 239"/>
              <a:gd name="T7" fmla="*/ 6 h 258"/>
              <a:gd name="T8" fmla="*/ 10 w 239"/>
              <a:gd name="T9" fmla="*/ 160 h 258"/>
              <a:gd name="T10" fmla="*/ 73 w 239"/>
              <a:gd name="T11" fmla="*/ 258 h 258"/>
              <a:gd name="T12" fmla="*/ 30 w 239"/>
              <a:gd name="T13" fmla="*/ 175 h 258"/>
            </a:gdLst>
            <a:ahLst/>
            <a:cxnLst>
              <a:cxn ang="0">
                <a:pos x="T0" y="T1"/>
              </a:cxn>
              <a:cxn ang="0">
                <a:pos x="T2" y="T3"/>
              </a:cxn>
              <a:cxn ang="0">
                <a:pos x="T4" y="T5"/>
              </a:cxn>
              <a:cxn ang="0">
                <a:pos x="T6" y="T7"/>
              </a:cxn>
              <a:cxn ang="0">
                <a:pos x="T8" y="T9"/>
              </a:cxn>
              <a:cxn ang="0">
                <a:pos x="T10" y="T11"/>
              </a:cxn>
              <a:cxn ang="0">
                <a:pos x="T12" y="T13"/>
              </a:cxn>
            </a:cxnLst>
            <a:rect l="0" t="0" r="r" b="b"/>
            <a:pathLst>
              <a:path w="239" h="258">
                <a:moveTo>
                  <a:pt x="30" y="175"/>
                </a:moveTo>
                <a:cubicBezTo>
                  <a:pt x="20" y="100"/>
                  <a:pt x="72" y="31"/>
                  <a:pt x="148" y="21"/>
                </a:cubicBezTo>
                <a:cubicBezTo>
                  <a:pt x="181" y="16"/>
                  <a:pt x="213" y="24"/>
                  <a:pt x="239" y="41"/>
                </a:cubicBezTo>
                <a:cubicBezTo>
                  <a:pt x="210" y="14"/>
                  <a:pt x="170" y="0"/>
                  <a:pt x="128" y="6"/>
                </a:cubicBezTo>
                <a:cubicBezTo>
                  <a:pt x="53" y="16"/>
                  <a:pt x="0" y="85"/>
                  <a:pt x="10" y="160"/>
                </a:cubicBezTo>
                <a:cubicBezTo>
                  <a:pt x="16" y="202"/>
                  <a:pt x="40" y="237"/>
                  <a:pt x="73" y="258"/>
                </a:cubicBezTo>
                <a:cubicBezTo>
                  <a:pt x="50" y="237"/>
                  <a:pt x="34" y="208"/>
                  <a:pt x="30" y="175"/>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defTabSz="957756"/>
            <a:endParaRPr lang="fr-FR" sz="1400" kern="0" dirty="0">
              <a:solidFill>
                <a:srgbClr val="263147"/>
              </a:solidFill>
              <a:latin typeface="Verdana"/>
            </a:endParaRPr>
          </a:p>
        </p:txBody>
      </p:sp>
      <p:sp>
        <p:nvSpPr>
          <p:cNvPr id="116" name="Freeform 24">
            <a:extLst>
              <a:ext uri="{FF2B5EF4-FFF2-40B4-BE49-F238E27FC236}">
                <a16:creationId xmlns:a16="http://schemas.microsoft.com/office/drawing/2014/main" id="{C2B1F89D-8435-47FA-9F21-EA5FE9619C5E}"/>
              </a:ext>
            </a:extLst>
          </p:cNvPr>
          <p:cNvSpPr>
            <a:spLocks/>
          </p:cNvSpPr>
          <p:nvPr/>
        </p:nvSpPr>
        <p:spPr bwMode="auto">
          <a:xfrm rot="19589649">
            <a:off x="3374556" y="2259188"/>
            <a:ext cx="789620" cy="867195"/>
          </a:xfrm>
          <a:custGeom>
            <a:avLst/>
            <a:gdLst>
              <a:gd name="T0" fmla="*/ 318 w 354"/>
              <a:gd name="T1" fmla="*/ 113 h 374"/>
              <a:gd name="T2" fmla="*/ 318 w 354"/>
              <a:gd name="T3" fmla="*/ 114 h 374"/>
              <a:gd name="T4" fmla="*/ 318 w 354"/>
              <a:gd name="T5" fmla="*/ 114 h 374"/>
              <a:gd name="T6" fmla="*/ 319 w 354"/>
              <a:gd name="T7" fmla="*/ 116 h 374"/>
              <a:gd name="T8" fmla="*/ 319 w 354"/>
              <a:gd name="T9" fmla="*/ 117 h 374"/>
              <a:gd name="T10" fmla="*/ 319 w 354"/>
              <a:gd name="T11" fmla="*/ 117 h 374"/>
              <a:gd name="T12" fmla="*/ 319 w 354"/>
              <a:gd name="T13" fmla="*/ 118 h 374"/>
              <a:gd name="T14" fmla="*/ 319 w 354"/>
              <a:gd name="T15" fmla="*/ 118 h 374"/>
              <a:gd name="T16" fmla="*/ 319 w 354"/>
              <a:gd name="T17" fmla="*/ 119 h 374"/>
              <a:gd name="T18" fmla="*/ 319 w 354"/>
              <a:gd name="T19" fmla="*/ 120 h 374"/>
              <a:gd name="T20" fmla="*/ 319 w 354"/>
              <a:gd name="T21" fmla="*/ 120 h 374"/>
              <a:gd name="T22" fmla="*/ 320 w 354"/>
              <a:gd name="T23" fmla="*/ 121 h 374"/>
              <a:gd name="T24" fmla="*/ 320 w 354"/>
              <a:gd name="T25" fmla="*/ 121 h 374"/>
              <a:gd name="T26" fmla="*/ 320 w 354"/>
              <a:gd name="T27" fmla="*/ 122 h 374"/>
              <a:gd name="T28" fmla="*/ 320 w 354"/>
              <a:gd name="T29" fmla="*/ 122 h 374"/>
              <a:gd name="T30" fmla="*/ 320 w 354"/>
              <a:gd name="T31" fmla="*/ 123 h 374"/>
              <a:gd name="T32" fmla="*/ 320 w 354"/>
              <a:gd name="T33" fmla="*/ 123 h 374"/>
              <a:gd name="T34" fmla="*/ 320 w 354"/>
              <a:gd name="T35" fmla="*/ 124 h 374"/>
              <a:gd name="T36" fmla="*/ 320 w 354"/>
              <a:gd name="T37" fmla="*/ 124 h 374"/>
              <a:gd name="T38" fmla="*/ 320 w 354"/>
              <a:gd name="T39" fmla="*/ 125 h 374"/>
              <a:gd name="T40" fmla="*/ 320 w 354"/>
              <a:gd name="T41" fmla="*/ 125 h 374"/>
              <a:gd name="T42" fmla="*/ 320 w 354"/>
              <a:gd name="T43" fmla="*/ 125 h 374"/>
              <a:gd name="T44" fmla="*/ 321 w 354"/>
              <a:gd name="T45" fmla="*/ 126 h 374"/>
              <a:gd name="T46" fmla="*/ 321 w 354"/>
              <a:gd name="T47" fmla="*/ 126 h 374"/>
              <a:gd name="T48" fmla="*/ 321 w 354"/>
              <a:gd name="T49" fmla="*/ 127 h 374"/>
              <a:gd name="T50" fmla="*/ 321 w 354"/>
              <a:gd name="T51" fmla="*/ 127 h 374"/>
              <a:gd name="T52" fmla="*/ 321 w 354"/>
              <a:gd name="T53" fmla="*/ 128 h 374"/>
              <a:gd name="T54" fmla="*/ 321 w 354"/>
              <a:gd name="T55" fmla="*/ 128 h 374"/>
              <a:gd name="T56" fmla="*/ 321 w 354"/>
              <a:gd name="T57" fmla="*/ 129 h 374"/>
              <a:gd name="T58" fmla="*/ 321 w 354"/>
              <a:gd name="T59" fmla="*/ 130 h 374"/>
              <a:gd name="T60" fmla="*/ 321 w 354"/>
              <a:gd name="T61" fmla="*/ 130 h 374"/>
              <a:gd name="T62" fmla="*/ 321 w 354"/>
              <a:gd name="T63" fmla="*/ 131 h 374"/>
              <a:gd name="T64" fmla="*/ 321 w 354"/>
              <a:gd name="T65" fmla="*/ 131 h 374"/>
              <a:gd name="T66" fmla="*/ 321 w 354"/>
              <a:gd name="T67" fmla="*/ 132 h 374"/>
              <a:gd name="T68" fmla="*/ 321 w 354"/>
              <a:gd name="T69" fmla="*/ 132 h 374"/>
              <a:gd name="T70" fmla="*/ 322 w 354"/>
              <a:gd name="T71" fmla="*/ 132 h 374"/>
              <a:gd name="T72" fmla="*/ 323 w 354"/>
              <a:gd name="T73" fmla="*/ 160 h 374"/>
              <a:gd name="T74" fmla="*/ 93 w 354"/>
              <a:gd name="T75" fmla="*/ 359 h 374"/>
              <a:gd name="T76" fmla="*/ 93 w 354"/>
              <a:gd name="T77" fmla="*/ 359 h 374"/>
              <a:gd name="T78" fmla="*/ 92 w 354"/>
              <a:gd name="T79" fmla="*/ 359 h 374"/>
              <a:gd name="T80" fmla="*/ 92 w 354"/>
              <a:gd name="T81" fmla="*/ 359 h 374"/>
              <a:gd name="T82" fmla="*/ 91 w 354"/>
              <a:gd name="T83" fmla="*/ 359 h 374"/>
              <a:gd name="T84" fmla="*/ 0 w 354"/>
              <a:gd name="T85" fmla="*/ 320 h 374"/>
              <a:gd name="T86" fmla="*/ 339 w 354"/>
              <a:gd name="T87" fmla="*/ 14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4" h="374">
                <a:moveTo>
                  <a:pt x="244" y="0"/>
                </a:moveTo>
                <a:cubicBezTo>
                  <a:pt x="280" y="27"/>
                  <a:pt x="307" y="67"/>
                  <a:pt x="318" y="113"/>
                </a:cubicBezTo>
                <a:cubicBezTo>
                  <a:pt x="318" y="113"/>
                  <a:pt x="318" y="113"/>
                  <a:pt x="318" y="113"/>
                </a:cubicBezTo>
                <a:cubicBezTo>
                  <a:pt x="318" y="113"/>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5"/>
                  <a:pt x="318" y="116"/>
                  <a:pt x="319" y="116"/>
                </a:cubicBezTo>
                <a:cubicBezTo>
                  <a:pt x="319" y="116"/>
                  <a:pt x="319" y="116"/>
                  <a:pt x="319" y="116"/>
                </a:cubicBezTo>
                <a:cubicBezTo>
                  <a:pt x="319" y="116"/>
                  <a:pt x="319" y="116"/>
                  <a:pt x="319" y="116"/>
                </a:cubicBezTo>
                <a:cubicBezTo>
                  <a:pt x="319" y="116"/>
                  <a:pt x="319" y="116"/>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9"/>
                  <a:pt x="319" y="119"/>
                  <a:pt x="319" y="119"/>
                </a:cubicBezTo>
                <a:cubicBezTo>
                  <a:pt x="319" y="119"/>
                  <a:pt x="319" y="119"/>
                  <a:pt x="319" y="119"/>
                </a:cubicBezTo>
                <a:cubicBezTo>
                  <a:pt x="319" y="119"/>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20" y="120"/>
                  <a:pt x="320" y="120"/>
                </a:cubicBezTo>
                <a:cubicBezTo>
                  <a:pt x="320" y="120"/>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6"/>
                  <a:pt x="320" y="126"/>
                  <a:pt x="320" y="126"/>
                </a:cubicBezTo>
                <a:cubicBezTo>
                  <a:pt x="320" y="126"/>
                  <a:pt x="320" y="126"/>
                  <a:pt x="320" y="126"/>
                </a:cubicBezTo>
                <a:cubicBezTo>
                  <a:pt x="321" y="126"/>
                  <a:pt x="321" y="126"/>
                  <a:pt x="321" y="126"/>
                </a:cubicBezTo>
                <a:cubicBezTo>
                  <a:pt x="321" y="126"/>
                  <a:pt x="321" y="126"/>
                  <a:pt x="321" y="126"/>
                </a:cubicBezTo>
                <a:cubicBezTo>
                  <a:pt x="321" y="126"/>
                  <a:pt x="321" y="126"/>
                  <a:pt x="321" y="126"/>
                </a:cubicBezTo>
                <a:cubicBezTo>
                  <a:pt x="321" y="126"/>
                  <a:pt x="321" y="126"/>
                  <a:pt x="321" y="126"/>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9"/>
                </a:cubicBezTo>
                <a:cubicBezTo>
                  <a:pt x="321" y="129"/>
                  <a:pt x="321" y="129"/>
                  <a:pt x="321" y="129"/>
                </a:cubicBezTo>
                <a:cubicBezTo>
                  <a:pt x="321" y="129"/>
                  <a:pt x="321" y="129"/>
                  <a:pt x="321" y="129"/>
                </a:cubicBezTo>
                <a:cubicBezTo>
                  <a:pt x="321" y="129"/>
                  <a:pt x="321" y="129"/>
                  <a:pt x="321" y="129"/>
                </a:cubicBezTo>
                <a:cubicBezTo>
                  <a:pt x="321" y="129"/>
                  <a:pt x="321" y="129"/>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2"/>
                  <a:pt x="321" y="132"/>
                </a:cubicBezTo>
                <a:cubicBezTo>
                  <a:pt x="321" y="132"/>
                  <a:pt x="321" y="132"/>
                  <a:pt x="321" y="132"/>
                </a:cubicBezTo>
                <a:cubicBezTo>
                  <a:pt x="321" y="132"/>
                  <a:pt x="321" y="132"/>
                  <a:pt x="321" y="132"/>
                </a:cubicBezTo>
                <a:cubicBezTo>
                  <a:pt x="321" y="132"/>
                  <a:pt x="321" y="132"/>
                  <a:pt x="321" y="132"/>
                </a:cubicBezTo>
                <a:cubicBezTo>
                  <a:pt x="321" y="132"/>
                  <a:pt x="321" y="132"/>
                  <a:pt x="321" y="132"/>
                </a:cubicBezTo>
                <a:cubicBezTo>
                  <a:pt x="321" y="132"/>
                  <a:pt x="322" y="132"/>
                  <a:pt x="322" y="132"/>
                </a:cubicBezTo>
                <a:cubicBezTo>
                  <a:pt x="322" y="132"/>
                  <a:pt x="322" y="132"/>
                  <a:pt x="322" y="132"/>
                </a:cubicBezTo>
                <a:cubicBezTo>
                  <a:pt x="322" y="133"/>
                  <a:pt x="322" y="133"/>
                  <a:pt x="322" y="133"/>
                </a:cubicBezTo>
                <a:cubicBezTo>
                  <a:pt x="322" y="133"/>
                  <a:pt x="322" y="133"/>
                  <a:pt x="322" y="133"/>
                </a:cubicBezTo>
                <a:cubicBezTo>
                  <a:pt x="323" y="142"/>
                  <a:pt x="323" y="151"/>
                  <a:pt x="323" y="160"/>
                </a:cubicBezTo>
                <a:cubicBezTo>
                  <a:pt x="323" y="259"/>
                  <a:pt x="250" y="345"/>
                  <a:pt x="149" y="359"/>
                </a:cubicBezTo>
                <a:cubicBezTo>
                  <a:pt x="140" y="360"/>
                  <a:pt x="131" y="361"/>
                  <a:pt x="122" y="361"/>
                </a:cubicBezTo>
                <a:cubicBezTo>
                  <a:pt x="112" y="361"/>
                  <a:pt x="102" y="360"/>
                  <a:pt x="93" y="359"/>
                </a:cubicBezTo>
                <a:cubicBezTo>
                  <a:pt x="93" y="359"/>
                  <a:pt x="93" y="359"/>
                  <a:pt x="93" y="359"/>
                </a:cubicBezTo>
                <a:cubicBezTo>
                  <a:pt x="93" y="359"/>
                  <a:pt x="93" y="359"/>
                  <a:pt x="93" y="359"/>
                </a:cubicBezTo>
                <a:cubicBezTo>
                  <a:pt x="93" y="359"/>
                  <a:pt x="93" y="359"/>
                  <a:pt x="93"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1" y="359"/>
                  <a:pt x="91" y="359"/>
                </a:cubicBezTo>
                <a:cubicBezTo>
                  <a:pt x="91" y="359"/>
                  <a:pt x="91" y="359"/>
                  <a:pt x="91" y="359"/>
                </a:cubicBezTo>
                <a:cubicBezTo>
                  <a:pt x="91" y="359"/>
                  <a:pt x="91" y="359"/>
                  <a:pt x="91" y="359"/>
                </a:cubicBezTo>
                <a:cubicBezTo>
                  <a:pt x="91" y="359"/>
                  <a:pt x="91" y="359"/>
                  <a:pt x="91" y="359"/>
                </a:cubicBezTo>
                <a:cubicBezTo>
                  <a:pt x="58" y="353"/>
                  <a:pt x="27" y="340"/>
                  <a:pt x="0" y="320"/>
                </a:cubicBezTo>
                <a:cubicBezTo>
                  <a:pt x="37" y="354"/>
                  <a:pt x="86" y="374"/>
                  <a:pt x="138" y="374"/>
                </a:cubicBezTo>
                <a:cubicBezTo>
                  <a:pt x="147" y="374"/>
                  <a:pt x="156" y="374"/>
                  <a:pt x="165" y="372"/>
                </a:cubicBezTo>
                <a:cubicBezTo>
                  <a:pt x="276" y="357"/>
                  <a:pt x="354" y="256"/>
                  <a:pt x="339" y="145"/>
                </a:cubicBezTo>
                <a:cubicBezTo>
                  <a:pt x="330" y="82"/>
                  <a:pt x="294" y="30"/>
                  <a:pt x="244" y="0"/>
                </a:cubicBezTo>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17" name="Freeform 25">
            <a:extLst>
              <a:ext uri="{FF2B5EF4-FFF2-40B4-BE49-F238E27FC236}">
                <a16:creationId xmlns:a16="http://schemas.microsoft.com/office/drawing/2014/main" id="{0E851277-63C5-4727-9A7A-08778697A653}"/>
              </a:ext>
            </a:extLst>
          </p:cNvPr>
          <p:cNvSpPr>
            <a:spLocks noEditPoints="1"/>
          </p:cNvSpPr>
          <p:nvPr/>
        </p:nvSpPr>
        <p:spPr bwMode="auto">
          <a:xfrm rot="19589649">
            <a:off x="3630403" y="2464515"/>
            <a:ext cx="517479" cy="575630"/>
          </a:xfrm>
          <a:custGeom>
            <a:avLst/>
            <a:gdLst>
              <a:gd name="T0" fmla="*/ 2 w 232"/>
              <a:gd name="T1" fmla="*/ 246 h 248"/>
              <a:gd name="T2" fmla="*/ 1 w 232"/>
              <a:gd name="T3" fmla="*/ 246 h 248"/>
              <a:gd name="T4" fmla="*/ 1 w 232"/>
              <a:gd name="T5" fmla="*/ 246 h 248"/>
              <a:gd name="T6" fmla="*/ 1 w 232"/>
              <a:gd name="T7" fmla="*/ 246 h 248"/>
              <a:gd name="T8" fmla="*/ 1 w 232"/>
              <a:gd name="T9" fmla="*/ 246 h 248"/>
              <a:gd name="T10" fmla="*/ 0 w 232"/>
              <a:gd name="T11" fmla="*/ 246 h 248"/>
              <a:gd name="T12" fmla="*/ 0 w 232"/>
              <a:gd name="T13" fmla="*/ 246 h 248"/>
              <a:gd name="T14" fmla="*/ 31 w 232"/>
              <a:gd name="T15" fmla="*/ 248 h 248"/>
              <a:gd name="T16" fmla="*/ 58 w 232"/>
              <a:gd name="T17" fmla="*/ 246 h 248"/>
              <a:gd name="T18" fmla="*/ 231 w 232"/>
              <a:gd name="T19" fmla="*/ 20 h 248"/>
              <a:gd name="T20" fmla="*/ 231 w 232"/>
              <a:gd name="T21" fmla="*/ 19 h 248"/>
              <a:gd name="T22" fmla="*/ 230 w 232"/>
              <a:gd name="T23" fmla="*/ 19 h 248"/>
              <a:gd name="T24" fmla="*/ 230 w 232"/>
              <a:gd name="T25" fmla="*/ 19 h 248"/>
              <a:gd name="T26" fmla="*/ 230 w 232"/>
              <a:gd name="T27" fmla="*/ 18 h 248"/>
              <a:gd name="T28" fmla="*/ 230 w 232"/>
              <a:gd name="T29" fmla="*/ 18 h 248"/>
              <a:gd name="T30" fmla="*/ 230 w 232"/>
              <a:gd name="T31" fmla="*/ 18 h 248"/>
              <a:gd name="T32" fmla="*/ 230 w 232"/>
              <a:gd name="T33" fmla="*/ 17 h 248"/>
              <a:gd name="T34" fmla="*/ 230 w 232"/>
              <a:gd name="T35" fmla="*/ 17 h 248"/>
              <a:gd name="T36" fmla="*/ 230 w 232"/>
              <a:gd name="T37" fmla="*/ 17 h 248"/>
              <a:gd name="T38" fmla="*/ 230 w 232"/>
              <a:gd name="T39" fmla="*/ 17 h 248"/>
              <a:gd name="T40" fmla="*/ 230 w 232"/>
              <a:gd name="T41" fmla="*/ 16 h 248"/>
              <a:gd name="T42" fmla="*/ 230 w 232"/>
              <a:gd name="T43" fmla="*/ 16 h 248"/>
              <a:gd name="T44" fmla="*/ 230 w 232"/>
              <a:gd name="T45" fmla="*/ 15 h 248"/>
              <a:gd name="T46" fmla="*/ 230 w 232"/>
              <a:gd name="T47" fmla="*/ 15 h 248"/>
              <a:gd name="T48" fmla="*/ 230 w 232"/>
              <a:gd name="T49" fmla="*/ 15 h 248"/>
              <a:gd name="T50" fmla="*/ 230 w 232"/>
              <a:gd name="T51" fmla="*/ 14 h 248"/>
              <a:gd name="T52" fmla="*/ 230 w 232"/>
              <a:gd name="T53" fmla="*/ 14 h 248"/>
              <a:gd name="T54" fmla="*/ 230 w 232"/>
              <a:gd name="T55" fmla="*/ 14 h 248"/>
              <a:gd name="T56" fmla="*/ 230 w 232"/>
              <a:gd name="T57" fmla="*/ 13 h 248"/>
              <a:gd name="T58" fmla="*/ 230 w 232"/>
              <a:gd name="T59" fmla="*/ 13 h 248"/>
              <a:gd name="T60" fmla="*/ 229 w 232"/>
              <a:gd name="T61" fmla="*/ 13 h 248"/>
              <a:gd name="T62" fmla="*/ 229 w 232"/>
              <a:gd name="T63" fmla="*/ 12 h 248"/>
              <a:gd name="T64" fmla="*/ 229 w 232"/>
              <a:gd name="T65" fmla="*/ 12 h 248"/>
              <a:gd name="T66" fmla="*/ 229 w 232"/>
              <a:gd name="T67" fmla="*/ 12 h 248"/>
              <a:gd name="T68" fmla="*/ 229 w 232"/>
              <a:gd name="T69" fmla="*/ 11 h 248"/>
              <a:gd name="T70" fmla="*/ 229 w 232"/>
              <a:gd name="T71" fmla="*/ 11 h 248"/>
              <a:gd name="T72" fmla="*/ 229 w 232"/>
              <a:gd name="T73" fmla="*/ 11 h 248"/>
              <a:gd name="T74" fmla="*/ 229 w 232"/>
              <a:gd name="T75" fmla="*/ 10 h 248"/>
              <a:gd name="T76" fmla="*/ 229 w 232"/>
              <a:gd name="T77" fmla="*/ 10 h 248"/>
              <a:gd name="T78" fmla="*/ 229 w 232"/>
              <a:gd name="T79" fmla="*/ 10 h 248"/>
              <a:gd name="T80" fmla="*/ 229 w 232"/>
              <a:gd name="T81" fmla="*/ 10 h 248"/>
              <a:gd name="T82" fmla="*/ 229 w 232"/>
              <a:gd name="T83" fmla="*/ 9 h 248"/>
              <a:gd name="T84" fmla="*/ 229 w 232"/>
              <a:gd name="T85" fmla="*/ 9 h 248"/>
              <a:gd name="T86" fmla="*/ 229 w 232"/>
              <a:gd name="T87" fmla="*/ 8 h 248"/>
              <a:gd name="T88" fmla="*/ 229 w 232"/>
              <a:gd name="T89" fmla="*/ 8 h 248"/>
              <a:gd name="T90" fmla="*/ 229 w 232"/>
              <a:gd name="T91" fmla="*/ 8 h 248"/>
              <a:gd name="T92" fmla="*/ 229 w 232"/>
              <a:gd name="T93" fmla="*/ 8 h 248"/>
              <a:gd name="T94" fmla="*/ 228 w 232"/>
              <a:gd name="T95" fmla="*/ 7 h 248"/>
              <a:gd name="T96" fmla="*/ 228 w 232"/>
              <a:gd name="T97" fmla="*/ 7 h 248"/>
              <a:gd name="T98" fmla="*/ 228 w 232"/>
              <a:gd name="T99" fmla="*/ 7 h 248"/>
              <a:gd name="T100" fmla="*/ 228 w 232"/>
              <a:gd name="T101" fmla="*/ 6 h 248"/>
              <a:gd name="T102" fmla="*/ 228 w 232"/>
              <a:gd name="T103" fmla="*/ 5 h 248"/>
              <a:gd name="T104" fmla="*/ 228 w 232"/>
              <a:gd name="T105" fmla="*/ 5 h 248"/>
              <a:gd name="T106" fmla="*/ 228 w 232"/>
              <a:gd name="T107" fmla="*/ 5 h 248"/>
              <a:gd name="T108" fmla="*/ 228 w 232"/>
              <a:gd name="T109" fmla="*/ 4 h 248"/>
              <a:gd name="T110" fmla="*/ 228 w 232"/>
              <a:gd name="T111" fmla="*/ 4 h 248"/>
              <a:gd name="T112" fmla="*/ 228 w 232"/>
              <a:gd name="T113" fmla="*/ 4 h 248"/>
              <a:gd name="T114" fmla="*/ 228 w 232"/>
              <a:gd name="T115" fmla="*/ 4 h 248"/>
              <a:gd name="T116" fmla="*/ 228 w 232"/>
              <a:gd name="T117" fmla="*/ 3 h 248"/>
              <a:gd name="T118" fmla="*/ 227 w 232"/>
              <a:gd name="T119" fmla="*/ 1 h 248"/>
              <a:gd name="T120" fmla="*/ 227 w 232"/>
              <a:gd name="T121" fmla="*/ 1 h 248"/>
              <a:gd name="T122" fmla="*/ 227 w 232"/>
              <a:gd name="T123" fmla="*/ 1 h 248"/>
              <a:gd name="T124" fmla="*/ 227 w 232"/>
              <a:gd name="T12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248">
                <a:moveTo>
                  <a:pt x="2" y="246"/>
                </a:moveTo>
                <a:cubicBezTo>
                  <a:pt x="2" y="246"/>
                  <a:pt x="2" y="246"/>
                  <a:pt x="2" y="246"/>
                </a:cubicBezTo>
                <a:cubicBezTo>
                  <a:pt x="2" y="246"/>
                  <a:pt x="2" y="246"/>
                  <a:pt x="2" y="246"/>
                </a:cubicBezTo>
                <a:moveTo>
                  <a:pt x="1" y="246"/>
                </a:moveTo>
                <a:cubicBezTo>
                  <a:pt x="1" y="246"/>
                  <a:pt x="1" y="246"/>
                  <a:pt x="2"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0" y="246"/>
                </a:moveTo>
                <a:cubicBezTo>
                  <a:pt x="0" y="246"/>
                  <a:pt x="0" y="246"/>
                  <a:pt x="0" y="246"/>
                </a:cubicBezTo>
                <a:cubicBezTo>
                  <a:pt x="0" y="246"/>
                  <a:pt x="0" y="246"/>
                  <a:pt x="0" y="246"/>
                </a:cubicBezTo>
                <a:moveTo>
                  <a:pt x="0" y="246"/>
                </a:moveTo>
                <a:cubicBezTo>
                  <a:pt x="0" y="246"/>
                  <a:pt x="0" y="246"/>
                  <a:pt x="0" y="246"/>
                </a:cubicBezTo>
                <a:cubicBezTo>
                  <a:pt x="0" y="246"/>
                  <a:pt x="0" y="246"/>
                  <a:pt x="0" y="246"/>
                </a:cubicBezTo>
                <a:moveTo>
                  <a:pt x="232" y="47"/>
                </a:moveTo>
                <a:cubicBezTo>
                  <a:pt x="232" y="146"/>
                  <a:pt x="159" y="232"/>
                  <a:pt x="58" y="246"/>
                </a:cubicBezTo>
                <a:cubicBezTo>
                  <a:pt x="49" y="247"/>
                  <a:pt x="40" y="248"/>
                  <a:pt x="31" y="248"/>
                </a:cubicBezTo>
                <a:cubicBezTo>
                  <a:pt x="21" y="248"/>
                  <a:pt x="11" y="247"/>
                  <a:pt x="2" y="246"/>
                </a:cubicBezTo>
                <a:cubicBezTo>
                  <a:pt x="11" y="247"/>
                  <a:pt x="21" y="248"/>
                  <a:pt x="31" y="248"/>
                </a:cubicBezTo>
                <a:cubicBezTo>
                  <a:pt x="40" y="248"/>
                  <a:pt x="49" y="247"/>
                  <a:pt x="58" y="246"/>
                </a:cubicBezTo>
                <a:cubicBezTo>
                  <a:pt x="159" y="232"/>
                  <a:pt x="232" y="146"/>
                  <a:pt x="232" y="47"/>
                </a:cubicBezTo>
                <a:moveTo>
                  <a:pt x="231" y="19"/>
                </a:moveTo>
                <a:cubicBezTo>
                  <a:pt x="231" y="20"/>
                  <a:pt x="231" y="20"/>
                  <a:pt x="231" y="20"/>
                </a:cubicBezTo>
                <a:cubicBezTo>
                  <a:pt x="231" y="20"/>
                  <a:pt x="231" y="20"/>
                  <a:pt x="231" y="19"/>
                </a:cubicBezTo>
                <a:moveTo>
                  <a:pt x="230" y="19"/>
                </a:moveTo>
                <a:cubicBezTo>
                  <a:pt x="230" y="19"/>
                  <a:pt x="231" y="19"/>
                  <a:pt x="231" y="19"/>
                </a:cubicBezTo>
                <a:cubicBezTo>
                  <a:pt x="231" y="19"/>
                  <a:pt x="230" y="19"/>
                  <a:pt x="230" y="19"/>
                </a:cubicBezTo>
                <a:moveTo>
                  <a:pt x="230" y="19"/>
                </a:moveTo>
                <a:cubicBezTo>
                  <a:pt x="230" y="19"/>
                  <a:pt x="230" y="19"/>
                  <a:pt x="230" y="19"/>
                </a:cubicBezTo>
                <a:cubicBezTo>
                  <a:pt x="230" y="19"/>
                  <a:pt x="230" y="19"/>
                  <a:pt x="230" y="19"/>
                </a:cubicBezTo>
                <a:moveTo>
                  <a:pt x="230" y="19"/>
                </a:moveTo>
                <a:cubicBezTo>
                  <a:pt x="230" y="19"/>
                  <a:pt x="230" y="19"/>
                  <a:pt x="230" y="19"/>
                </a:cubicBezTo>
                <a:cubicBezTo>
                  <a:pt x="230" y="19"/>
                  <a:pt x="230" y="19"/>
                  <a:pt x="230" y="19"/>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6"/>
                </a:moveTo>
                <a:cubicBezTo>
                  <a:pt x="230" y="16"/>
                  <a:pt x="230" y="16"/>
                  <a:pt x="230" y="17"/>
                </a:cubicBezTo>
                <a:cubicBezTo>
                  <a:pt x="230" y="16"/>
                  <a:pt x="230" y="16"/>
                  <a:pt x="230" y="16"/>
                </a:cubicBezTo>
                <a:moveTo>
                  <a:pt x="230" y="16"/>
                </a:moveTo>
                <a:cubicBezTo>
                  <a:pt x="230" y="16"/>
                  <a:pt x="230" y="16"/>
                  <a:pt x="230" y="16"/>
                </a:cubicBezTo>
                <a:cubicBezTo>
                  <a:pt x="230" y="16"/>
                  <a:pt x="230" y="16"/>
                  <a:pt x="230" y="16"/>
                </a:cubicBezTo>
                <a:moveTo>
                  <a:pt x="230" y="15"/>
                </a:moveTo>
                <a:cubicBezTo>
                  <a:pt x="230" y="15"/>
                  <a:pt x="230" y="15"/>
                  <a:pt x="230" y="16"/>
                </a:cubicBezTo>
                <a:cubicBezTo>
                  <a:pt x="230" y="15"/>
                  <a:pt x="230" y="15"/>
                  <a:pt x="230" y="15"/>
                </a:cubicBezTo>
                <a:moveTo>
                  <a:pt x="230" y="15"/>
                </a:moveTo>
                <a:cubicBezTo>
                  <a:pt x="230" y="15"/>
                  <a:pt x="230" y="15"/>
                  <a:pt x="230" y="15"/>
                </a:cubicBezTo>
                <a:cubicBezTo>
                  <a:pt x="230" y="15"/>
                  <a:pt x="230" y="15"/>
                  <a:pt x="230" y="15"/>
                </a:cubicBezTo>
                <a:moveTo>
                  <a:pt x="230" y="15"/>
                </a:moveTo>
                <a:cubicBezTo>
                  <a:pt x="230" y="15"/>
                  <a:pt x="230" y="15"/>
                  <a:pt x="230" y="15"/>
                </a:cubicBezTo>
                <a:cubicBezTo>
                  <a:pt x="230" y="15"/>
                  <a:pt x="230" y="15"/>
                  <a:pt x="230" y="15"/>
                </a:cubicBezTo>
                <a:moveTo>
                  <a:pt x="230" y="14"/>
                </a:moveTo>
                <a:cubicBezTo>
                  <a:pt x="230" y="14"/>
                  <a:pt x="230" y="15"/>
                  <a:pt x="230" y="15"/>
                </a:cubicBezTo>
                <a:cubicBezTo>
                  <a:pt x="230" y="15"/>
                  <a:pt x="230" y="14"/>
                  <a:pt x="230" y="14"/>
                </a:cubicBezTo>
                <a:moveTo>
                  <a:pt x="230" y="14"/>
                </a:moveTo>
                <a:cubicBezTo>
                  <a:pt x="230" y="14"/>
                  <a:pt x="230" y="14"/>
                  <a:pt x="230" y="14"/>
                </a:cubicBezTo>
                <a:cubicBezTo>
                  <a:pt x="230" y="14"/>
                  <a:pt x="230" y="14"/>
                  <a:pt x="230" y="14"/>
                </a:cubicBezTo>
                <a:moveTo>
                  <a:pt x="230" y="14"/>
                </a:moveTo>
                <a:cubicBezTo>
                  <a:pt x="230" y="14"/>
                  <a:pt x="230" y="14"/>
                  <a:pt x="230" y="14"/>
                </a:cubicBezTo>
                <a:cubicBezTo>
                  <a:pt x="230" y="14"/>
                  <a:pt x="230" y="14"/>
                  <a:pt x="230" y="14"/>
                </a:cubicBezTo>
                <a:moveTo>
                  <a:pt x="230" y="13"/>
                </a:moveTo>
                <a:cubicBezTo>
                  <a:pt x="230" y="14"/>
                  <a:pt x="230" y="14"/>
                  <a:pt x="230" y="14"/>
                </a:cubicBezTo>
                <a:cubicBezTo>
                  <a:pt x="230" y="14"/>
                  <a:pt x="230" y="14"/>
                  <a:pt x="230" y="13"/>
                </a:cubicBezTo>
                <a:moveTo>
                  <a:pt x="230" y="13"/>
                </a:moveTo>
                <a:cubicBezTo>
                  <a:pt x="230" y="13"/>
                  <a:pt x="230" y="13"/>
                  <a:pt x="230" y="13"/>
                </a:cubicBezTo>
                <a:cubicBezTo>
                  <a:pt x="230" y="13"/>
                  <a:pt x="230" y="13"/>
                  <a:pt x="230" y="13"/>
                </a:cubicBezTo>
                <a:moveTo>
                  <a:pt x="229" y="13"/>
                </a:moveTo>
                <a:cubicBezTo>
                  <a:pt x="230" y="13"/>
                  <a:pt x="230" y="13"/>
                  <a:pt x="230" y="13"/>
                </a:cubicBezTo>
                <a:cubicBezTo>
                  <a:pt x="230" y="13"/>
                  <a:pt x="230" y="13"/>
                  <a:pt x="229" y="13"/>
                </a:cubicBezTo>
                <a:moveTo>
                  <a:pt x="229" y="12"/>
                </a:moveTo>
                <a:cubicBezTo>
                  <a:pt x="229" y="13"/>
                  <a:pt x="229" y="13"/>
                  <a:pt x="229" y="13"/>
                </a:cubicBezTo>
                <a:cubicBezTo>
                  <a:pt x="229" y="13"/>
                  <a:pt x="229" y="13"/>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9"/>
                </a:moveTo>
                <a:cubicBezTo>
                  <a:pt x="229" y="9"/>
                  <a:pt x="229" y="10"/>
                  <a:pt x="229" y="10"/>
                </a:cubicBezTo>
                <a:cubicBezTo>
                  <a:pt x="229" y="10"/>
                  <a:pt x="229" y="9"/>
                  <a:pt x="229" y="9"/>
                </a:cubicBezTo>
                <a:moveTo>
                  <a:pt x="229" y="9"/>
                </a:moveTo>
                <a:cubicBezTo>
                  <a:pt x="229" y="9"/>
                  <a:pt x="229" y="9"/>
                  <a:pt x="229" y="9"/>
                </a:cubicBezTo>
                <a:cubicBezTo>
                  <a:pt x="229" y="9"/>
                  <a:pt x="229" y="9"/>
                  <a:pt x="229" y="9"/>
                </a:cubicBezTo>
                <a:moveTo>
                  <a:pt x="229" y="9"/>
                </a:moveTo>
                <a:cubicBezTo>
                  <a:pt x="229" y="9"/>
                  <a:pt x="229" y="9"/>
                  <a:pt x="229" y="9"/>
                </a:cubicBezTo>
                <a:cubicBezTo>
                  <a:pt x="229" y="9"/>
                  <a:pt x="229" y="9"/>
                  <a:pt x="229" y="9"/>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7"/>
                </a:moveTo>
                <a:cubicBezTo>
                  <a:pt x="229" y="7"/>
                  <a:pt x="229" y="8"/>
                  <a:pt x="229" y="8"/>
                </a:cubicBezTo>
                <a:cubicBezTo>
                  <a:pt x="229" y="8"/>
                  <a:pt x="229" y="7"/>
                  <a:pt x="229"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6"/>
                </a:moveTo>
                <a:cubicBezTo>
                  <a:pt x="228" y="6"/>
                  <a:pt x="228" y="6"/>
                  <a:pt x="228" y="6"/>
                </a:cubicBezTo>
                <a:cubicBezTo>
                  <a:pt x="228" y="6"/>
                  <a:pt x="228" y="6"/>
                  <a:pt x="228" y="6"/>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3"/>
                </a:moveTo>
                <a:cubicBezTo>
                  <a:pt x="228" y="3"/>
                  <a:pt x="228" y="3"/>
                  <a:pt x="228" y="4"/>
                </a:cubicBezTo>
                <a:cubicBezTo>
                  <a:pt x="228" y="3"/>
                  <a:pt x="228" y="3"/>
                  <a:pt x="228" y="3"/>
                </a:cubicBezTo>
                <a:moveTo>
                  <a:pt x="228" y="3"/>
                </a:moveTo>
                <a:cubicBezTo>
                  <a:pt x="228" y="3"/>
                  <a:pt x="228" y="3"/>
                  <a:pt x="228" y="3"/>
                </a:cubicBezTo>
                <a:cubicBezTo>
                  <a:pt x="228" y="3"/>
                  <a:pt x="228" y="3"/>
                  <a:pt x="228" y="3"/>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0"/>
                </a:moveTo>
                <a:cubicBezTo>
                  <a:pt x="227" y="0"/>
                  <a:pt x="227" y="0"/>
                  <a:pt x="227" y="0"/>
                </a:cubicBezTo>
                <a:cubicBezTo>
                  <a:pt x="227" y="0"/>
                  <a:pt x="227" y="0"/>
                  <a:pt x="227" y="0"/>
                </a:cubicBezTo>
              </a:path>
            </a:pathLst>
          </a:custGeom>
          <a:solidFill>
            <a:srgbClr val="D5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18" name="Rounded Rectangle 30">
            <a:extLst>
              <a:ext uri="{FF2B5EF4-FFF2-40B4-BE49-F238E27FC236}">
                <a16:creationId xmlns:a16="http://schemas.microsoft.com/office/drawing/2014/main" id="{A2DDF141-5E32-486D-9D3D-F553D9FBF2A0}"/>
              </a:ext>
            </a:extLst>
          </p:cNvPr>
          <p:cNvSpPr/>
          <p:nvPr/>
        </p:nvSpPr>
        <p:spPr>
          <a:xfrm>
            <a:off x="3836194" y="4390442"/>
            <a:ext cx="7187041" cy="1029806"/>
          </a:xfrm>
          <a:prstGeom prst="round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r>
              <a:rPr lang="en-US" sz="1600" dirty="0">
                <a:solidFill>
                  <a:schemeClr val="tx1"/>
                </a:solidFill>
              </a:rPr>
              <a:t>Ensuring end to end API Security, Audit and logging</a:t>
            </a:r>
            <a:endParaRPr lang="en-IN" sz="1600" dirty="0">
              <a:solidFill>
                <a:schemeClr val="tx1"/>
              </a:solidFill>
            </a:endParaRPr>
          </a:p>
        </p:txBody>
      </p:sp>
      <p:sp>
        <p:nvSpPr>
          <p:cNvPr id="119" name="Freeform 20">
            <a:extLst>
              <a:ext uri="{FF2B5EF4-FFF2-40B4-BE49-F238E27FC236}">
                <a16:creationId xmlns:a16="http://schemas.microsoft.com/office/drawing/2014/main" id="{7110BDBA-EB96-48F6-932B-1AF164E22464}"/>
              </a:ext>
            </a:extLst>
          </p:cNvPr>
          <p:cNvSpPr>
            <a:spLocks noEditPoints="1"/>
          </p:cNvSpPr>
          <p:nvPr/>
        </p:nvSpPr>
        <p:spPr bwMode="auto">
          <a:xfrm rot="19589649">
            <a:off x="3230620" y="4486437"/>
            <a:ext cx="805083" cy="836109"/>
          </a:xfrm>
          <a:custGeom>
            <a:avLst/>
            <a:gdLst>
              <a:gd name="T0" fmla="*/ 158 w 361"/>
              <a:gd name="T1" fmla="*/ 13 h 361"/>
              <a:gd name="T2" fmla="*/ 12 w 361"/>
              <a:gd name="T3" fmla="*/ 203 h 361"/>
              <a:gd name="T4" fmla="*/ 203 w 361"/>
              <a:gd name="T5" fmla="*/ 349 h 361"/>
              <a:gd name="T6" fmla="*/ 348 w 361"/>
              <a:gd name="T7" fmla="*/ 158 h 361"/>
              <a:gd name="T8" fmla="*/ 158 w 361"/>
              <a:gd name="T9" fmla="*/ 13 h 361"/>
              <a:gd name="T10" fmla="*/ 199 w 361"/>
              <a:gd name="T11" fmla="*/ 317 h 361"/>
              <a:gd name="T12" fmla="*/ 44 w 361"/>
              <a:gd name="T13" fmla="*/ 199 h 361"/>
              <a:gd name="T14" fmla="*/ 162 w 361"/>
              <a:gd name="T15" fmla="*/ 45 h 361"/>
              <a:gd name="T16" fmla="*/ 316 w 361"/>
              <a:gd name="T17" fmla="*/ 162 h 361"/>
              <a:gd name="T18" fmla="*/ 199 w 361"/>
              <a:gd name="T19" fmla="*/ 317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361">
                <a:moveTo>
                  <a:pt x="158" y="13"/>
                </a:moveTo>
                <a:cubicBezTo>
                  <a:pt x="65" y="25"/>
                  <a:pt x="0" y="111"/>
                  <a:pt x="12" y="203"/>
                </a:cubicBezTo>
                <a:cubicBezTo>
                  <a:pt x="25" y="296"/>
                  <a:pt x="110" y="361"/>
                  <a:pt x="203" y="349"/>
                </a:cubicBezTo>
                <a:cubicBezTo>
                  <a:pt x="296" y="336"/>
                  <a:pt x="361" y="251"/>
                  <a:pt x="348" y="158"/>
                </a:cubicBezTo>
                <a:cubicBezTo>
                  <a:pt x="336" y="65"/>
                  <a:pt x="250" y="0"/>
                  <a:pt x="158" y="13"/>
                </a:cubicBezTo>
                <a:close/>
                <a:moveTo>
                  <a:pt x="199" y="317"/>
                </a:moveTo>
                <a:cubicBezTo>
                  <a:pt x="123" y="327"/>
                  <a:pt x="54" y="274"/>
                  <a:pt x="44" y="199"/>
                </a:cubicBezTo>
                <a:cubicBezTo>
                  <a:pt x="34" y="124"/>
                  <a:pt x="87" y="55"/>
                  <a:pt x="162" y="45"/>
                </a:cubicBezTo>
                <a:cubicBezTo>
                  <a:pt x="237" y="35"/>
                  <a:pt x="306" y="87"/>
                  <a:pt x="316" y="162"/>
                </a:cubicBezTo>
                <a:cubicBezTo>
                  <a:pt x="326" y="237"/>
                  <a:pt x="274" y="307"/>
                  <a:pt x="199" y="317"/>
                </a:cubicBezTo>
                <a:close/>
              </a:path>
            </a:pathLst>
          </a:custGeom>
          <a:solidFill>
            <a:srgbClr val="998C85">
              <a:lumMod val="20000"/>
              <a:lumOff val="80000"/>
            </a:srgbClr>
          </a:solidFill>
          <a:ln w="6350">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20" name="Freeform 21">
            <a:extLst>
              <a:ext uri="{FF2B5EF4-FFF2-40B4-BE49-F238E27FC236}">
                <a16:creationId xmlns:a16="http://schemas.microsoft.com/office/drawing/2014/main" id="{1DCE20E4-417C-4A1D-8B6D-599BC6483C7E}"/>
              </a:ext>
            </a:extLst>
          </p:cNvPr>
          <p:cNvSpPr>
            <a:spLocks/>
          </p:cNvSpPr>
          <p:nvPr/>
        </p:nvSpPr>
        <p:spPr bwMode="auto">
          <a:xfrm rot="19589649">
            <a:off x="3307665" y="4567223"/>
            <a:ext cx="650458" cy="677463"/>
          </a:xfrm>
          <a:custGeom>
            <a:avLst/>
            <a:gdLst>
              <a:gd name="T0" fmla="*/ 10 w 292"/>
              <a:gd name="T1" fmla="*/ 164 h 292"/>
              <a:gd name="T2" fmla="*/ 128 w 292"/>
              <a:gd name="T3" fmla="*/ 10 h 292"/>
              <a:gd name="T4" fmla="*/ 282 w 292"/>
              <a:gd name="T5" fmla="*/ 127 h 292"/>
              <a:gd name="T6" fmla="*/ 165 w 292"/>
              <a:gd name="T7" fmla="*/ 282 h 292"/>
              <a:gd name="T8" fmla="*/ 10 w 292"/>
              <a:gd name="T9" fmla="*/ 164 h 292"/>
            </a:gdLst>
            <a:ahLst/>
            <a:cxnLst>
              <a:cxn ang="0">
                <a:pos x="T0" y="T1"/>
              </a:cxn>
              <a:cxn ang="0">
                <a:pos x="T2" y="T3"/>
              </a:cxn>
              <a:cxn ang="0">
                <a:pos x="T4" y="T5"/>
              </a:cxn>
              <a:cxn ang="0">
                <a:pos x="T6" y="T7"/>
              </a:cxn>
              <a:cxn ang="0">
                <a:pos x="T8" y="T9"/>
              </a:cxn>
            </a:cxnLst>
            <a:rect l="0" t="0" r="r" b="b"/>
            <a:pathLst>
              <a:path w="292" h="292">
                <a:moveTo>
                  <a:pt x="10" y="164"/>
                </a:moveTo>
                <a:cubicBezTo>
                  <a:pt x="0" y="89"/>
                  <a:pt x="53" y="20"/>
                  <a:pt x="128" y="10"/>
                </a:cubicBezTo>
                <a:cubicBezTo>
                  <a:pt x="203" y="0"/>
                  <a:pt x="272" y="52"/>
                  <a:pt x="282" y="127"/>
                </a:cubicBezTo>
                <a:cubicBezTo>
                  <a:pt x="292" y="202"/>
                  <a:pt x="240" y="272"/>
                  <a:pt x="165" y="282"/>
                </a:cubicBezTo>
                <a:cubicBezTo>
                  <a:pt x="89" y="292"/>
                  <a:pt x="20" y="239"/>
                  <a:pt x="10" y="16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defTabSz="957756"/>
            <a:endParaRPr lang="fr-FR" sz="1400" kern="0" dirty="0">
              <a:solidFill>
                <a:srgbClr val="263147"/>
              </a:solidFill>
              <a:latin typeface="Verdana"/>
            </a:endParaRPr>
          </a:p>
        </p:txBody>
      </p:sp>
      <p:sp>
        <p:nvSpPr>
          <p:cNvPr id="121" name="Freeform 22">
            <a:extLst>
              <a:ext uri="{FF2B5EF4-FFF2-40B4-BE49-F238E27FC236}">
                <a16:creationId xmlns:a16="http://schemas.microsoft.com/office/drawing/2014/main" id="{2886A9BA-DF70-4F90-AECC-73EF90A86992}"/>
              </a:ext>
            </a:extLst>
          </p:cNvPr>
          <p:cNvSpPr>
            <a:spLocks/>
          </p:cNvSpPr>
          <p:nvPr/>
        </p:nvSpPr>
        <p:spPr bwMode="auto">
          <a:xfrm rot="19589649">
            <a:off x="3300946" y="4614578"/>
            <a:ext cx="531911" cy="598140"/>
          </a:xfrm>
          <a:custGeom>
            <a:avLst/>
            <a:gdLst>
              <a:gd name="T0" fmla="*/ 30 w 239"/>
              <a:gd name="T1" fmla="*/ 175 h 258"/>
              <a:gd name="T2" fmla="*/ 148 w 239"/>
              <a:gd name="T3" fmla="*/ 21 h 258"/>
              <a:gd name="T4" fmla="*/ 239 w 239"/>
              <a:gd name="T5" fmla="*/ 41 h 258"/>
              <a:gd name="T6" fmla="*/ 128 w 239"/>
              <a:gd name="T7" fmla="*/ 6 h 258"/>
              <a:gd name="T8" fmla="*/ 10 w 239"/>
              <a:gd name="T9" fmla="*/ 160 h 258"/>
              <a:gd name="T10" fmla="*/ 73 w 239"/>
              <a:gd name="T11" fmla="*/ 258 h 258"/>
              <a:gd name="T12" fmla="*/ 30 w 239"/>
              <a:gd name="T13" fmla="*/ 175 h 258"/>
            </a:gdLst>
            <a:ahLst/>
            <a:cxnLst>
              <a:cxn ang="0">
                <a:pos x="T0" y="T1"/>
              </a:cxn>
              <a:cxn ang="0">
                <a:pos x="T2" y="T3"/>
              </a:cxn>
              <a:cxn ang="0">
                <a:pos x="T4" y="T5"/>
              </a:cxn>
              <a:cxn ang="0">
                <a:pos x="T6" y="T7"/>
              </a:cxn>
              <a:cxn ang="0">
                <a:pos x="T8" y="T9"/>
              </a:cxn>
              <a:cxn ang="0">
                <a:pos x="T10" y="T11"/>
              </a:cxn>
              <a:cxn ang="0">
                <a:pos x="T12" y="T13"/>
              </a:cxn>
            </a:cxnLst>
            <a:rect l="0" t="0" r="r" b="b"/>
            <a:pathLst>
              <a:path w="239" h="258">
                <a:moveTo>
                  <a:pt x="30" y="175"/>
                </a:moveTo>
                <a:cubicBezTo>
                  <a:pt x="20" y="100"/>
                  <a:pt x="72" y="31"/>
                  <a:pt x="148" y="21"/>
                </a:cubicBezTo>
                <a:cubicBezTo>
                  <a:pt x="181" y="16"/>
                  <a:pt x="213" y="24"/>
                  <a:pt x="239" y="41"/>
                </a:cubicBezTo>
                <a:cubicBezTo>
                  <a:pt x="210" y="14"/>
                  <a:pt x="170" y="0"/>
                  <a:pt x="128" y="6"/>
                </a:cubicBezTo>
                <a:cubicBezTo>
                  <a:pt x="53" y="16"/>
                  <a:pt x="0" y="85"/>
                  <a:pt x="10" y="160"/>
                </a:cubicBezTo>
                <a:cubicBezTo>
                  <a:pt x="16" y="202"/>
                  <a:pt x="40" y="237"/>
                  <a:pt x="73" y="258"/>
                </a:cubicBezTo>
                <a:cubicBezTo>
                  <a:pt x="50" y="237"/>
                  <a:pt x="34" y="208"/>
                  <a:pt x="30" y="175"/>
                </a:cubicBezTo>
                <a:close/>
              </a:path>
            </a:pathLst>
          </a:custGeom>
          <a:solidFill>
            <a:schemeClr val="accent3">
              <a:lumMod val="90000"/>
              <a:lumOff val="10000"/>
            </a:schemeClr>
          </a:solidFill>
          <a:ln>
            <a:noFill/>
          </a:ln>
        </p:spPr>
        <p:txBody>
          <a:bodyPr vert="horz" wrap="square" lIns="91440" tIns="45720" rIns="91440" bIns="45720" numCol="1" anchor="t" anchorCtr="0" compatLnSpc="1">
            <a:prstTxWarp prst="textNoShape">
              <a:avLst/>
            </a:prstTxWarp>
          </a:bodyPr>
          <a:lstStyle/>
          <a:p>
            <a:pPr defTabSz="957756"/>
            <a:endParaRPr lang="fr-FR" sz="1400" kern="0" dirty="0">
              <a:solidFill>
                <a:srgbClr val="263147"/>
              </a:solidFill>
              <a:latin typeface="Verdana"/>
            </a:endParaRPr>
          </a:p>
        </p:txBody>
      </p:sp>
      <p:sp>
        <p:nvSpPr>
          <p:cNvPr id="122" name="Freeform 24">
            <a:extLst>
              <a:ext uri="{FF2B5EF4-FFF2-40B4-BE49-F238E27FC236}">
                <a16:creationId xmlns:a16="http://schemas.microsoft.com/office/drawing/2014/main" id="{8AB405C5-E38F-4DD8-B980-F7DDD9ED7898}"/>
              </a:ext>
            </a:extLst>
          </p:cNvPr>
          <p:cNvSpPr>
            <a:spLocks/>
          </p:cNvSpPr>
          <p:nvPr/>
        </p:nvSpPr>
        <p:spPr bwMode="auto">
          <a:xfrm rot="19589649">
            <a:off x="3374556" y="4457213"/>
            <a:ext cx="789620" cy="867195"/>
          </a:xfrm>
          <a:custGeom>
            <a:avLst/>
            <a:gdLst>
              <a:gd name="T0" fmla="*/ 318 w 354"/>
              <a:gd name="T1" fmla="*/ 113 h 374"/>
              <a:gd name="T2" fmla="*/ 318 w 354"/>
              <a:gd name="T3" fmla="*/ 114 h 374"/>
              <a:gd name="T4" fmla="*/ 318 w 354"/>
              <a:gd name="T5" fmla="*/ 114 h 374"/>
              <a:gd name="T6" fmla="*/ 319 w 354"/>
              <a:gd name="T7" fmla="*/ 116 h 374"/>
              <a:gd name="T8" fmla="*/ 319 w 354"/>
              <a:gd name="T9" fmla="*/ 117 h 374"/>
              <a:gd name="T10" fmla="*/ 319 w 354"/>
              <a:gd name="T11" fmla="*/ 117 h 374"/>
              <a:gd name="T12" fmla="*/ 319 w 354"/>
              <a:gd name="T13" fmla="*/ 118 h 374"/>
              <a:gd name="T14" fmla="*/ 319 w 354"/>
              <a:gd name="T15" fmla="*/ 118 h 374"/>
              <a:gd name="T16" fmla="*/ 319 w 354"/>
              <a:gd name="T17" fmla="*/ 119 h 374"/>
              <a:gd name="T18" fmla="*/ 319 w 354"/>
              <a:gd name="T19" fmla="*/ 120 h 374"/>
              <a:gd name="T20" fmla="*/ 319 w 354"/>
              <a:gd name="T21" fmla="*/ 120 h 374"/>
              <a:gd name="T22" fmla="*/ 320 w 354"/>
              <a:gd name="T23" fmla="*/ 121 h 374"/>
              <a:gd name="T24" fmla="*/ 320 w 354"/>
              <a:gd name="T25" fmla="*/ 121 h 374"/>
              <a:gd name="T26" fmla="*/ 320 w 354"/>
              <a:gd name="T27" fmla="*/ 122 h 374"/>
              <a:gd name="T28" fmla="*/ 320 w 354"/>
              <a:gd name="T29" fmla="*/ 122 h 374"/>
              <a:gd name="T30" fmla="*/ 320 w 354"/>
              <a:gd name="T31" fmla="*/ 123 h 374"/>
              <a:gd name="T32" fmla="*/ 320 w 354"/>
              <a:gd name="T33" fmla="*/ 123 h 374"/>
              <a:gd name="T34" fmla="*/ 320 w 354"/>
              <a:gd name="T35" fmla="*/ 124 h 374"/>
              <a:gd name="T36" fmla="*/ 320 w 354"/>
              <a:gd name="T37" fmla="*/ 124 h 374"/>
              <a:gd name="T38" fmla="*/ 320 w 354"/>
              <a:gd name="T39" fmla="*/ 125 h 374"/>
              <a:gd name="T40" fmla="*/ 320 w 354"/>
              <a:gd name="T41" fmla="*/ 125 h 374"/>
              <a:gd name="T42" fmla="*/ 320 w 354"/>
              <a:gd name="T43" fmla="*/ 125 h 374"/>
              <a:gd name="T44" fmla="*/ 321 w 354"/>
              <a:gd name="T45" fmla="*/ 126 h 374"/>
              <a:gd name="T46" fmla="*/ 321 w 354"/>
              <a:gd name="T47" fmla="*/ 126 h 374"/>
              <a:gd name="T48" fmla="*/ 321 w 354"/>
              <a:gd name="T49" fmla="*/ 127 h 374"/>
              <a:gd name="T50" fmla="*/ 321 w 354"/>
              <a:gd name="T51" fmla="*/ 127 h 374"/>
              <a:gd name="T52" fmla="*/ 321 w 354"/>
              <a:gd name="T53" fmla="*/ 128 h 374"/>
              <a:gd name="T54" fmla="*/ 321 w 354"/>
              <a:gd name="T55" fmla="*/ 128 h 374"/>
              <a:gd name="T56" fmla="*/ 321 w 354"/>
              <a:gd name="T57" fmla="*/ 129 h 374"/>
              <a:gd name="T58" fmla="*/ 321 w 354"/>
              <a:gd name="T59" fmla="*/ 130 h 374"/>
              <a:gd name="T60" fmla="*/ 321 w 354"/>
              <a:gd name="T61" fmla="*/ 130 h 374"/>
              <a:gd name="T62" fmla="*/ 321 w 354"/>
              <a:gd name="T63" fmla="*/ 131 h 374"/>
              <a:gd name="T64" fmla="*/ 321 w 354"/>
              <a:gd name="T65" fmla="*/ 131 h 374"/>
              <a:gd name="T66" fmla="*/ 321 w 354"/>
              <a:gd name="T67" fmla="*/ 132 h 374"/>
              <a:gd name="T68" fmla="*/ 321 w 354"/>
              <a:gd name="T69" fmla="*/ 132 h 374"/>
              <a:gd name="T70" fmla="*/ 322 w 354"/>
              <a:gd name="T71" fmla="*/ 132 h 374"/>
              <a:gd name="T72" fmla="*/ 323 w 354"/>
              <a:gd name="T73" fmla="*/ 160 h 374"/>
              <a:gd name="T74" fmla="*/ 93 w 354"/>
              <a:gd name="T75" fmla="*/ 359 h 374"/>
              <a:gd name="T76" fmla="*/ 93 w 354"/>
              <a:gd name="T77" fmla="*/ 359 h 374"/>
              <a:gd name="T78" fmla="*/ 92 w 354"/>
              <a:gd name="T79" fmla="*/ 359 h 374"/>
              <a:gd name="T80" fmla="*/ 92 w 354"/>
              <a:gd name="T81" fmla="*/ 359 h 374"/>
              <a:gd name="T82" fmla="*/ 91 w 354"/>
              <a:gd name="T83" fmla="*/ 359 h 374"/>
              <a:gd name="T84" fmla="*/ 0 w 354"/>
              <a:gd name="T85" fmla="*/ 320 h 374"/>
              <a:gd name="T86" fmla="*/ 339 w 354"/>
              <a:gd name="T87" fmla="*/ 14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4" h="374">
                <a:moveTo>
                  <a:pt x="244" y="0"/>
                </a:moveTo>
                <a:cubicBezTo>
                  <a:pt x="280" y="27"/>
                  <a:pt x="307" y="67"/>
                  <a:pt x="318" y="113"/>
                </a:cubicBezTo>
                <a:cubicBezTo>
                  <a:pt x="318" y="113"/>
                  <a:pt x="318" y="113"/>
                  <a:pt x="318" y="113"/>
                </a:cubicBezTo>
                <a:cubicBezTo>
                  <a:pt x="318" y="113"/>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5"/>
                  <a:pt x="318" y="116"/>
                  <a:pt x="319" y="116"/>
                </a:cubicBezTo>
                <a:cubicBezTo>
                  <a:pt x="319" y="116"/>
                  <a:pt x="319" y="116"/>
                  <a:pt x="319" y="116"/>
                </a:cubicBezTo>
                <a:cubicBezTo>
                  <a:pt x="319" y="116"/>
                  <a:pt x="319" y="116"/>
                  <a:pt x="319" y="116"/>
                </a:cubicBezTo>
                <a:cubicBezTo>
                  <a:pt x="319" y="116"/>
                  <a:pt x="319" y="116"/>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9"/>
                  <a:pt x="319" y="119"/>
                  <a:pt x="319" y="119"/>
                </a:cubicBezTo>
                <a:cubicBezTo>
                  <a:pt x="319" y="119"/>
                  <a:pt x="319" y="119"/>
                  <a:pt x="319" y="119"/>
                </a:cubicBezTo>
                <a:cubicBezTo>
                  <a:pt x="319" y="119"/>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20" y="120"/>
                  <a:pt x="320" y="120"/>
                </a:cubicBezTo>
                <a:cubicBezTo>
                  <a:pt x="320" y="120"/>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6"/>
                  <a:pt x="320" y="126"/>
                  <a:pt x="320" y="126"/>
                </a:cubicBezTo>
                <a:cubicBezTo>
                  <a:pt x="320" y="126"/>
                  <a:pt x="320" y="126"/>
                  <a:pt x="320" y="126"/>
                </a:cubicBezTo>
                <a:cubicBezTo>
                  <a:pt x="321" y="126"/>
                  <a:pt x="321" y="126"/>
                  <a:pt x="321" y="126"/>
                </a:cubicBezTo>
                <a:cubicBezTo>
                  <a:pt x="321" y="126"/>
                  <a:pt x="321" y="126"/>
                  <a:pt x="321" y="126"/>
                </a:cubicBezTo>
                <a:cubicBezTo>
                  <a:pt x="321" y="126"/>
                  <a:pt x="321" y="126"/>
                  <a:pt x="321" y="126"/>
                </a:cubicBezTo>
                <a:cubicBezTo>
                  <a:pt x="321" y="126"/>
                  <a:pt x="321" y="126"/>
                  <a:pt x="321" y="126"/>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9"/>
                </a:cubicBezTo>
                <a:cubicBezTo>
                  <a:pt x="321" y="129"/>
                  <a:pt x="321" y="129"/>
                  <a:pt x="321" y="129"/>
                </a:cubicBezTo>
                <a:cubicBezTo>
                  <a:pt x="321" y="129"/>
                  <a:pt x="321" y="129"/>
                  <a:pt x="321" y="129"/>
                </a:cubicBezTo>
                <a:cubicBezTo>
                  <a:pt x="321" y="129"/>
                  <a:pt x="321" y="129"/>
                  <a:pt x="321" y="129"/>
                </a:cubicBezTo>
                <a:cubicBezTo>
                  <a:pt x="321" y="129"/>
                  <a:pt x="321" y="129"/>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2"/>
                  <a:pt x="321" y="132"/>
                </a:cubicBezTo>
                <a:cubicBezTo>
                  <a:pt x="321" y="132"/>
                  <a:pt x="321" y="132"/>
                  <a:pt x="321" y="132"/>
                </a:cubicBezTo>
                <a:cubicBezTo>
                  <a:pt x="321" y="132"/>
                  <a:pt x="321" y="132"/>
                  <a:pt x="321" y="132"/>
                </a:cubicBezTo>
                <a:cubicBezTo>
                  <a:pt x="321" y="132"/>
                  <a:pt x="321" y="132"/>
                  <a:pt x="321" y="132"/>
                </a:cubicBezTo>
                <a:cubicBezTo>
                  <a:pt x="321" y="132"/>
                  <a:pt x="321" y="132"/>
                  <a:pt x="321" y="132"/>
                </a:cubicBezTo>
                <a:cubicBezTo>
                  <a:pt x="321" y="132"/>
                  <a:pt x="322" y="132"/>
                  <a:pt x="322" y="132"/>
                </a:cubicBezTo>
                <a:cubicBezTo>
                  <a:pt x="322" y="132"/>
                  <a:pt x="322" y="132"/>
                  <a:pt x="322" y="132"/>
                </a:cubicBezTo>
                <a:cubicBezTo>
                  <a:pt x="322" y="133"/>
                  <a:pt x="322" y="133"/>
                  <a:pt x="322" y="133"/>
                </a:cubicBezTo>
                <a:cubicBezTo>
                  <a:pt x="322" y="133"/>
                  <a:pt x="322" y="133"/>
                  <a:pt x="322" y="133"/>
                </a:cubicBezTo>
                <a:cubicBezTo>
                  <a:pt x="323" y="142"/>
                  <a:pt x="323" y="151"/>
                  <a:pt x="323" y="160"/>
                </a:cubicBezTo>
                <a:cubicBezTo>
                  <a:pt x="323" y="259"/>
                  <a:pt x="250" y="345"/>
                  <a:pt x="149" y="359"/>
                </a:cubicBezTo>
                <a:cubicBezTo>
                  <a:pt x="140" y="360"/>
                  <a:pt x="131" y="361"/>
                  <a:pt x="122" y="361"/>
                </a:cubicBezTo>
                <a:cubicBezTo>
                  <a:pt x="112" y="361"/>
                  <a:pt x="102" y="360"/>
                  <a:pt x="93" y="359"/>
                </a:cubicBezTo>
                <a:cubicBezTo>
                  <a:pt x="93" y="359"/>
                  <a:pt x="93" y="359"/>
                  <a:pt x="93" y="359"/>
                </a:cubicBezTo>
                <a:cubicBezTo>
                  <a:pt x="93" y="359"/>
                  <a:pt x="93" y="359"/>
                  <a:pt x="93" y="359"/>
                </a:cubicBezTo>
                <a:cubicBezTo>
                  <a:pt x="93" y="359"/>
                  <a:pt x="93" y="359"/>
                  <a:pt x="93"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1" y="359"/>
                  <a:pt x="91" y="359"/>
                </a:cubicBezTo>
                <a:cubicBezTo>
                  <a:pt x="91" y="359"/>
                  <a:pt x="91" y="359"/>
                  <a:pt x="91" y="359"/>
                </a:cubicBezTo>
                <a:cubicBezTo>
                  <a:pt x="91" y="359"/>
                  <a:pt x="91" y="359"/>
                  <a:pt x="91" y="359"/>
                </a:cubicBezTo>
                <a:cubicBezTo>
                  <a:pt x="91" y="359"/>
                  <a:pt x="91" y="359"/>
                  <a:pt x="91" y="359"/>
                </a:cubicBezTo>
                <a:cubicBezTo>
                  <a:pt x="58" y="353"/>
                  <a:pt x="27" y="340"/>
                  <a:pt x="0" y="320"/>
                </a:cubicBezTo>
                <a:cubicBezTo>
                  <a:pt x="37" y="354"/>
                  <a:pt x="86" y="374"/>
                  <a:pt x="138" y="374"/>
                </a:cubicBezTo>
                <a:cubicBezTo>
                  <a:pt x="147" y="374"/>
                  <a:pt x="156" y="374"/>
                  <a:pt x="165" y="372"/>
                </a:cubicBezTo>
                <a:cubicBezTo>
                  <a:pt x="276" y="357"/>
                  <a:pt x="354" y="256"/>
                  <a:pt x="339" y="145"/>
                </a:cubicBezTo>
                <a:cubicBezTo>
                  <a:pt x="330" y="82"/>
                  <a:pt x="294" y="30"/>
                  <a:pt x="244" y="0"/>
                </a:cubicBezTo>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23" name="Freeform 25">
            <a:extLst>
              <a:ext uri="{FF2B5EF4-FFF2-40B4-BE49-F238E27FC236}">
                <a16:creationId xmlns:a16="http://schemas.microsoft.com/office/drawing/2014/main" id="{7C185877-0E0F-42DB-BEAF-34CA502F8D31}"/>
              </a:ext>
            </a:extLst>
          </p:cNvPr>
          <p:cNvSpPr>
            <a:spLocks noEditPoints="1"/>
          </p:cNvSpPr>
          <p:nvPr/>
        </p:nvSpPr>
        <p:spPr bwMode="auto">
          <a:xfrm rot="19589649">
            <a:off x="3630403" y="4662540"/>
            <a:ext cx="517479" cy="575630"/>
          </a:xfrm>
          <a:custGeom>
            <a:avLst/>
            <a:gdLst>
              <a:gd name="T0" fmla="*/ 2 w 232"/>
              <a:gd name="T1" fmla="*/ 246 h 248"/>
              <a:gd name="T2" fmla="*/ 1 w 232"/>
              <a:gd name="T3" fmla="*/ 246 h 248"/>
              <a:gd name="T4" fmla="*/ 1 w 232"/>
              <a:gd name="T5" fmla="*/ 246 h 248"/>
              <a:gd name="T6" fmla="*/ 1 w 232"/>
              <a:gd name="T7" fmla="*/ 246 h 248"/>
              <a:gd name="T8" fmla="*/ 1 w 232"/>
              <a:gd name="T9" fmla="*/ 246 h 248"/>
              <a:gd name="T10" fmla="*/ 0 w 232"/>
              <a:gd name="T11" fmla="*/ 246 h 248"/>
              <a:gd name="T12" fmla="*/ 0 w 232"/>
              <a:gd name="T13" fmla="*/ 246 h 248"/>
              <a:gd name="T14" fmla="*/ 31 w 232"/>
              <a:gd name="T15" fmla="*/ 248 h 248"/>
              <a:gd name="T16" fmla="*/ 58 w 232"/>
              <a:gd name="T17" fmla="*/ 246 h 248"/>
              <a:gd name="T18" fmla="*/ 231 w 232"/>
              <a:gd name="T19" fmla="*/ 20 h 248"/>
              <a:gd name="T20" fmla="*/ 231 w 232"/>
              <a:gd name="T21" fmla="*/ 19 h 248"/>
              <a:gd name="T22" fmla="*/ 230 w 232"/>
              <a:gd name="T23" fmla="*/ 19 h 248"/>
              <a:gd name="T24" fmla="*/ 230 w 232"/>
              <a:gd name="T25" fmla="*/ 19 h 248"/>
              <a:gd name="T26" fmla="*/ 230 w 232"/>
              <a:gd name="T27" fmla="*/ 18 h 248"/>
              <a:gd name="T28" fmla="*/ 230 w 232"/>
              <a:gd name="T29" fmla="*/ 18 h 248"/>
              <a:gd name="T30" fmla="*/ 230 w 232"/>
              <a:gd name="T31" fmla="*/ 18 h 248"/>
              <a:gd name="T32" fmla="*/ 230 w 232"/>
              <a:gd name="T33" fmla="*/ 17 h 248"/>
              <a:gd name="T34" fmla="*/ 230 w 232"/>
              <a:gd name="T35" fmla="*/ 17 h 248"/>
              <a:gd name="T36" fmla="*/ 230 w 232"/>
              <a:gd name="T37" fmla="*/ 17 h 248"/>
              <a:gd name="T38" fmla="*/ 230 w 232"/>
              <a:gd name="T39" fmla="*/ 17 h 248"/>
              <a:gd name="T40" fmla="*/ 230 w 232"/>
              <a:gd name="T41" fmla="*/ 16 h 248"/>
              <a:gd name="T42" fmla="*/ 230 w 232"/>
              <a:gd name="T43" fmla="*/ 16 h 248"/>
              <a:gd name="T44" fmla="*/ 230 w 232"/>
              <a:gd name="T45" fmla="*/ 15 h 248"/>
              <a:gd name="T46" fmla="*/ 230 w 232"/>
              <a:gd name="T47" fmla="*/ 15 h 248"/>
              <a:gd name="T48" fmla="*/ 230 w 232"/>
              <a:gd name="T49" fmla="*/ 15 h 248"/>
              <a:gd name="T50" fmla="*/ 230 w 232"/>
              <a:gd name="T51" fmla="*/ 14 h 248"/>
              <a:gd name="T52" fmla="*/ 230 w 232"/>
              <a:gd name="T53" fmla="*/ 14 h 248"/>
              <a:gd name="T54" fmla="*/ 230 w 232"/>
              <a:gd name="T55" fmla="*/ 14 h 248"/>
              <a:gd name="T56" fmla="*/ 230 w 232"/>
              <a:gd name="T57" fmla="*/ 13 h 248"/>
              <a:gd name="T58" fmla="*/ 230 w 232"/>
              <a:gd name="T59" fmla="*/ 13 h 248"/>
              <a:gd name="T60" fmla="*/ 229 w 232"/>
              <a:gd name="T61" fmla="*/ 13 h 248"/>
              <a:gd name="T62" fmla="*/ 229 w 232"/>
              <a:gd name="T63" fmla="*/ 12 h 248"/>
              <a:gd name="T64" fmla="*/ 229 w 232"/>
              <a:gd name="T65" fmla="*/ 12 h 248"/>
              <a:gd name="T66" fmla="*/ 229 w 232"/>
              <a:gd name="T67" fmla="*/ 12 h 248"/>
              <a:gd name="T68" fmla="*/ 229 w 232"/>
              <a:gd name="T69" fmla="*/ 11 h 248"/>
              <a:gd name="T70" fmla="*/ 229 w 232"/>
              <a:gd name="T71" fmla="*/ 11 h 248"/>
              <a:gd name="T72" fmla="*/ 229 w 232"/>
              <a:gd name="T73" fmla="*/ 11 h 248"/>
              <a:gd name="T74" fmla="*/ 229 w 232"/>
              <a:gd name="T75" fmla="*/ 10 h 248"/>
              <a:gd name="T76" fmla="*/ 229 w 232"/>
              <a:gd name="T77" fmla="*/ 10 h 248"/>
              <a:gd name="T78" fmla="*/ 229 w 232"/>
              <a:gd name="T79" fmla="*/ 10 h 248"/>
              <a:gd name="T80" fmla="*/ 229 w 232"/>
              <a:gd name="T81" fmla="*/ 10 h 248"/>
              <a:gd name="T82" fmla="*/ 229 w 232"/>
              <a:gd name="T83" fmla="*/ 9 h 248"/>
              <a:gd name="T84" fmla="*/ 229 w 232"/>
              <a:gd name="T85" fmla="*/ 9 h 248"/>
              <a:gd name="T86" fmla="*/ 229 w 232"/>
              <a:gd name="T87" fmla="*/ 8 h 248"/>
              <a:gd name="T88" fmla="*/ 229 w 232"/>
              <a:gd name="T89" fmla="*/ 8 h 248"/>
              <a:gd name="T90" fmla="*/ 229 w 232"/>
              <a:gd name="T91" fmla="*/ 8 h 248"/>
              <a:gd name="T92" fmla="*/ 229 w 232"/>
              <a:gd name="T93" fmla="*/ 8 h 248"/>
              <a:gd name="T94" fmla="*/ 228 w 232"/>
              <a:gd name="T95" fmla="*/ 7 h 248"/>
              <a:gd name="T96" fmla="*/ 228 w 232"/>
              <a:gd name="T97" fmla="*/ 7 h 248"/>
              <a:gd name="T98" fmla="*/ 228 w 232"/>
              <a:gd name="T99" fmla="*/ 7 h 248"/>
              <a:gd name="T100" fmla="*/ 228 w 232"/>
              <a:gd name="T101" fmla="*/ 6 h 248"/>
              <a:gd name="T102" fmla="*/ 228 w 232"/>
              <a:gd name="T103" fmla="*/ 5 h 248"/>
              <a:gd name="T104" fmla="*/ 228 w 232"/>
              <a:gd name="T105" fmla="*/ 5 h 248"/>
              <a:gd name="T106" fmla="*/ 228 w 232"/>
              <a:gd name="T107" fmla="*/ 5 h 248"/>
              <a:gd name="T108" fmla="*/ 228 w 232"/>
              <a:gd name="T109" fmla="*/ 4 h 248"/>
              <a:gd name="T110" fmla="*/ 228 w 232"/>
              <a:gd name="T111" fmla="*/ 4 h 248"/>
              <a:gd name="T112" fmla="*/ 228 w 232"/>
              <a:gd name="T113" fmla="*/ 4 h 248"/>
              <a:gd name="T114" fmla="*/ 228 w 232"/>
              <a:gd name="T115" fmla="*/ 4 h 248"/>
              <a:gd name="T116" fmla="*/ 228 w 232"/>
              <a:gd name="T117" fmla="*/ 3 h 248"/>
              <a:gd name="T118" fmla="*/ 227 w 232"/>
              <a:gd name="T119" fmla="*/ 1 h 248"/>
              <a:gd name="T120" fmla="*/ 227 w 232"/>
              <a:gd name="T121" fmla="*/ 1 h 248"/>
              <a:gd name="T122" fmla="*/ 227 w 232"/>
              <a:gd name="T123" fmla="*/ 1 h 248"/>
              <a:gd name="T124" fmla="*/ 227 w 232"/>
              <a:gd name="T12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248">
                <a:moveTo>
                  <a:pt x="2" y="246"/>
                </a:moveTo>
                <a:cubicBezTo>
                  <a:pt x="2" y="246"/>
                  <a:pt x="2" y="246"/>
                  <a:pt x="2" y="246"/>
                </a:cubicBezTo>
                <a:cubicBezTo>
                  <a:pt x="2" y="246"/>
                  <a:pt x="2" y="246"/>
                  <a:pt x="2" y="246"/>
                </a:cubicBezTo>
                <a:moveTo>
                  <a:pt x="1" y="246"/>
                </a:moveTo>
                <a:cubicBezTo>
                  <a:pt x="1" y="246"/>
                  <a:pt x="1" y="246"/>
                  <a:pt x="2"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0" y="246"/>
                </a:moveTo>
                <a:cubicBezTo>
                  <a:pt x="0" y="246"/>
                  <a:pt x="0" y="246"/>
                  <a:pt x="0" y="246"/>
                </a:cubicBezTo>
                <a:cubicBezTo>
                  <a:pt x="0" y="246"/>
                  <a:pt x="0" y="246"/>
                  <a:pt x="0" y="246"/>
                </a:cubicBezTo>
                <a:moveTo>
                  <a:pt x="0" y="246"/>
                </a:moveTo>
                <a:cubicBezTo>
                  <a:pt x="0" y="246"/>
                  <a:pt x="0" y="246"/>
                  <a:pt x="0" y="246"/>
                </a:cubicBezTo>
                <a:cubicBezTo>
                  <a:pt x="0" y="246"/>
                  <a:pt x="0" y="246"/>
                  <a:pt x="0" y="246"/>
                </a:cubicBezTo>
                <a:moveTo>
                  <a:pt x="232" y="47"/>
                </a:moveTo>
                <a:cubicBezTo>
                  <a:pt x="232" y="146"/>
                  <a:pt x="159" y="232"/>
                  <a:pt x="58" y="246"/>
                </a:cubicBezTo>
                <a:cubicBezTo>
                  <a:pt x="49" y="247"/>
                  <a:pt x="40" y="248"/>
                  <a:pt x="31" y="248"/>
                </a:cubicBezTo>
                <a:cubicBezTo>
                  <a:pt x="21" y="248"/>
                  <a:pt x="11" y="247"/>
                  <a:pt x="2" y="246"/>
                </a:cubicBezTo>
                <a:cubicBezTo>
                  <a:pt x="11" y="247"/>
                  <a:pt x="21" y="248"/>
                  <a:pt x="31" y="248"/>
                </a:cubicBezTo>
                <a:cubicBezTo>
                  <a:pt x="40" y="248"/>
                  <a:pt x="49" y="247"/>
                  <a:pt x="58" y="246"/>
                </a:cubicBezTo>
                <a:cubicBezTo>
                  <a:pt x="159" y="232"/>
                  <a:pt x="232" y="146"/>
                  <a:pt x="232" y="47"/>
                </a:cubicBezTo>
                <a:moveTo>
                  <a:pt x="231" y="19"/>
                </a:moveTo>
                <a:cubicBezTo>
                  <a:pt x="231" y="20"/>
                  <a:pt x="231" y="20"/>
                  <a:pt x="231" y="20"/>
                </a:cubicBezTo>
                <a:cubicBezTo>
                  <a:pt x="231" y="20"/>
                  <a:pt x="231" y="20"/>
                  <a:pt x="231" y="19"/>
                </a:cubicBezTo>
                <a:moveTo>
                  <a:pt x="230" y="19"/>
                </a:moveTo>
                <a:cubicBezTo>
                  <a:pt x="230" y="19"/>
                  <a:pt x="231" y="19"/>
                  <a:pt x="231" y="19"/>
                </a:cubicBezTo>
                <a:cubicBezTo>
                  <a:pt x="231" y="19"/>
                  <a:pt x="230" y="19"/>
                  <a:pt x="230" y="19"/>
                </a:cubicBezTo>
                <a:moveTo>
                  <a:pt x="230" y="19"/>
                </a:moveTo>
                <a:cubicBezTo>
                  <a:pt x="230" y="19"/>
                  <a:pt x="230" y="19"/>
                  <a:pt x="230" y="19"/>
                </a:cubicBezTo>
                <a:cubicBezTo>
                  <a:pt x="230" y="19"/>
                  <a:pt x="230" y="19"/>
                  <a:pt x="230" y="19"/>
                </a:cubicBezTo>
                <a:moveTo>
                  <a:pt x="230" y="19"/>
                </a:moveTo>
                <a:cubicBezTo>
                  <a:pt x="230" y="19"/>
                  <a:pt x="230" y="19"/>
                  <a:pt x="230" y="19"/>
                </a:cubicBezTo>
                <a:cubicBezTo>
                  <a:pt x="230" y="19"/>
                  <a:pt x="230" y="19"/>
                  <a:pt x="230" y="19"/>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6"/>
                </a:moveTo>
                <a:cubicBezTo>
                  <a:pt x="230" y="16"/>
                  <a:pt x="230" y="16"/>
                  <a:pt x="230" y="17"/>
                </a:cubicBezTo>
                <a:cubicBezTo>
                  <a:pt x="230" y="16"/>
                  <a:pt x="230" y="16"/>
                  <a:pt x="230" y="16"/>
                </a:cubicBezTo>
                <a:moveTo>
                  <a:pt x="230" y="16"/>
                </a:moveTo>
                <a:cubicBezTo>
                  <a:pt x="230" y="16"/>
                  <a:pt x="230" y="16"/>
                  <a:pt x="230" y="16"/>
                </a:cubicBezTo>
                <a:cubicBezTo>
                  <a:pt x="230" y="16"/>
                  <a:pt x="230" y="16"/>
                  <a:pt x="230" y="16"/>
                </a:cubicBezTo>
                <a:moveTo>
                  <a:pt x="230" y="15"/>
                </a:moveTo>
                <a:cubicBezTo>
                  <a:pt x="230" y="15"/>
                  <a:pt x="230" y="15"/>
                  <a:pt x="230" y="16"/>
                </a:cubicBezTo>
                <a:cubicBezTo>
                  <a:pt x="230" y="15"/>
                  <a:pt x="230" y="15"/>
                  <a:pt x="230" y="15"/>
                </a:cubicBezTo>
                <a:moveTo>
                  <a:pt x="230" y="15"/>
                </a:moveTo>
                <a:cubicBezTo>
                  <a:pt x="230" y="15"/>
                  <a:pt x="230" y="15"/>
                  <a:pt x="230" y="15"/>
                </a:cubicBezTo>
                <a:cubicBezTo>
                  <a:pt x="230" y="15"/>
                  <a:pt x="230" y="15"/>
                  <a:pt x="230" y="15"/>
                </a:cubicBezTo>
                <a:moveTo>
                  <a:pt x="230" y="15"/>
                </a:moveTo>
                <a:cubicBezTo>
                  <a:pt x="230" y="15"/>
                  <a:pt x="230" y="15"/>
                  <a:pt x="230" y="15"/>
                </a:cubicBezTo>
                <a:cubicBezTo>
                  <a:pt x="230" y="15"/>
                  <a:pt x="230" y="15"/>
                  <a:pt x="230" y="15"/>
                </a:cubicBezTo>
                <a:moveTo>
                  <a:pt x="230" y="14"/>
                </a:moveTo>
                <a:cubicBezTo>
                  <a:pt x="230" y="14"/>
                  <a:pt x="230" y="15"/>
                  <a:pt x="230" y="15"/>
                </a:cubicBezTo>
                <a:cubicBezTo>
                  <a:pt x="230" y="15"/>
                  <a:pt x="230" y="14"/>
                  <a:pt x="230" y="14"/>
                </a:cubicBezTo>
                <a:moveTo>
                  <a:pt x="230" y="14"/>
                </a:moveTo>
                <a:cubicBezTo>
                  <a:pt x="230" y="14"/>
                  <a:pt x="230" y="14"/>
                  <a:pt x="230" y="14"/>
                </a:cubicBezTo>
                <a:cubicBezTo>
                  <a:pt x="230" y="14"/>
                  <a:pt x="230" y="14"/>
                  <a:pt x="230" y="14"/>
                </a:cubicBezTo>
                <a:moveTo>
                  <a:pt x="230" y="14"/>
                </a:moveTo>
                <a:cubicBezTo>
                  <a:pt x="230" y="14"/>
                  <a:pt x="230" y="14"/>
                  <a:pt x="230" y="14"/>
                </a:cubicBezTo>
                <a:cubicBezTo>
                  <a:pt x="230" y="14"/>
                  <a:pt x="230" y="14"/>
                  <a:pt x="230" y="14"/>
                </a:cubicBezTo>
                <a:moveTo>
                  <a:pt x="230" y="13"/>
                </a:moveTo>
                <a:cubicBezTo>
                  <a:pt x="230" y="14"/>
                  <a:pt x="230" y="14"/>
                  <a:pt x="230" y="14"/>
                </a:cubicBezTo>
                <a:cubicBezTo>
                  <a:pt x="230" y="14"/>
                  <a:pt x="230" y="14"/>
                  <a:pt x="230" y="13"/>
                </a:cubicBezTo>
                <a:moveTo>
                  <a:pt x="230" y="13"/>
                </a:moveTo>
                <a:cubicBezTo>
                  <a:pt x="230" y="13"/>
                  <a:pt x="230" y="13"/>
                  <a:pt x="230" y="13"/>
                </a:cubicBezTo>
                <a:cubicBezTo>
                  <a:pt x="230" y="13"/>
                  <a:pt x="230" y="13"/>
                  <a:pt x="230" y="13"/>
                </a:cubicBezTo>
                <a:moveTo>
                  <a:pt x="229" y="13"/>
                </a:moveTo>
                <a:cubicBezTo>
                  <a:pt x="230" y="13"/>
                  <a:pt x="230" y="13"/>
                  <a:pt x="230" y="13"/>
                </a:cubicBezTo>
                <a:cubicBezTo>
                  <a:pt x="230" y="13"/>
                  <a:pt x="230" y="13"/>
                  <a:pt x="229" y="13"/>
                </a:cubicBezTo>
                <a:moveTo>
                  <a:pt x="229" y="12"/>
                </a:moveTo>
                <a:cubicBezTo>
                  <a:pt x="229" y="13"/>
                  <a:pt x="229" y="13"/>
                  <a:pt x="229" y="13"/>
                </a:cubicBezTo>
                <a:cubicBezTo>
                  <a:pt x="229" y="13"/>
                  <a:pt x="229" y="13"/>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9"/>
                </a:moveTo>
                <a:cubicBezTo>
                  <a:pt x="229" y="9"/>
                  <a:pt x="229" y="10"/>
                  <a:pt x="229" y="10"/>
                </a:cubicBezTo>
                <a:cubicBezTo>
                  <a:pt x="229" y="10"/>
                  <a:pt x="229" y="9"/>
                  <a:pt x="229" y="9"/>
                </a:cubicBezTo>
                <a:moveTo>
                  <a:pt x="229" y="9"/>
                </a:moveTo>
                <a:cubicBezTo>
                  <a:pt x="229" y="9"/>
                  <a:pt x="229" y="9"/>
                  <a:pt x="229" y="9"/>
                </a:cubicBezTo>
                <a:cubicBezTo>
                  <a:pt x="229" y="9"/>
                  <a:pt x="229" y="9"/>
                  <a:pt x="229" y="9"/>
                </a:cubicBezTo>
                <a:moveTo>
                  <a:pt x="229" y="9"/>
                </a:moveTo>
                <a:cubicBezTo>
                  <a:pt x="229" y="9"/>
                  <a:pt x="229" y="9"/>
                  <a:pt x="229" y="9"/>
                </a:cubicBezTo>
                <a:cubicBezTo>
                  <a:pt x="229" y="9"/>
                  <a:pt x="229" y="9"/>
                  <a:pt x="229" y="9"/>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7"/>
                </a:moveTo>
                <a:cubicBezTo>
                  <a:pt x="229" y="7"/>
                  <a:pt x="229" y="8"/>
                  <a:pt x="229" y="8"/>
                </a:cubicBezTo>
                <a:cubicBezTo>
                  <a:pt x="229" y="8"/>
                  <a:pt x="229" y="7"/>
                  <a:pt x="229"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6"/>
                </a:moveTo>
                <a:cubicBezTo>
                  <a:pt x="228" y="6"/>
                  <a:pt x="228" y="6"/>
                  <a:pt x="228" y="6"/>
                </a:cubicBezTo>
                <a:cubicBezTo>
                  <a:pt x="228" y="6"/>
                  <a:pt x="228" y="6"/>
                  <a:pt x="228" y="6"/>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3"/>
                </a:moveTo>
                <a:cubicBezTo>
                  <a:pt x="228" y="3"/>
                  <a:pt x="228" y="3"/>
                  <a:pt x="228" y="4"/>
                </a:cubicBezTo>
                <a:cubicBezTo>
                  <a:pt x="228" y="3"/>
                  <a:pt x="228" y="3"/>
                  <a:pt x="228" y="3"/>
                </a:cubicBezTo>
                <a:moveTo>
                  <a:pt x="228" y="3"/>
                </a:moveTo>
                <a:cubicBezTo>
                  <a:pt x="228" y="3"/>
                  <a:pt x="228" y="3"/>
                  <a:pt x="228" y="3"/>
                </a:cubicBezTo>
                <a:cubicBezTo>
                  <a:pt x="228" y="3"/>
                  <a:pt x="228" y="3"/>
                  <a:pt x="228" y="3"/>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0"/>
                </a:moveTo>
                <a:cubicBezTo>
                  <a:pt x="227" y="0"/>
                  <a:pt x="227" y="0"/>
                  <a:pt x="227" y="0"/>
                </a:cubicBezTo>
                <a:cubicBezTo>
                  <a:pt x="227" y="0"/>
                  <a:pt x="227" y="0"/>
                  <a:pt x="227" y="0"/>
                </a:cubicBezTo>
              </a:path>
            </a:pathLst>
          </a:custGeom>
          <a:solidFill>
            <a:srgbClr val="D5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24" name="Rounded Rectangle 37">
            <a:extLst>
              <a:ext uri="{FF2B5EF4-FFF2-40B4-BE49-F238E27FC236}">
                <a16:creationId xmlns:a16="http://schemas.microsoft.com/office/drawing/2014/main" id="{4778B60A-40D3-4C46-9204-17C443FECEB7}"/>
              </a:ext>
            </a:extLst>
          </p:cNvPr>
          <p:cNvSpPr/>
          <p:nvPr/>
        </p:nvSpPr>
        <p:spPr>
          <a:xfrm>
            <a:off x="3836194" y="5555918"/>
            <a:ext cx="7187041" cy="914400"/>
          </a:xfrm>
          <a:prstGeom prst="roundRect">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lvl="0">
              <a:defRPr/>
            </a:pPr>
            <a:r>
              <a:rPr lang="en-US" sz="1600" dirty="0">
                <a:solidFill>
                  <a:schemeClr val="tx1"/>
                </a:solidFill>
              </a:rPr>
              <a:t>CICD for Proxy Deployments &amp; Automation</a:t>
            </a:r>
          </a:p>
          <a:p>
            <a:pPr lvl="0">
              <a:defRPr/>
            </a:pPr>
            <a:r>
              <a:rPr lang="en-US" sz="1600" dirty="0">
                <a:solidFill>
                  <a:schemeClr val="tx1"/>
                </a:solidFill>
              </a:rPr>
              <a:t>Custom Development </a:t>
            </a:r>
          </a:p>
        </p:txBody>
      </p:sp>
      <p:sp>
        <p:nvSpPr>
          <p:cNvPr id="125" name="Freeform 20">
            <a:extLst>
              <a:ext uri="{FF2B5EF4-FFF2-40B4-BE49-F238E27FC236}">
                <a16:creationId xmlns:a16="http://schemas.microsoft.com/office/drawing/2014/main" id="{E989D245-0969-4601-A6AC-8C4B2CF99677}"/>
              </a:ext>
            </a:extLst>
          </p:cNvPr>
          <p:cNvSpPr>
            <a:spLocks noEditPoints="1"/>
          </p:cNvSpPr>
          <p:nvPr/>
        </p:nvSpPr>
        <p:spPr bwMode="auto">
          <a:xfrm rot="19589649">
            <a:off x="3230620" y="5594210"/>
            <a:ext cx="805083" cy="836109"/>
          </a:xfrm>
          <a:custGeom>
            <a:avLst/>
            <a:gdLst>
              <a:gd name="T0" fmla="*/ 158 w 361"/>
              <a:gd name="T1" fmla="*/ 13 h 361"/>
              <a:gd name="T2" fmla="*/ 12 w 361"/>
              <a:gd name="T3" fmla="*/ 203 h 361"/>
              <a:gd name="T4" fmla="*/ 203 w 361"/>
              <a:gd name="T5" fmla="*/ 349 h 361"/>
              <a:gd name="T6" fmla="*/ 348 w 361"/>
              <a:gd name="T7" fmla="*/ 158 h 361"/>
              <a:gd name="T8" fmla="*/ 158 w 361"/>
              <a:gd name="T9" fmla="*/ 13 h 361"/>
              <a:gd name="T10" fmla="*/ 199 w 361"/>
              <a:gd name="T11" fmla="*/ 317 h 361"/>
              <a:gd name="T12" fmla="*/ 44 w 361"/>
              <a:gd name="T13" fmla="*/ 199 h 361"/>
              <a:gd name="T14" fmla="*/ 162 w 361"/>
              <a:gd name="T15" fmla="*/ 45 h 361"/>
              <a:gd name="T16" fmla="*/ 316 w 361"/>
              <a:gd name="T17" fmla="*/ 162 h 361"/>
              <a:gd name="T18" fmla="*/ 199 w 361"/>
              <a:gd name="T19" fmla="*/ 317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361">
                <a:moveTo>
                  <a:pt x="158" y="13"/>
                </a:moveTo>
                <a:cubicBezTo>
                  <a:pt x="65" y="25"/>
                  <a:pt x="0" y="111"/>
                  <a:pt x="12" y="203"/>
                </a:cubicBezTo>
                <a:cubicBezTo>
                  <a:pt x="25" y="296"/>
                  <a:pt x="110" y="361"/>
                  <a:pt x="203" y="349"/>
                </a:cubicBezTo>
                <a:cubicBezTo>
                  <a:pt x="296" y="336"/>
                  <a:pt x="361" y="251"/>
                  <a:pt x="348" y="158"/>
                </a:cubicBezTo>
                <a:cubicBezTo>
                  <a:pt x="336" y="65"/>
                  <a:pt x="250" y="0"/>
                  <a:pt x="158" y="13"/>
                </a:cubicBezTo>
                <a:close/>
                <a:moveTo>
                  <a:pt x="199" y="317"/>
                </a:moveTo>
                <a:cubicBezTo>
                  <a:pt x="123" y="327"/>
                  <a:pt x="54" y="274"/>
                  <a:pt x="44" y="199"/>
                </a:cubicBezTo>
                <a:cubicBezTo>
                  <a:pt x="34" y="124"/>
                  <a:pt x="87" y="55"/>
                  <a:pt x="162" y="45"/>
                </a:cubicBezTo>
                <a:cubicBezTo>
                  <a:pt x="237" y="35"/>
                  <a:pt x="306" y="87"/>
                  <a:pt x="316" y="162"/>
                </a:cubicBezTo>
                <a:cubicBezTo>
                  <a:pt x="326" y="237"/>
                  <a:pt x="274" y="307"/>
                  <a:pt x="199" y="317"/>
                </a:cubicBezTo>
                <a:close/>
              </a:path>
            </a:pathLst>
          </a:custGeom>
          <a:solidFill>
            <a:srgbClr val="998C85">
              <a:lumMod val="20000"/>
              <a:lumOff val="80000"/>
            </a:srgbClr>
          </a:solidFill>
          <a:ln w="6350">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26" name="Freeform 24">
            <a:extLst>
              <a:ext uri="{FF2B5EF4-FFF2-40B4-BE49-F238E27FC236}">
                <a16:creationId xmlns:a16="http://schemas.microsoft.com/office/drawing/2014/main" id="{0AF720EB-BD50-4273-9146-DCB5D0CBD9C6}"/>
              </a:ext>
            </a:extLst>
          </p:cNvPr>
          <p:cNvSpPr>
            <a:spLocks/>
          </p:cNvSpPr>
          <p:nvPr/>
        </p:nvSpPr>
        <p:spPr bwMode="auto">
          <a:xfrm rot="19589649">
            <a:off x="3374556" y="5564986"/>
            <a:ext cx="789620" cy="867195"/>
          </a:xfrm>
          <a:custGeom>
            <a:avLst/>
            <a:gdLst>
              <a:gd name="T0" fmla="*/ 318 w 354"/>
              <a:gd name="T1" fmla="*/ 113 h 374"/>
              <a:gd name="T2" fmla="*/ 318 w 354"/>
              <a:gd name="T3" fmla="*/ 114 h 374"/>
              <a:gd name="T4" fmla="*/ 318 w 354"/>
              <a:gd name="T5" fmla="*/ 114 h 374"/>
              <a:gd name="T6" fmla="*/ 319 w 354"/>
              <a:gd name="T7" fmla="*/ 116 h 374"/>
              <a:gd name="T8" fmla="*/ 319 w 354"/>
              <a:gd name="T9" fmla="*/ 117 h 374"/>
              <a:gd name="T10" fmla="*/ 319 w 354"/>
              <a:gd name="T11" fmla="*/ 117 h 374"/>
              <a:gd name="T12" fmla="*/ 319 w 354"/>
              <a:gd name="T13" fmla="*/ 118 h 374"/>
              <a:gd name="T14" fmla="*/ 319 w 354"/>
              <a:gd name="T15" fmla="*/ 118 h 374"/>
              <a:gd name="T16" fmla="*/ 319 w 354"/>
              <a:gd name="T17" fmla="*/ 119 h 374"/>
              <a:gd name="T18" fmla="*/ 319 w 354"/>
              <a:gd name="T19" fmla="*/ 120 h 374"/>
              <a:gd name="T20" fmla="*/ 319 w 354"/>
              <a:gd name="T21" fmla="*/ 120 h 374"/>
              <a:gd name="T22" fmla="*/ 320 w 354"/>
              <a:gd name="T23" fmla="*/ 121 h 374"/>
              <a:gd name="T24" fmla="*/ 320 w 354"/>
              <a:gd name="T25" fmla="*/ 121 h 374"/>
              <a:gd name="T26" fmla="*/ 320 w 354"/>
              <a:gd name="T27" fmla="*/ 122 h 374"/>
              <a:gd name="T28" fmla="*/ 320 w 354"/>
              <a:gd name="T29" fmla="*/ 122 h 374"/>
              <a:gd name="T30" fmla="*/ 320 w 354"/>
              <a:gd name="T31" fmla="*/ 123 h 374"/>
              <a:gd name="T32" fmla="*/ 320 w 354"/>
              <a:gd name="T33" fmla="*/ 123 h 374"/>
              <a:gd name="T34" fmla="*/ 320 w 354"/>
              <a:gd name="T35" fmla="*/ 124 h 374"/>
              <a:gd name="T36" fmla="*/ 320 w 354"/>
              <a:gd name="T37" fmla="*/ 124 h 374"/>
              <a:gd name="T38" fmla="*/ 320 w 354"/>
              <a:gd name="T39" fmla="*/ 125 h 374"/>
              <a:gd name="T40" fmla="*/ 320 w 354"/>
              <a:gd name="T41" fmla="*/ 125 h 374"/>
              <a:gd name="T42" fmla="*/ 320 w 354"/>
              <a:gd name="T43" fmla="*/ 125 h 374"/>
              <a:gd name="T44" fmla="*/ 321 w 354"/>
              <a:gd name="T45" fmla="*/ 126 h 374"/>
              <a:gd name="T46" fmla="*/ 321 w 354"/>
              <a:gd name="T47" fmla="*/ 126 h 374"/>
              <a:gd name="T48" fmla="*/ 321 w 354"/>
              <a:gd name="T49" fmla="*/ 127 h 374"/>
              <a:gd name="T50" fmla="*/ 321 w 354"/>
              <a:gd name="T51" fmla="*/ 127 h 374"/>
              <a:gd name="T52" fmla="*/ 321 w 354"/>
              <a:gd name="T53" fmla="*/ 128 h 374"/>
              <a:gd name="T54" fmla="*/ 321 w 354"/>
              <a:gd name="T55" fmla="*/ 128 h 374"/>
              <a:gd name="T56" fmla="*/ 321 w 354"/>
              <a:gd name="T57" fmla="*/ 129 h 374"/>
              <a:gd name="T58" fmla="*/ 321 w 354"/>
              <a:gd name="T59" fmla="*/ 130 h 374"/>
              <a:gd name="T60" fmla="*/ 321 w 354"/>
              <a:gd name="T61" fmla="*/ 130 h 374"/>
              <a:gd name="T62" fmla="*/ 321 w 354"/>
              <a:gd name="T63" fmla="*/ 131 h 374"/>
              <a:gd name="T64" fmla="*/ 321 w 354"/>
              <a:gd name="T65" fmla="*/ 131 h 374"/>
              <a:gd name="T66" fmla="*/ 321 w 354"/>
              <a:gd name="T67" fmla="*/ 132 h 374"/>
              <a:gd name="T68" fmla="*/ 321 w 354"/>
              <a:gd name="T69" fmla="*/ 132 h 374"/>
              <a:gd name="T70" fmla="*/ 322 w 354"/>
              <a:gd name="T71" fmla="*/ 132 h 374"/>
              <a:gd name="T72" fmla="*/ 323 w 354"/>
              <a:gd name="T73" fmla="*/ 160 h 374"/>
              <a:gd name="T74" fmla="*/ 93 w 354"/>
              <a:gd name="T75" fmla="*/ 359 h 374"/>
              <a:gd name="T76" fmla="*/ 93 w 354"/>
              <a:gd name="T77" fmla="*/ 359 h 374"/>
              <a:gd name="T78" fmla="*/ 92 w 354"/>
              <a:gd name="T79" fmla="*/ 359 h 374"/>
              <a:gd name="T80" fmla="*/ 92 w 354"/>
              <a:gd name="T81" fmla="*/ 359 h 374"/>
              <a:gd name="T82" fmla="*/ 91 w 354"/>
              <a:gd name="T83" fmla="*/ 359 h 374"/>
              <a:gd name="T84" fmla="*/ 0 w 354"/>
              <a:gd name="T85" fmla="*/ 320 h 374"/>
              <a:gd name="T86" fmla="*/ 339 w 354"/>
              <a:gd name="T87" fmla="*/ 14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4" h="374">
                <a:moveTo>
                  <a:pt x="244" y="0"/>
                </a:moveTo>
                <a:cubicBezTo>
                  <a:pt x="280" y="27"/>
                  <a:pt x="307" y="67"/>
                  <a:pt x="318" y="113"/>
                </a:cubicBezTo>
                <a:cubicBezTo>
                  <a:pt x="318" y="113"/>
                  <a:pt x="318" y="113"/>
                  <a:pt x="318" y="113"/>
                </a:cubicBezTo>
                <a:cubicBezTo>
                  <a:pt x="318" y="113"/>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5"/>
                  <a:pt x="318" y="116"/>
                  <a:pt x="319" y="116"/>
                </a:cubicBezTo>
                <a:cubicBezTo>
                  <a:pt x="319" y="116"/>
                  <a:pt x="319" y="116"/>
                  <a:pt x="319" y="116"/>
                </a:cubicBezTo>
                <a:cubicBezTo>
                  <a:pt x="319" y="116"/>
                  <a:pt x="319" y="116"/>
                  <a:pt x="319" y="116"/>
                </a:cubicBezTo>
                <a:cubicBezTo>
                  <a:pt x="319" y="116"/>
                  <a:pt x="319" y="116"/>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9"/>
                  <a:pt x="319" y="119"/>
                  <a:pt x="319" y="119"/>
                </a:cubicBezTo>
                <a:cubicBezTo>
                  <a:pt x="319" y="119"/>
                  <a:pt x="319" y="119"/>
                  <a:pt x="319" y="119"/>
                </a:cubicBezTo>
                <a:cubicBezTo>
                  <a:pt x="319" y="119"/>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20" y="120"/>
                  <a:pt x="320" y="120"/>
                </a:cubicBezTo>
                <a:cubicBezTo>
                  <a:pt x="320" y="120"/>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6"/>
                  <a:pt x="320" y="126"/>
                  <a:pt x="320" y="126"/>
                </a:cubicBezTo>
                <a:cubicBezTo>
                  <a:pt x="320" y="126"/>
                  <a:pt x="320" y="126"/>
                  <a:pt x="320" y="126"/>
                </a:cubicBezTo>
                <a:cubicBezTo>
                  <a:pt x="321" y="126"/>
                  <a:pt x="321" y="126"/>
                  <a:pt x="321" y="126"/>
                </a:cubicBezTo>
                <a:cubicBezTo>
                  <a:pt x="321" y="126"/>
                  <a:pt x="321" y="126"/>
                  <a:pt x="321" y="126"/>
                </a:cubicBezTo>
                <a:cubicBezTo>
                  <a:pt x="321" y="126"/>
                  <a:pt x="321" y="126"/>
                  <a:pt x="321" y="126"/>
                </a:cubicBezTo>
                <a:cubicBezTo>
                  <a:pt x="321" y="126"/>
                  <a:pt x="321" y="126"/>
                  <a:pt x="321" y="126"/>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9"/>
                </a:cubicBezTo>
                <a:cubicBezTo>
                  <a:pt x="321" y="129"/>
                  <a:pt x="321" y="129"/>
                  <a:pt x="321" y="129"/>
                </a:cubicBezTo>
                <a:cubicBezTo>
                  <a:pt x="321" y="129"/>
                  <a:pt x="321" y="129"/>
                  <a:pt x="321" y="129"/>
                </a:cubicBezTo>
                <a:cubicBezTo>
                  <a:pt x="321" y="129"/>
                  <a:pt x="321" y="129"/>
                  <a:pt x="321" y="129"/>
                </a:cubicBezTo>
                <a:cubicBezTo>
                  <a:pt x="321" y="129"/>
                  <a:pt x="321" y="129"/>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2"/>
                  <a:pt x="321" y="132"/>
                </a:cubicBezTo>
                <a:cubicBezTo>
                  <a:pt x="321" y="132"/>
                  <a:pt x="321" y="132"/>
                  <a:pt x="321" y="132"/>
                </a:cubicBezTo>
                <a:cubicBezTo>
                  <a:pt x="321" y="132"/>
                  <a:pt x="321" y="132"/>
                  <a:pt x="321" y="132"/>
                </a:cubicBezTo>
                <a:cubicBezTo>
                  <a:pt x="321" y="132"/>
                  <a:pt x="321" y="132"/>
                  <a:pt x="321" y="132"/>
                </a:cubicBezTo>
                <a:cubicBezTo>
                  <a:pt x="321" y="132"/>
                  <a:pt x="321" y="132"/>
                  <a:pt x="321" y="132"/>
                </a:cubicBezTo>
                <a:cubicBezTo>
                  <a:pt x="321" y="132"/>
                  <a:pt x="322" y="132"/>
                  <a:pt x="322" y="132"/>
                </a:cubicBezTo>
                <a:cubicBezTo>
                  <a:pt x="322" y="132"/>
                  <a:pt x="322" y="132"/>
                  <a:pt x="322" y="132"/>
                </a:cubicBezTo>
                <a:cubicBezTo>
                  <a:pt x="322" y="133"/>
                  <a:pt x="322" y="133"/>
                  <a:pt x="322" y="133"/>
                </a:cubicBezTo>
                <a:cubicBezTo>
                  <a:pt x="322" y="133"/>
                  <a:pt x="322" y="133"/>
                  <a:pt x="322" y="133"/>
                </a:cubicBezTo>
                <a:cubicBezTo>
                  <a:pt x="323" y="142"/>
                  <a:pt x="323" y="151"/>
                  <a:pt x="323" y="160"/>
                </a:cubicBezTo>
                <a:cubicBezTo>
                  <a:pt x="323" y="259"/>
                  <a:pt x="250" y="345"/>
                  <a:pt x="149" y="359"/>
                </a:cubicBezTo>
                <a:cubicBezTo>
                  <a:pt x="140" y="360"/>
                  <a:pt x="131" y="361"/>
                  <a:pt x="122" y="361"/>
                </a:cubicBezTo>
                <a:cubicBezTo>
                  <a:pt x="112" y="361"/>
                  <a:pt x="102" y="360"/>
                  <a:pt x="93" y="359"/>
                </a:cubicBezTo>
                <a:cubicBezTo>
                  <a:pt x="93" y="359"/>
                  <a:pt x="93" y="359"/>
                  <a:pt x="93" y="359"/>
                </a:cubicBezTo>
                <a:cubicBezTo>
                  <a:pt x="93" y="359"/>
                  <a:pt x="93" y="359"/>
                  <a:pt x="93" y="359"/>
                </a:cubicBezTo>
                <a:cubicBezTo>
                  <a:pt x="93" y="359"/>
                  <a:pt x="93" y="359"/>
                  <a:pt x="93"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1" y="359"/>
                  <a:pt x="91" y="359"/>
                </a:cubicBezTo>
                <a:cubicBezTo>
                  <a:pt x="91" y="359"/>
                  <a:pt x="91" y="359"/>
                  <a:pt x="91" y="359"/>
                </a:cubicBezTo>
                <a:cubicBezTo>
                  <a:pt x="91" y="359"/>
                  <a:pt x="91" y="359"/>
                  <a:pt x="91" y="359"/>
                </a:cubicBezTo>
                <a:cubicBezTo>
                  <a:pt x="91" y="359"/>
                  <a:pt x="91" y="359"/>
                  <a:pt x="91" y="359"/>
                </a:cubicBezTo>
                <a:cubicBezTo>
                  <a:pt x="58" y="353"/>
                  <a:pt x="27" y="340"/>
                  <a:pt x="0" y="320"/>
                </a:cubicBezTo>
                <a:cubicBezTo>
                  <a:pt x="37" y="354"/>
                  <a:pt x="86" y="374"/>
                  <a:pt x="138" y="374"/>
                </a:cubicBezTo>
                <a:cubicBezTo>
                  <a:pt x="147" y="374"/>
                  <a:pt x="156" y="374"/>
                  <a:pt x="165" y="372"/>
                </a:cubicBezTo>
                <a:cubicBezTo>
                  <a:pt x="276" y="357"/>
                  <a:pt x="354" y="256"/>
                  <a:pt x="339" y="145"/>
                </a:cubicBezTo>
                <a:cubicBezTo>
                  <a:pt x="330" y="82"/>
                  <a:pt x="294" y="30"/>
                  <a:pt x="244" y="0"/>
                </a:cubicBezTo>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27" name="Freeform 21">
            <a:extLst>
              <a:ext uri="{FF2B5EF4-FFF2-40B4-BE49-F238E27FC236}">
                <a16:creationId xmlns:a16="http://schemas.microsoft.com/office/drawing/2014/main" id="{2E358AEB-FF9D-4E93-A3F9-7CB2A41E9213}"/>
              </a:ext>
            </a:extLst>
          </p:cNvPr>
          <p:cNvSpPr>
            <a:spLocks/>
          </p:cNvSpPr>
          <p:nvPr/>
        </p:nvSpPr>
        <p:spPr bwMode="auto">
          <a:xfrm rot="19589649">
            <a:off x="3307665" y="5674996"/>
            <a:ext cx="650458" cy="677463"/>
          </a:xfrm>
          <a:custGeom>
            <a:avLst/>
            <a:gdLst>
              <a:gd name="T0" fmla="*/ 10 w 292"/>
              <a:gd name="T1" fmla="*/ 164 h 292"/>
              <a:gd name="T2" fmla="*/ 128 w 292"/>
              <a:gd name="T3" fmla="*/ 10 h 292"/>
              <a:gd name="T4" fmla="*/ 282 w 292"/>
              <a:gd name="T5" fmla="*/ 127 h 292"/>
              <a:gd name="T6" fmla="*/ 165 w 292"/>
              <a:gd name="T7" fmla="*/ 282 h 292"/>
              <a:gd name="T8" fmla="*/ 10 w 292"/>
              <a:gd name="T9" fmla="*/ 164 h 292"/>
            </a:gdLst>
            <a:ahLst/>
            <a:cxnLst>
              <a:cxn ang="0">
                <a:pos x="T0" y="T1"/>
              </a:cxn>
              <a:cxn ang="0">
                <a:pos x="T2" y="T3"/>
              </a:cxn>
              <a:cxn ang="0">
                <a:pos x="T4" y="T5"/>
              </a:cxn>
              <a:cxn ang="0">
                <a:pos x="T6" y="T7"/>
              </a:cxn>
              <a:cxn ang="0">
                <a:pos x="T8" y="T9"/>
              </a:cxn>
            </a:cxnLst>
            <a:rect l="0" t="0" r="r" b="b"/>
            <a:pathLst>
              <a:path w="292" h="292">
                <a:moveTo>
                  <a:pt x="10" y="164"/>
                </a:moveTo>
                <a:cubicBezTo>
                  <a:pt x="0" y="89"/>
                  <a:pt x="53" y="20"/>
                  <a:pt x="128" y="10"/>
                </a:cubicBezTo>
                <a:cubicBezTo>
                  <a:pt x="203" y="0"/>
                  <a:pt x="272" y="52"/>
                  <a:pt x="282" y="127"/>
                </a:cubicBezTo>
                <a:cubicBezTo>
                  <a:pt x="292" y="202"/>
                  <a:pt x="240" y="272"/>
                  <a:pt x="165" y="282"/>
                </a:cubicBezTo>
                <a:cubicBezTo>
                  <a:pt x="89" y="292"/>
                  <a:pt x="20" y="239"/>
                  <a:pt x="10" y="164"/>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28" name="Freeform 22">
            <a:extLst>
              <a:ext uri="{FF2B5EF4-FFF2-40B4-BE49-F238E27FC236}">
                <a16:creationId xmlns:a16="http://schemas.microsoft.com/office/drawing/2014/main" id="{0997CEF4-6A3B-46F1-A0F0-412CA11C75E3}"/>
              </a:ext>
            </a:extLst>
          </p:cNvPr>
          <p:cNvSpPr>
            <a:spLocks/>
          </p:cNvSpPr>
          <p:nvPr/>
        </p:nvSpPr>
        <p:spPr bwMode="auto">
          <a:xfrm rot="19589649">
            <a:off x="3300946" y="5722351"/>
            <a:ext cx="531911" cy="598140"/>
          </a:xfrm>
          <a:custGeom>
            <a:avLst/>
            <a:gdLst>
              <a:gd name="T0" fmla="*/ 30 w 239"/>
              <a:gd name="T1" fmla="*/ 175 h 258"/>
              <a:gd name="T2" fmla="*/ 148 w 239"/>
              <a:gd name="T3" fmla="*/ 21 h 258"/>
              <a:gd name="T4" fmla="*/ 239 w 239"/>
              <a:gd name="T5" fmla="*/ 41 h 258"/>
              <a:gd name="T6" fmla="*/ 128 w 239"/>
              <a:gd name="T7" fmla="*/ 6 h 258"/>
              <a:gd name="T8" fmla="*/ 10 w 239"/>
              <a:gd name="T9" fmla="*/ 160 h 258"/>
              <a:gd name="T10" fmla="*/ 73 w 239"/>
              <a:gd name="T11" fmla="*/ 258 h 258"/>
              <a:gd name="T12" fmla="*/ 30 w 239"/>
              <a:gd name="T13" fmla="*/ 175 h 258"/>
            </a:gdLst>
            <a:ahLst/>
            <a:cxnLst>
              <a:cxn ang="0">
                <a:pos x="T0" y="T1"/>
              </a:cxn>
              <a:cxn ang="0">
                <a:pos x="T2" y="T3"/>
              </a:cxn>
              <a:cxn ang="0">
                <a:pos x="T4" y="T5"/>
              </a:cxn>
              <a:cxn ang="0">
                <a:pos x="T6" y="T7"/>
              </a:cxn>
              <a:cxn ang="0">
                <a:pos x="T8" y="T9"/>
              </a:cxn>
              <a:cxn ang="0">
                <a:pos x="T10" y="T11"/>
              </a:cxn>
              <a:cxn ang="0">
                <a:pos x="T12" y="T13"/>
              </a:cxn>
            </a:cxnLst>
            <a:rect l="0" t="0" r="r" b="b"/>
            <a:pathLst>
              <a:path w="239" h="258">
                <a:moveTo>
                  <a:pt x="30" y="175"/>
                </a:moveTo>
                <a:cubicBezTo>
                  <a:pt x="20" y="100"/>
                  <a:pt x="72" y="31"/>
                  <a:pt x="148" y="21"/>
                </a:cubicBezTo>
                <a:cubicBezTo>
                  <a:pt x="181" y="16"/>
                  <a:pt x="213" y="24"/>
                  <a:pt x="239" y="41"/>
                </a:cubicBezTo>
                <a:cubicBezTo>
                  <a:pt x="210" y="14"/>
                  <a:pt x="170" y="0"/>
                  <a:pt x="128" y="6"/>
                </a:cubicBezTo>
                <a:cubicBezTo>
                  <a:pt x="53" y="16"/>
                  <a:pt x="0" y="85"/>
                  <a:pt x="10" y="160"/>
                </a:cubicBezTo>
                <a:cubicBezTo>
                  <a:pt x="16" y="202"/>
                  <a:pt x="40" y="237"/>
                  <a:pt x="73" y="258"/>
                </a:cubicBezTo>
                <a:cubicBezTo>
                  <a:pt x="50" y="237"/>
                  <a:pt x="34" y="208"/>
                  <a:pt x="30" y="175"/>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29" name="Freeform 25">
            <a:extLst>
              <a:ext uri="{FF2B5EF4-FFF2-40B4-BE49-F238E27FC236}">
                <a16:creationId xmlns:a16="http://schemas.microsoft.com/office/drawing/2014/main" id="{AB0FEDBC-4C65-44CB-A86C-7DBB4352D323}"/>
              </a:ext>
            </a:extLst>
          </p:cNvPr>
          <p:cNvSpPr>
            <a:spLocks noEditPoints="1"/>
          </p:cNvSpPr>
          <p:nvPr/>
        </p:nvSpPr>
        <p:spPr bwMode="auto">
          <a:xfrm rot="19589649">
            <a:off x="3630403" y="5770313"/>
            <a:ext cx="517480" cy="575630"/>
          </a:xfrm>
          <a:custGeom>
            <a:avLst/>
            <a:gdLst>
              <a:gd name="T0" fmla="*/ 2 w 232"/>
              <a:gd name="T1" fmla="*/ 246 h 248"/>
              <a:gd name="T2" fmla="*/ 1 w 232"/>
              <a:gd name="T3" fmla="*/ 246 h 248"/>
              <a:gd name="T4" fmla="*/ 1 w 232"/>
              <a:gd name="T5" fmla="*/ 246 h 248"/>
              <a:gd name="T6" fmla="*/ 1 w 232"/>
              <a:gd name="T7" fmla="*/ 246 h 248"/>
              <a:gd name="T8" fmla="*/ 1 w 232"/>
              <a:gd name="T9" fmla="*/ 246 h 248"/>
              <a:gd name="T10" fmla="*/ 0 w 232"/>
              <a:gd name="T11" fmla="*/ 246 h 248"/>
              <a:gd name="T12" fmla="*/ 0 w 232"/>
              <a:gd name="T13" fmla="*/ 246 h 248"/>
              <a:gd name="T14" fmla="*/ 31 w 232"/>
              <a:gd name="T15" fmla="*/ 248 h 248"/>
              <a:gd name="T16" fmla="*/ 58 w 232"/>
              <a:gd name="T17" fmla="*/ 246 h 248"/>
              <a:gd name="T18" fmla="*/ 231 w 232"/>
              <a:gd name="T19" fmla="*/ 20 h 248"/>
              <a:gd name="T20" fmla="*/ 231 w 232"/>
              <a:gd name="T21" fmla="*/ 19 h 248"/>
              <a:gd name="T22" fmla="*/ 230 w 232"/>
              <a:gd name="T23" fmla="*/ 19 h 248"/>
              <a:gd name="T24" fmla="*/ 230 w 232"/>
              <a:gd name="T25" fmla="*/ 19 h 248"/>
              <a:gd name="T26" fmla="*/ 230 w 232"/>
              <a:gd name="T27" fmla="*/ 18 h 248"/>
              <a:gd name="T28" fmla="*/ 230 w 232"/>
              <a:gd name="T29" fmla="*/ 18 h 248"/>
              <a:gd name="T30" fmla="*/ 230 w 232"/>
              <a:gd name="T31" fmla="*/ 18 h 248"/>
              <a:gd name="T32" fmla="*/ 230 w 232"/>
              <a:gd name="T33" fmla="*/ 17 h 248"/>
              <a:gd name="T34" fmla="*/ 230 w 232"/>
              <a:gd name="T35" fmla="*/ 17 h 248"/>
              <a:gd name="T36" fmla="*/ 230 w 232"/>
              <a:gd name="T37" fmla="*/ 17 h 248"/>
              <a:gd name="T38" fmla="*/ 230 w 232"/>
              <a:gd name="T39" fmla="*/ 17 h 248"/>
              <a:gd name="T40" fmla="*/ 230 w 232"/>
              <a:gd name="T41" fmla="*/ 16 h 248"/>
              <a:gd name="T42" fmla="*/ 230 w 232"/>
              <a:gd name="T43" fmla="*/ 16 h 248"/>
              <a:gd name="T44" fmla="*/ 230 w 232"/>
              <a:gd name="T45" fmla="*/ 15 h 248"/>
              <a:gd name="T46" fmla="*/ 230 w 232"/>
              <a:gd name="T47" fmla="*/ 15 h 248"/>
              <a:gd name="T48" fmla="*/ 230 w 232"/>
              <a:gd name="T49" fmla="*/ 15 h 248"/>
              <a:gd name="T50" fmla="*/ 230 w 232"/>
              <a:gd name="T51" fmla="*/ 14 h 248"/>
              <a:gd name="T52" fmla="*/ 230 w 232"/>
              <a:gd name="T53" fmla="*/ 14 h 248"/>
              <a:gd name="T54" fmla="*/ 230 w 232"/>
              <a:gd name="T55" fmla="*/ 14 h 248"/>
              <a:gd name="T56" fmla="*/ 230 w 232"/>
              <a:gd name="T57" fmla="*/ 13 h 248"/>
              <a:gd name="T58" fmla="*/ 230 w 232"/>
              <a:gd name="T59" fmla="*/ 13 h 248"/>
              <a:gd name="T60" fmla="*/ 229 w 232"/>
              <a:gd name="T61" fmla="*/ 13 h 248"/>
              <a:gd name="T62" fmla="*/ 229 w 232"/>
              <a:gd name="T63" fmla="*/ 12 h 248"/>
              <a:gd name="T64" fmla="*/ 229 w 232"/>
              <a:gd name="T65" fmla="*/ 12 h 248"/>
              <a:gd name="T66" fmla="*/ 229 w 232"/>
              <a:gd name="T67" fmla="*/ 12 h 248"/>
              <a:gd name="T68" fmla="*/ 229 w 232"/>
              <a:gd name="T69" fmla="*/ 11 h 248"/>
              <a:gd name="T70" fmla="*/ 229 w 232"/>
              <a:gd name="T71" fmla="*/ 11 h 248"/>
              <a:gd name="T72" fmla="*/ 229 w 232"/>
              <a:gd name="T73" fmla="*/ 11 h 248"/>
              <a:gd name="T74" fmla="*/ 229 w 232"/>
              <a:gd name="T75" fmla="*/ 10 h 248"/>
              <a:gd name="T76" fmla="*/ 229 w 232"/>
              <a:gd name="T77" fmla="*/ 10 h 248"/>
              <a:gd name="T78" fmla="*/ 229 w 232"/>
              <a:gd name="T79" fmla="*/ 10 h 248"/>
              <a:gd name="T80" fmla="*/ 229 w 232"/>
              <a:gd name="T81" fmla="*/ 10 h 248"/>
              <a:gd name="T82" fmla="*/ 229 w 232"/>
              <a:gd name="T83" fmla="*/ 9 h 248"/>
              <a:gd name="T84" fmla="*/ 229 w 232"/>
              <a:gd name="T85" fmla="*/ 9 h 248"/>
              <a:gd name="T86" fmla="*/ 229 w 232"/>
              <a:gd name="T87" fmla="*/ 8 h 248"/>
              <a:gd name="T88" fmla="*/ 229 w 232"/>
              <a:gd name="T89" fmla="*/ 8 h 248"/>
              <a:gd name="T90" fmla="*/ 229 w 232"/>
              <a:gd name="T91" fmla="*/ 8 h 248"/>
              <a:gd name="T92" fmla="*/ 229 w 232"/>
              <a:gd name="T93" fmla="*/ 8 h 248"/>
              <a:gd name="T94" fmla="*/ 228 w 232"/>
              <a:gd name="T95" fmla="*/ 7 h 248"/>
              <a:gd name="T96" fmla="*/ 228 w 232"/>
              <a:gd name="T97" fmla="*/ 7 h 248"/>
              <a:gd name="T98" fmla="*/ 228 w 232"/>
              <a:gd name="T99" fmla="*/ 7 h 248"/>
              <a:gd name="T100" fmla="*/ 228 w 232"/>
              <a:gd name="T101" fmla="*/ 6 h 248"/>
              <a:gd name="T102" fmla="*/ 228 w 232"/>
              <a:gd name="T103" fmla="*/ 5 h 248"/>
              <a:gd name="T104" fmla="*/ 228 w 232"/>
              <a:gd name="T105" fmla="*/ 5 h 248"/>
              <a:gd name="T106" fmla="*/ 228 w 232"/>
              <a:gd name="T107" fmla="*/ 5 h 248"/>
              <a:gd name="T108" fmla="*/ 228 w 232"/>
              <a:gd name="T109" fmla="*/ 4 h 248"/>
              <a:gd name="T110" fmla="*/ 228 w 232"/>
              <a:gd name="T111" fmla="*/ 4 h 248"/>
              <a:gd name="T112" fmla="*/ 228 w 232"/>
              <a:gd name="T113" fmla="*/ 4 h 248"/>
              <a:gd name="T114" fmla="*/ 228 w 232"/>
              <a:gd name="T115" fmla="*/ 4 h 248"/>
              <a:gd name="T116" fmla="*/ 228 w 232"/>
              <a:gd name="T117" fmla="*/ 3 h 248"/>
              <a:gd name="T118" fmla="*/ 227 w 232"/>
              <a:gd name="T119" fmla="*/ 1 h 248"/>
              <a:gd name="T120" fmla="*/ 227 w 232"/>
              <a:gd name="T121" fmla="*/ 1 h 248"/>
              <a:gd name="T122" fmla="*/ 227 w 232"/>
              <a:gd name="T123" fmla="*/ 1 h 248"/>
              <a:gd name="T124" fmla="*/ 227 w 232"/>
              <a:gd name="T12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248">
                <a:moveTo>
                  <a:pt x="2" y="246"/>
                </a:moveTo>
                <a:cubicBezTo>
                  <a:pt x="2" y="246"/>
                  <a:pt x="2" y="246"/>
                  <a:pt x="2" y="246"/>
                </a:cubicBezTo>
                <a:cubicBezTo>
                  <a:pt x="2" y="246"/>
                  <a:pt x="2" y="246"/>
                  <a:pt x="2" y="246"/>
                </a:cubicBezTo>
                <a:moveTo>
                  <a:pt x="1" y="246"/>
                </a:moveTo>
                <a:cubicBezTo>
                  <a:pt x="1" y="246"/>
                  <a:pt x="1" y="246"/>
                  <a:pt x="2"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0" y="246"/>
                </a:moveTo>
                <a:cubicBezTo>
                  <a:pt x="0" y="246"/>
                  <a:pt x="0" y="246"/>
                  <a:pt x="0" y="246"/>
                </a:cubicBezTo>
                <a:cubicBezTo>
                  <a:pt x="0" y="246"/>
                  <a:pt x="0" y="246"/>
                  <a:pt x="0" y="246"/>
                </a:cubicBezTo>
                <a:moveTo>
                  <a:pt x="0" y="246"/>
                </a:moveTo>
                <a:cubicBezTo>
                  <a:pt x="0" y="246"/>
                  <a:pt x="0" y="246"/>
                  <a:pt x="0" y="246"/>
                </a:cubicBezTo>
                <a:cubicBezTo>
                  <a:pt x="0" y="246"/>
                  <a:pt x="0" y="246"/>
                  <a:pt x="0" y="246"/>
                </a:cubicBezTo>
                <a:moveTo>
                  <a:pt x="232" y="47"/>
                </a:moveTo>
                <a:cubicBezTo>
                  <a:pt x="232" y="146"/>
                  <a:pt x="159" y="232"/>
                  <a:pt x="58" y="246"/>
                </a:cubicBezTo>
                <a:cubicBezTo>
                  <a:pt x="49" y="247"/>
                  <a:pt x="40" y="248"/>
                  <a:pt x="31" y="248"/>
                </a:cubicBezTo>
                <a:cubicBezTo>
                  <a:pt x="21" y="248"/>
                  <a:pt x="11" y="247"/>
                  <a:pt x="2" y="246"/>
                </a:cubicBezTo>
                <a:cubicBezTo>
                  <a:pt x="11" y="247"/>
                  <a:pt x="21" y="248"/>
                  <a:pt x="31" y="248"/>
                </a:cubicBezTo>
                <a:cubicBezTo>
                  <a:pt x="40" y="248"/>
                  <a:pt x="49" y="247"/>
                  <a:pt x="58" y="246"/>
                </a:cubicBezTo>
                <a:cubicBezTo>
                  <a:pt x="159" y="232"/>
                  <a:pt x="232" y="146"/>
                  <a:pt x="232" y="47"/>
                </a:cubicBezTo>
                <a:moveTo>
                  <a:pt x="231" y="19"/>
                </a:moveTo>
                <a:cubicBezTo>
                  <a:pt x="231" y="20"/>
                  <a:pt x="231" y="20"/>
                  <a:pt x="231" y="20"/>
                </a:cubicBezTo>
                <a:cubicBezTo>
                  <a:pt x="231" y="20"/>
                  <a:pt x="231" y="20"/>
                  <a:pt x="231" y="19"/>
                </a:cubicBezTo>
                <a:moveTo>
                  <a:pt x="230" y="19"/>
                </a:moveTo>
                <a:cubicBezTo>
                  <a:pt x="230" y="19"/>
                  <a:pt x="231" y="19"/>
                  <a:pt x="231" y="19"/>
                </a:cubicBezTo>
                <a:cubicBezTo>
                  <a:pt x="231" y="19"/>
                  <a:pt x="230" y="19"/>
                  <a:pt x="230" y="19"/>
                </a:cubicBezTo>
                <a:moveTo>
                  <a:pt x="230" y="19"/>
                </a:moveTo>
                <a:cubicBezTo>
                  <a:pt x="230" y="19"/>
                  <a:pt x="230" y="19"/>
                  <a:pt x="230" y="19"/>
                </a:cubicBezTo>
                <a:cubicBezTo>
                  <a:pt x="230" y="19"/>
                  <a:pt x="230" y="19"/>
                  <a:pt x="230" y="19"/>
                </a:cubicBezTo>
                <a:moveTo>
                  <a:pt x="230" y="19"/>
                </a:moveTo>
                <a:cubicBezTo>
                  <a:pt x="230" y="19"/>
                  <a:pt x="230" y="19"/>
                  <a:pt x="230" y="19"/>
                </a:cubicBezTo>
                <a:cubicBezTo>
                  <a:pt x="230" y="19"/>
                  <a:pt x="230" y="19"/>
                  <a:pt x="230" y="19"/>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6"/>
                </a:moveTo>
                <a:cubicBezTo>
                  <a:pt x="230" y="16"/>
                  <a:pt x="230" y="16"/>
                  <a:pt x="230" y="17"/>
                </a:cubicBezTo>
                <a:cubicBezTo>
                  <a:pt x="230" y="16"/>
                  <a:pt x="230" y="16"/>
                  <a:pt x="230" y="16"/>
                </a:cubicBezTo>
                <a:moveTo>
                  <a:pt x="230" y="16"/>
                </a:moveTo>
                <a:cubicBezTo>
                  <a:pt x="230" y="16"/>
                  <a:pt x="230" y="16"/>
                  <a:pt x="230" y="16"/>
                </a:cubicBezTo>
                <a:cubicBezTo>
                  <a:pt x="230" y="16"/>
                  <a:pt x="230" y="16"/>
                  <a:pt x="230" y="16"/>
                </a:cubicBezTo>
                <a:moveTo>
                  <a:pt x="230" y="15"/>
                </a:moveTo>
                <a:cubicBezTo>
                  <a:pt x="230" y="15"/>
                  <a:pt x="230" y="15"/>
                  <a:pt x="230" y="16"/>
                </a:cubicBezTo>
                <a:cubicBezTo>
                  <a:pt x="230" y="15"/>
                  <a:pt x="230" y="15"/>
                  <a:pt x="230" y="15"/>
                </a:cubicBezTo>
                <a:moveTo>
                  <a:pt x="230" y="15"/>
                </a:moveTo>
                <a:cubicBezTo>
                  <a:pt x="230" y="15"/>
                  <a:pt x="230" y="15"/>
                  <a:pt x="230" y="15"/>
                </a:cubicBezTo>
                <a:cubicBezTo>
                  <a:pt x="230" y="15"/>
                  <a:pt x="230" y="15"/>
                  <a:pt x="230" y="15"/>
                </a:cubicBezTo>
                <a:moveTo>
                  <a:pt x="230" y="15"/>
                </a:moveTo>
                <a:cubicBezTo>
                  <a:pt x="230" y="15"/>
                  <a:pt x="230" y="15"/>
                  <a:pt x="230" y="15"/>
                </a:cubicBezTo>
                <a:cubicBezTo>
                  <a:pt x="230" y="15"/>
                  <a:pt x="230" y="15"/>
                  <a:pt x="230" y="15"/>
                </a:cubicBezTo>
                <a:moveTo>
                  <a:pt x="230" y="14"/>
                </a:moveTo>
                <a:cubicBezTo>
                  <a:pt x="230" y="14"/>
                  <a:pt x="230" y="15"/>
                  <a:pt x="230" y="15"/>
                </a:cubicBezTo>
                <a:cubicBezTo>
                  <a:pt x="230" y="15"/>
                  <a:pt x="230" y="14"/>
                  <a:pt x="230" y="14"/>
                </a:cubicBezTo>
                <a:moveTo>
                  <a:pt x="230" y="14"/>
                </a:moveTo>
                <a:cubicBezTo>
                  <a:pt x="230" y="14"/>
                  <a:pt x="230" y="14"/>
                  <a:pt x="230" y="14"/>
                </a:cubicBezTo>
                <a:cubicBezTo>
                  <a:pt x="230" y="14"/>
                  <a:pt x="230" y="14"/>
                  <a:pt x="230" y="14"/>
                </a:cubicBezTo>
                <a:moveTo>
                  <a:pt x="230" y="14"/>
                </a:moveTo>
                <a:cubicBezTo>
                  <a:pt x="230" y="14"/>
                  <a:pt x="230" y="14"/>
                  <a:pt x="230" y="14"/>
                </a:cubicBezTo>
                <a:cubicBezTo>
                  <a:pt x="230" y="14"/>
                  <a:pt x="230" y="14"/>
                  <a:pt x="230" y="14"/>
                </a:cubicBezTo>
                <a:moveTo>
                  <a:pt x="230" y="13"/>
                </a:moveTo>
                <a:cubicBezTo>
                  <a:pt x="230" y="14"/>
                  <a:pt x="230" y="14"/>
                  <a:pt x="230" y="14"/>
                </a:cubicBezTo>
                <a:cubicBezTo>
                  <a:pt x="230" y="14"/>
                  <a:pt x="230" y="14"/>
                  <a:pt x="230" y="13"/>
                </a:cubicBezTo>
                <a:moveTo>
                  <a:pt x="230" y="13"/>
                </a:moveTo>
                <a:cubicBezTo>
                  <a:pt x="230" y="13"/>
                  <a:pt x="230" y="13"/>
                  <a:pt x="230" y="13"/>
                </a:cubicBezTo>
                <a:cubicBezTo>
                  <a:pt x="230" y="13"/>
                  <a:pt x="230" y="13"/>
                  <a:pt x="230" y="13"/>
                </a:cubicBezTo>
                <a:moveTo>
                  <a:pt x="229" y="13"/>
                </a:moveTo>
                <a:cubicBezTo>
                  <a:pt x="230" y="13"/>
                  <a:pt x="230" y="13"/>
                  <a:pt x="230" y="13"/>
                </a:cubicBezTo>
                <a:cubicBezTo>
                  <a:pt x="230" y="13"/>
                  <a:pt x="230" y="13"/>
                  <a:pt x="229" y="13"/>
                </a:cubicBezTo>
                <a:moveTo>
                  <a:pt x="229" y="12"/>
                </a:moveTo>
                <a:cubicBezTo>
                  <a:pt x="229" y="13"/>
                  <a:pt x="229" y="13"/>
                  <a:pt x="229" y="13"/>
                </a:cubicBezTo>
                <a:cubicBezTo>
                  <a:pt x="229" y="13"/>
                  <a:pt x="229" y="13"/>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9"/>
                </a:moveTo>
                <a:cubicBezTo>
                  <a:pt x="229" y="9"/>
                  <a:pt x="229" y="10"/>
                  <a:pt x="229" y="10"/>
                </a:cubicBezTo>
                <a:cubicBezTo>
                  <a:pt x="229" y="10"/>
                  <a:pt x="229" y="9"/>
                  <a:pt x="229" y="9"/>
                </a:cubicBezTo>
                <a:moveTo>
                  <a:pt x="229" y="9"/>
                </a:moveTo>
                <a:cubicBezTo>
                  <a:pt x="229" y="9"/>
                  <a:pt x="229" y="9"/>
                  <a:pt x="229" y="9"/>
                </a:cubicBezTo>
                <a:cubicBezTo>
                  <a:pt x="229" y="9"/>
                  <a:pt x="229" y="9"/>
                  <a:pt x="229" y="9"/>
                </a:cubicBezTo>
                <a:moveTo>
                  <a:pt x="229" y="9"/>
                </a:moveTo>
                <a:cubicBezTo>
                  <a:pt x="229" y="9"/>
                  <a:pt x="229" y="9"/>
                  <a:pt x="229" y="9"/>
                </a:cubicBezTo>
                <a:cubicBezTo>
                  <a:pt x="229" y="9"/>
                  <a:pt x="229" y="9"/>
                  <a:pt x="229" y="9"/>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7"/>
                </a:moveTo>
                <a:cubicBezTo>
                  <a:pt x="229" y="7"/>
                  <a:pt x="229" y="8"/>
                  <a:pt x="229" y="8"/>
                </a:cubicBezTo>
                <a:cubicBezTo>
                  <a:pt x="229" y="8"/>
                  <a:pt x="229" y="7"/>
                  <a:pt x="229"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6"/>
                </a:moveTo>
                <a:cubicBezTo>
                  <a:pt x="228" y="6"/>
                  <a:pt x="228" y="6"/>
                  <a:pt x="228" y="6"/>
                </a:cubicBezTo>
                <a:cubicBezTo>
                  <a:pt x="228" y="6"/>
                  <a:pt x="228" y="6"/>
                  <a:pt x="228" y="6"/>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3"/>
                </a:moveTo>
                <a:cubicBezTo>
                  <a:pt x="228" y="3"/>
                  <a:pt x="228" y="3"/>
                  <a:pt x="228" y="4"/>
                </a:cubicBezTo>
                <a:cubicBezTo>
                  <a:pt x="228" y="3"/>
                  <a:pt x="228" y="3"/>
                  <a:pt x="228" y="3"/>
                </a:cubicBezTo>
                <a:moveTo>
                  <a:pt x="228" y="3"/>
                </a:moveTo>
                <a:cubicBezTo>
                  <a:pt x="228" y="3"/>
                  <a:pt x="228" y="3"/>
                  <a:pt x="228" y="3"/>
                </a:cubicBezTo>
                <a:cubicBezTo>
                  <a:pt x="228" y="3"/>
                  <a:pt x="228" y="3"/>
                  <a:pt x="228" y="3"/>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0"/>
                </a:moveTo>
                <a:cubicBezTo>
                  <a:pt x="227" y="0"/>
                  <a:pt x="227" y="0"/>
                  <a:pt x="227" y="0"/>
                </a:cubicBezTo>
                <a:cubicBezTo>
                  <a:pt x="227" y="0"/>
                  <a:pt x="227" y="0"/>
                  <a:pt x="227" y="0"/>
                </a:cubicBezTo>
              </a:path>
            </a:pathLst>
          </a:custGeom>
          <a:solidFill>
            <a:srgbClr val="D5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30" name="Rounded Rectangle 23">
            <a:extLst>
              <a:ext uri="{FF2B5EF4-FFF2-40B4-BE49-F238E27FC236}">
                <a16:creationId xmlns:a16="http://schemas.microsoft.com/office/drawing/2014/main" id="{7E565D6E-604A-4DC0-A24B-5EBE81E5003C}"/>
              </a:ext>
            </a:extLst>
          </p:cNvPr>
          <p:cNvSpPr/>
          <p:nvPr/>
        </p:nvSpPr>
        <p:spPr>
          <a:xfrm>
            <a:off x="3836194" y="3340370"/>
            <a:ext cx="7187041" cy="914400"/>
          </a:xfrm>
          <a:prstGeom prst="roundRect">
            <a:avLst/>
          </a:prstGeom>
          <a:noFill/>
          <a:ln w="12700">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lvl="0">
              <a:defRPr/>
            </a:pPr>
            <a:r>
              <a:rPr lang="en-US" sz="1600" dirty="0">
                <a:solidFill>
                  <a:schemeClr val="tx1"/>
                </a:solidFill>
              </a:rPr>
              <a:t>Configuration of API’s proxies, programmability.</a:t>
            </a:r>
          </a:p>
          <a:p>
            <a:pPr lvl="0">
              <a:defRPr/>
            </a:pPr>
            <a:r>
              <a:rPr lang="en-US" sz="1600" dirty="0">
                <a:solidFill>
                  <a:schemeClr val="tx1"/>
                </a:solidFill>
              </a:rPr>
              <a:t>Develop &amp; Maintain the "template" API Proxy</a:t>
            </a:r>
            <a:endParaRPr lang="en-IN" sz="1600" dirty="0">
              <a:solidFill>
                <a:schemeClr val="tx1"/>
              </a:solidFill>
            </a:endParaRPr>
          </a:p>
        </p:txBody>
      </p:sp>
      <p:sp>
        <p:nvSpPr>
          <p:cNvPr id="131" name="Freeform 20">
            <a:extLst>
              <a:ext uri="{FF2B5EF4-FFF2-40B4-BE49-F238E27FC236}">
                <a16:creationId xmlns:a16="http://schemas.microsoft.com/office/drawing/2014/main" id="{43825D27-E453-4459-9FFB-95D07E857B58}"/>
              </a:ext>
            </a:extLst>
          </p:cNvPr>
          <p:cNvSpPr>
            <a:spLocks noEditPoints="1"/>
          </p:cNvSpPr>
          <p:nvPr/>
        </p:nvSpPr>
        <p:spPr bwMode="auto">
          <a:xfrm rot="19589649">
            <a:off x="3230620" y="3378662"/>
            <a:ext cx="805083" cy="836109"/>
          </a:xfrm>
          <a:custGeom>
            <a:avLst/>
            <a:gdLst>
              <a:gd name="T0" fmla="*/ 158 w 361"/>
              <a:gd name="T1" fmla="*/ 13 h 361"/>
              <a:gd name="T2" fmla="*/ 12 w 361"/>
              <a:gd name="T3" fmla="*/ 203 h 361"/>
              <a:gd name="T4" fmla="*/ 203 w 361"/>
              <a:gd name="T5" fmla="*/ 349 h 361"/>
              <a:gd name="T6" fmla="*/ 348 w 361"/>
              <a:gd name="T7" fmla="*/ 158 h 361"/>
              <a:gd name="T8" fmla="*/ 158 w 361"/>
              <a:gd name="T9" fmla="*/ 13 h 361"/>
              <a:gd name="T10" fmla="*/ 199 w 361"/>
              <a:gd name="T11" fmla="*/ 317 h 361"/>
              <a:gd name="T12" fmla="*/ 44 w 361"/>
              <a:gd name="T13" fmla="*/ 199 h 361"/>
              <a:gd name="T14" fmla="*/ 162 w 361"/>
              <a:gd name="T15" fmla="*/ 45 h 361"/>
              <a:gd name="T16" fmla="*/ 316 w 361"/>
              <a:gd name="T17" fmla="*/ 162 h 361"/>
              <a:gd name="T18" fmla="*/ 199 w 361"/>
              <a:gd name="T19" fmla="*/ 317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361">
                <a:moveTo>
                  <a:pt x="158" y="13"/>
                </a:moveTo>
                <a:cubicBezTo>
                  <a:pt x="65" y="25"/>
                  <a:pt x="0" y="111"/>
                  <a:pt x="12" y="203"/>
                </a:cubicBezTo>
                <a:cubicBezTo>
                  <a:pt x="25" y="296"/>
                  <a:pt x="110" y="361"/>
                  <a:pt x="203" y="349"/>
                </a:cubicBezTo>
                <a:cubicBezTo>
                  <a:pt x="296" y="336"/>
                  <a:pt x="361" y="251"/>
                  <a:pt x="348" y="158"/>
                </a:cubicBezTo>
                <a:cubicBezTo>
                  <a:pt x="336" y="65"/>
                  <a:pt x="250" y="0"/>
                  <a:pt x="158" y="13"/>
                </a:cubicBezTo>
                <a:close/>
                <a:moveTo>
                  <a:pt x="199" y="317"/>
                </a:moveTo>
                <a:cubicBezTo>
                  <a:pt x="123" y="327"/>
                  <a:pt x="54" y="274"/>
                  <a:pt x="44" y="199"/>
                </a:cubicBezTo>
                <a:cubicBezTo>
                  <a:pt x="34" y="124"/>
                  <a:pt x="87" y="55"/>
                  <a:pt x="162" y="45"/>
                </a:cubicBezTo>
                <a:cubicBezTo>
                  <a:pt x="237" y="35"/>
                  <a:pt x="306" y="87"/>
                  <a:pt x="316" y="162"/>
                </a:cubicBezTo>
                <a:cubicBezTo>
                  <a:pt x="326" y="237"/>
                  <a:pt x="274" y="307"/>
                  <a:pt x="199" y="317"/>
                </a:cubicBezTo>
                <a:close/>
              </a:path>
            </a:pathLst>
          </a:custGeom>
          <a:solidFill>
            <a:srgbClr val="998C85">
              <a:lumMod val="20000"/>
              <a:lumOff val="80000"/>
            </a:srgbClr>
          </a:solidFill>
          <a:ln w="6350">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32" name="Freeform 21">
            <a:extLst>
              <a:ext uri="{FF2B5EF4-FFF2-40B4-BE49-F238E27FC236}">
                <a16:creationId xmlns:a16="http://schemas.microsoft.com/office/drawing/2014/main" id="{62F2AD3E-C2B4-4149-B8B5-1A52AB382509}"/>
              </a:ext>
            </a:extLst>
          </p:cNvPr>
          <p:cNvSpPr>
            <a:spLocks/>
          </p:cNvSpPr>
          <p:nvPr/>
        </p:nvSpPr>
        <p:spPr bwMode="auto">
          <a:xfrm rot="19589649">
            <a:off x="3307665" y="3459448"/>
            <a:ext cx="650458" cy="677463"/>
          </a:xfrm>
          <a:custGeom>
            <a:avLst/>
            <a:gdLst>
              <a:gd name="T0" fmla="*/ 10 w 292"/>
              <a:gd name="T1" fmla="*/ 164 h 292"/>
              <a:gd name="T2" fmla="*/ 128 w 292"/>
              <a:gd name="T3" fmla="*/ 10 h 292"/>
              <a:gd name="T4" fmla="*/ 282 w 292"/>
              <a:gd name="T5" fmla="*/ 127 h 292"/>
              <a:gd name="T6" fmla="*/ 165 w 292"/>
              <a:gd name="T7" fmla="*/ 282 h 292"/>
              <a:gd name="T8" fmla="*/ 10 w 292"/>
              <a:gd name="T9" fmla="*/ 164 h 292"/>
            </a:gdLst>
            <a:ahLst/>
            <a:cxnLst>
              <a:cxn ang="0">
                <a:pos x="T0" y="T1"/>
              </a:cxn>
              <a:cxn ang="0">
                <a:pos x="T2" y="T3"/>
              </a:cxn>
              <a:cxn ang="0">
                <a:pos x="T4" y="T5"/>
              </a:cxn>
              <a:cxn ang="0">
                <a:pos x="T6" y="T7"/>
              </a:cxn>
              <a:cxn ang="0">
                <a:pos x="T8" y="T9"/>
              </a:cxn>
            </a:cxnLst>
            <a:rect l="0" t="0" r="r" b="b"/>
            <a:pathLst>
              <a:path w="292" h="292">
                <a:moveTo>
                  <a:pt x="10" y="164"/>
                </a:moveTo>
                <a:cubicBezTo>
                  <a:pt x="0" y="89"/>
                  <a:pt x="53" y="20"/>
                  <a:pt x="128" y="10"/>
                </a:cubicBezTo>
                <a:cubicBezTo>
                  <a:pt x="203" y="0"/>
                  <a:pt x="272" y="52"/>
                  <a:pt x="282" y="127"/>
                </a:cubicBezTo>
                <a:cubicBezTo>
                  <a:pt x="292" y="202"/>
                  <a:pt x="240" y="272"/>
                  <a:pt x="165" y="282"/>
                </a:cubicBezTo>
                <a:cubicBezTo>
                  <a:pt x="89" y="292"/>
                  <a:pt x="20" y="239"/>
                  <a:pt x="10" y="164"/>
                </a:cubicBez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33" name="Freeform 22">
            <a:extLst>
              <a:ext uri="{FF2B5EF4-FFF2-40B4-BE49-F238E27FC236}">
                <a16:creationId xmlns:a16="http://schemas.microsoft.com/office/drawing/2014/main" id="{7E810AC1-DDC9-4272-B120-C4A62FE4C9FD}"/>
              </a:ext>
            </a:extLst>
          </p:cNvPr>
          <p:cNvSpPr>
            <a:spLocks/>
          </p:cNvSpPr>
          <p:nvPr/>
        </p:nvSpPr>
        <p:spPr bwMode="auto">
          <a:xfrm rot="19589649">
            <a:off x="3300946" y="3506803"/>
            <a:ext cx="531911" cy="598140"/>
          </a:xfrm>
          <a:custGeom>
            <a:avLst/>
            <a:gdLst>
              <a:gd name="T0" fmla="*/ 30 w 239"/>
              <a:gd name="T1" fmla="*/ 175 h 258"/>
              <a:gd name="T2" fmla="*/ 148 w 239"/>
              <a:gd name="T3" fmla="*/ 21 h 258"/>
              <a:gd name="T4" fmla="*/ 239 w 239"/>
              <a:gd name="T5" fmla="*/ 41 h 258"/>
              <a:gd name="T6" fmla="*/ 128 w 239"/>
              <a:gd name="T7" fmla="*/ 6 h 258"/>
              <a:gd name="T8" fmla="*/ 10 w 239"/>
              <a:gd name="T9" fmla="*/ 160 h 258"/>
              <a:gd name="T10" fmla="*/ 73 w 239"/>
              <a:gd name="T11" fmla="*/ 258 h 258"/>
              <a:gd name="T12" fmla="*/ 30 w 239"/>
              <a:gd name="T13" fmla="*/ 175 h 258"/>
            </a:gdLst>
            <a:ahLst/>
            <a:cxnLst>
              <a:cxn ang="0">
                <a:pos x="T0" y="T1"/>
              </a:cxn>
              <a:cxn ang="0">
                <a:pos x="T2" y="T3"/>
              </a:cxn>
              <a:cxn ang="0">
                <a:pos x="T4" y="T5"/>
              </a:cxn>
              <a:cxn ang="0">
                <a:pos x="T6" y="T7"/>
              </a:cxn>
              <a:cxn ang="0">
                <a:pos x="T8" y="T9"/>
              </a:cxn>
              <a:cxn ang="0">
                <a:pos x="T10" y="T11"/>
              </a:cxn>
              <a:cxn ang="0">
                <a:pos x="T12" y="T13"/>
              </a:cxn>
            </a:cxnLst>
            <a:rect l="0" t="0" r="r" b="b"/>
            <a:pathLst>
              <a:path w="239" h="258">
                <a:moveTo>
                  <a:pt x="30" y="175"/>
                </a:moveTo>
                <a:cubicBezTo>
                  <a:pt x="20" y="100"/>
                  <a:pt x="72" y="31"/>
                  <a:pt x="148" y="21"/>
                </a:cubicBezTo>
                <a:cubicBezTo>
                  <a:pt x="181" y="16"/>
                  <a:pt x="213" y="24"/>
                  <a:pt x="239" y="41"/>
                </a:cubicBezTo>
                <a:cubicBezTo>
                  <a:pt x="210" y="14"/>
                  <a:pt x="170" y="0"/>
                  <a:pt x="128" y="6"/>
                </a:cubicBezTo>
                <a:cubicBezTo>
                  <a:pt x="53" y="16"/>
                  <a:pt x="0" y="85"/>
                  <a:pt x="10" y="160"/>
                </a:cubicBezTo>
                <a:cubicBezTo>
                  <a:pt x="16" y="202"/>
                  <a:pt x="40" y="237"/>
                  <a:pt x="73" y="258"/>
                </a:cubicBezTo>
                <a:cubicBezTo>
                  <a:pt x="50" y="237"/>
                  <a:pt x="34" y="208"/>
                  <a:pt x="30" y="175"/>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34" name="Freeform 24">
            <a:extLst>
              <a:ext uri="{FF2B5EF4-FFF2-40B4-BE49-F238E27FC236}">
                <a16:creationId xmlns:a16="http://schemas.microsoft.com/office/drawing/2014/main" id="{14DB959E-EED5-4C8C-9C5D-CABDF33A9770}"/>
              </a:ext>
            </a:extLst>
          </p:cNvPr>
          <p:cNvSpPr>
            <a:spLocks/>
          </p:cNvSpPr>
          <p:nvPr/>
        </p:nvSpPr>
        <p:spPr bwMode="auto">
          <a:xfrm rot="19589649">
            <a:off x="3374556" y="3349438"/>
            <a:ext cx="789620" cy="867195"/>
          </a:xfrm>
          <a:custGeom>
            <a:avLst/>
            <a:gdLst>
              <a:gd name="T0" fmla="*/ 318 w 354"/>
              <a:gd name="T1" fmla="*/ 113 h 374"/>
              <a:gd name="T2" fmla="*/ 318 w 354"/>
              <a:gd name="T3" fmla="*/ 114 h 374"/>
              <a:gd name="T4" fmla="*/ 318 w 354"/>
              <a:gd name="T5" fmla="*/ 114 h 374"/>
              <a:gd name="T6" fmla="*/ 319 w 354"/>
              <a:gd name="T7" fmla="*/ 116 h 374"/>
              <a:gd name="T8" fmla="*/ 319 w 354"/>
              <a:gd name="T9" fmla="*/ 117 h 374"/>
              <a:gd name="T10" fmla="*/ 319 w 354"/>
              <a:gd name="T11" fmla="*/ 117 h 374"/>
              <a:gd name="T12" fmla="*/ 319 w 354"/>
              <a:gd name="T13" fmla="*/ 118 h 374"/>
              <a:gd name="T14" fmla="*/ 319 w 354"/>
              <a:gd name="T15" fmla="*/ 118 h 374"/>
              <a:gd name="T16" fmla="*/ 319 w 354"/>
              <a:gd name="T17" fmla="*/ 119 h 374"/>
              <a:gd name="T18" fmla="*/ 319 w 354"/>
              <a:gd name="T19" fmla="*/ 120 h 374"/>
              <a:gd name="T20" fmla="*/ 319 w 354"/>
              <a:gd name="T21" fmla="*/ 120 h 374"/>
              <a:gd name="T22" fmla="*/ 320 w 354"/>
              <a:gd name="T23" fmla="*/ 121 h 374"/>
              <a:gd name="T24" fmla="*/ 320 w 354"/>
              <a:gd name="T25" fmla="*/ 121 h 374"/>
              <a:gd name="T26" fmla="*/ 320 w 354"/>
              <a:gd name="T27" fmla="*/ 122 h 374"/>
              <a:gd name="T28" fmla="*/ 320 w 354"/>
              <a:gd name="T29" fmla="*/ 122 h 374"/>
              <a:gd name="T30" fmla="*/ 320 w 354"/>
              <a:gd name="T31" fmla="*/ 123 h 374"/>
              <a:gd name="T32" fmla="*/ 320 w 354"/>
              <a:gd name="T33" fmla="*/ 123 h 374"/>
              <a:gd name="T34" fmla="*/ 320 w 354"/>
              <a:gd name="T35" fmla="*/ 124 h 374"/>
              <a:gd name="T36" fmla="*/ 320 w 354"/>
              <a:gd name="T37" fmla="*/ 124 h 374"/>
              <a:gd name="T38" fmla="*/ 320 w 354"/>
              <a:gd name="T39" fmla="*/ 125 h 374"/>
              <a:gd name="T40" fmla="*/ 320 w 354"/>
              <a:gd name="T41" fmla="*/ 125 h 374"/>
              <a:gd name="T42" fmla="*/ 320 w 354"/>
              <a:gd name="T43" fmla="*/ 125 h 374"/>
              <a:gd name="T44" fmla="*/ 321 w 354"/>
              <a:gd name="T45" fmla="*/ 126 h 374"/>
              <a:gd name="T46" fmla="*/ 321 w 354"/>
              <a:gd name="T47" fmla="*/ 126 h 374"/>
              <a:gd name="T48" fmla="*/ 321 w 354"/>
              <a:gd name="T49" fmla="*/ 127 h 374"/>
              <a:gd name="T50" fmla="*/ 321 w 354"/>
              <a:gd name="T51" fmla="*/ 127 h 374"/>
              <a:gd name="T52" fmla="*/ 321 w 354"/>
              <a:gd name="T53" fmla="*/ 128 h 374"/>
              <a:gd name="T54" fmla="*/ 321 w 354"/>
              <a:gd name="T55" fmla="*/ 128 h 374"/>
              <a:gd name="T56" fmla="*/ 321 w 354"/>
              <a:gd name="T57" fmla="*/ 129 h 374"/>
              <a:gd name="T58" fmla="*/ 321 w 354"/>
              <a:gd name="T59" fmla="*/ 130 h 374"/>
              <a:gd name="T60" fmla="*/ 321 w 354"/>
              <a:gd name="T61" fmla="*/ 130 h 374"/>
              <a:gd name="T62" fmla="*/ 321 w 354"/>
              <a:gd name="T63" fmla="*/ 131 h 374"/>
              <a:gd name="T64" fmla="*/ 321 w 354"/>
              <a:gd name="T65" fmla="*/ 131 h 374"/>
              <a:gd name="T66" fmla="*/ 321 w 354"/>
              <a:gd name="T67" fmla="*/ 132 h 374"/>
              <a:gd name="T68" fmla="*/ 321 w 354"/>
              <a:gd name="T69" fmla="*/ 132 h 374"/>
              <a:gd name="T70" fmla="*/ 322 w 354"/>
              <a:gd name="T71" fmla="*/ 132 h 374"/>
              <a:gd name="T72" fmla="*/ 323 w 354"/>
              <a:gd name="T73" fmla="*/ 160 h 374"/>
              <a:gd name="T74" fmla="*/ 93 w 354"/>
              <a:gd name="T75" fmla="*/ 359 h 374"/>
              <a:gd name="T76" fmla="*/ 93 w 354"/>
              <a:gd name="T77" fmla="*/ 359 h 374"/>
              <a:gd name="T78" fmla="*/ 92 w 354"/>
              <a:gd name="T79" fmla="*/ 359 h 374"/>
              <a:gd name="T80" fmla="*/ 92 w 354"/>
              <a:gd name="T81" fmla="*/ 359 h 374"/>
              <a:gd name="T82" fmla="*/ 91 w 354"/>
              <a:gd name="T83" fmla="*/ 359 h 374"/>
              <a:gd name="T84" fmla="*/ 0 w 354"/>
              <a:gd name="T85" fmla="*/ 320 h 374"/>
              <a:gd name="T86" fmla="*/ 339 w 354"/>
              <a:gd name="T87" fmla="*/ 14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4" h="374">
                <a:moveTo>
                  <a:pt x="244" y="0"/>
                </a:moveTo>
                <a:cubicBezTo>
                  <a:pt x="280" y="27"/>
                  <a:pt x="307" y="67"/>
                  <a:pt x="318" y="113"/>
                </a:cubicBezTo>
                <a:cubicBezTo>
                  <a:pt x="318" y="113"/>
                  <a:pt x="318" y="113"/>
                  <a:pt x="318" y="113"/>
                </a:cubicBezTo>
                <a:cubicBezTo>
                  <a:pt x="318" y="113"/>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5"/>
                  <a:pt x="318" y="116"/>
                  <a:pt x="319" y="116"/>
                </a:cubicBezTo>
                <a:cubicBezTo>
                  <a:pt x="319" y="116"/>
                  <a:pt x="319" y="116"/>
                  <a:pt x="319" y="116"/>
                </a:cubicBezTo>
                <a:cubicBezTo>
                  <a:pt x="319" y="116"/>
                  <a:pt x="319" y="116"/>
                  <a:pt x="319" y="116"/>
                </a:cubicBezTo>
                <a:cubicBezTo>
                  <a:pt x="319" y="116"/>
                  <a:pt x="319" y="116"/>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9"/>
                  <a:pt x="319" y="119"/>
                  <a:pt x="319" y="119"/>
                </a:cubicBezTo>
                <a:cubicBezTo>
                  <a:pt x="319" y="119"/>
                  <a:pt x="319" y="119"/>
                  <a:pt x="319" y="119"/>
                </a:cubicBezTo>
                <a:cubicBezTo>
                  <a:pt x="319" y="119"/>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20" y="120"/>
                  <a:pt x="320" y="120"/>
                </a:cubicBezTo>
                <a:cubicBezTo>
                  <a:pt x="320" y="120"/>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6"/>
                  <a:pt x="320" y="126"/>
                  <a:pt x="320" y="126"/>
                </a:cubicBezTo>
                <a:cubicBezTo>
                  <a:pt x="320" y="126"/>
                  <a:pt x="320" y="126"/>
                  <a:pt x="320" y="126"/>
                </a:cubicBezTo>
                <a:cubicBezTo>
                  <a:pt x="321" y="126"/>
                  <a:pt x="321" y="126"/>
                  <a:pt x="321" y="126"/>
                </a:cubicBezTo>
                <a:cubicBezTo>
                  <a:pt x="321" y="126"/>
                  <a:pt x="321" y="126"/>
                  <a:pt x="321" y="126"/>
                </a:cubicBezTo>
                <a:cubicBezTo>
                  <a:pt x="321" y="126"/>
                  <a:pt x="321" y="126"/>
                  <a:pt x="321" y="126"/>
                </a:cubicBezTo>
                <a:cubicBezTo>
                  <a:pt x="321" y="126"/>
                  <a:pt x="321" y="126"/>
                  <a:pt x="321" y="126"/>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9"/>
                </a:cubicBezTo>
                <a:cubicBezTo>
                  <a:pt x="321" y="129"/>
                  <a:pt x="321" y="129"/>
                  <a:pt x="321" y="129"/>
                </a:cubicBezTo>
                <a:cubicBezTo>
                  <a:pt x="321" y="129"/>
                  <a:pt x="321" y="129"/>
                  <a:pt x="321" y="129"/>
                </a:cubicBezTo>
                <a:cubicBezTo>
                  <a:pt x="321" y="129"/>
                  <a:pt x="321" y="129"/>
                  <a:pt x="321" y="129"/>
                </a:cubicBezTo>
                <a:cubicBezTo>
                  <a:pt x="321" y="129"/>
                  <a:pt x="321" y="129"/>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2"/>
                  <a:pt x="321" y="132"/>
                </a:cubicBezTo>
                <a:cubicBezTo>
                  <a:pt x="321" y="132"/>
                  <a:pt x="321" y="132"/>
                  <a:pt x="321" y="132"/>
                </a:cubicBezTo>
                <a:cubicBezTo>
                  <a:pt x="321" y="132"/>
                  <a:pt x="321" y="132"/>
                  <a:pt x="321" y="132"/>
                </a:cubicBezTo>
                <a:cubicBezTo>
                  <a:pt x="321" y="132"/>
                  <a:pt x="321" y="132"/>
                  <a:pt x="321" y="132"/>
                </a:cubicBezTo>
                <a:cubicBezTo>
                  <a:pt x="321" y="132"/>
                  <a:pt x="321" y="132"/>
                  <a:pt x="321" y="132"/>
                </a:cubicBezTo>
                <a:cubicBezTo>
                  <a:pt x="321" y="132"/>
                  <a:pt x="322" y="132"/>
                  <a:pt x="322" y="132"/>
                </a:cubicBezTo>
                <a:cubicBezTo>
                  <a:pt x="322" y="132"/>
                  <a:pt x="322" y="132"/>
                  <a:pt x="322" y="132"/>
                </a:cubicBezTo>
                <a:cubicBezTo>
                  <a:pt x="322" y="133"/>
                  <a:pt x="322" y="133"/>
                  <a:pt x="322" y="133"/>
                </a:cubicBezTo>
                <a:cubicBezTo>
                  <a:pt x="322" y="133"/>
                  <a:pt x="322" y="133"/>
                  <a:pt x="322" y="133"/>
                </a:cubicBezTo>
                <a:cubicBezTo>
                  <a:pt x="323" y="142"/>
                  <a:pt x="323" y="151"/>
                  <a:pt x="323" y="160"/>
                </a:cubicBezTo>
                <a:cubicBezTo>
                  <a:pt x="323" y="259"/>
                  <a:pt x="250" y="345"/>
                  <a:pt x="149" y="359"/>
                </a:cubicBezTo>
                <a:cubicBezTo>
                  <a:pt x="140" y="360"/>
                  <a:pt x="131" y="361"/>
                  <a:pt x="122" y="361"/>
                </a:cubicBezTo>
                <a:cubicBezTo>
                  <a:pt x="112" y="361"/>
                  <a:pt x="102" y="360"/>
                  <a:pt x="93" y="359"/>
                </a:cubicBezTo>
                <a:cubicBezTo>
                  <a:pt x="93" y="359"/>
                  <a:pt x="93" y="359"/>
                  <a:pt x="93" y="359"/>
                </a:cubicBezTo>
                <a:cubicBezTo>
                  <a:pt x="93" y="359"/>
                  <a:pt x="93" y="359"/>
                  <a:pt x="93" y="359"/>
                </a:cubicBezTo>
                <a:cubicBezTo>
                  <a:pt x="93" y="359"/>
                  <a:pt x="93" y="359"/>
                  <a:pt x="93"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1" y="359"/>
                  <a:pt x="91" y="359"/>
                </a:cubicBezTo>
                <a:cubicBezTo>
                  <a:pt x="91" y="359"/>
                  <a:pt x="91" y="359"/>
                  <a:pt x="91" y="359"/>
                </a:cubicBezTo>
                <a:cubicBezTo>
                  <a:pt x="91" y="359"/>
                  <a:pt x="91" y="359"/>
                  <a:pt x="91" y="359"/>
                </a:cubicBezTo>
                <a:cubicBezTo>
                  <a:pt x="91" y="359"/>
                  <a:pt x="91" y="359"/>
                  <a:pt x="91" y="359"/>
                </a:cubicBezTo>
                <a:cubicBezTo>
                  <a:pt x="58" y="353"/>
                  <a:pt x="27" y="340"/>
                  <a:pt x="0" y="320"/>
                </a:cubicBezTo>
                <a:cubicBezTo>
                  <a:pt x="37" y="354"/>
                  <a:pt x="86" y="374"/>
                  <a:pt x="138" y="374"/>
                </a:cubicBezTo>
                <a:cubicBezTo>
                  <a:pt x="147" y="374"/>
                  <a:pt x="156" y="374"/>
                  <a:pt x="165" y="372"/>
                </a:cubicBezTo>
                <a:cubicBezTo>
                  <a:pt x="276" y="357"/>
                  <a:pt x="354" y="256"/>
                  <a:pt x="339" y="145"/>
                </a:cubicBezTo>
                <a:cubicBezTo>
                  <a:pt x="330" y="82"/>
                  <a:pt x="294" y="30"/>
                  <a:pt x="244" y="0"/>
                </a:cubicBezTo>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135" name="Freeform 25">
            <a:extLst>
              <a:ext uri="{FF2B5EF4-FFF2-40B4-BE49-F238E27FC236}">
                <a16:creationId xmlns:a16="http://schemas.microsoft.com/office/drawing/2014/main" id="{E45D02FA-249D-4346-849E-C5B5C1063857}"/>
              </a:ext>
            </a:extLst>
          </p:cNvPr>
          <p:cNvSpPr>
            <a:spLocks noEditPoints="1"/>
          </p:cNvSpPr>
          <p:nvPr/>
        </p:nvSpPr>
        <p:spPr bwMode="auto">
          <a:xfrm rot="19589649">
            <a:off x="3630403" y="3554765"/>
            <a:ext cx="517479" cy="575630"/>
          </a:xfrm>
          <a:custGeom>
            <a:avLst/>
            <a:gdLst>
              <a:gd name="T0" fmla="*/ 2 w 232"/>
              <a:gd name="T1" fmla="*/ 246 h 248"/>
              <a:gd name="T2" fmla="*/ 1 w 232"/>
              <a:gd name="T3" fmla="*/ 246 h 248"/>
              <a:gd name="T4" fmla="*/ 1 w 232"/>
              <a:gd name="T5" fmla="*/ 246 h 248"/>
              <a:gd name="T6" fmla="*/ 1 w 232"/>
              <a:gd name="T7" fmla="*/ 246 h 248"/>
              <a:gd name="T8" fmla="*/ 1 w 232"/>
              <a:gd name="T9" fmla="*/ 246 h 248"/>
              <a:gd name="T10" fmla="*/ 0 w 232"/>
              <a:gd name="T11" fmla="*/ 246 h 248"/>
              <a:gd name="T12" fmla="*/ 0 w 232"/>
              <a:gd name="T13" fmla="*/ 246 h 248"/>
              <a:gd name="T14" fmla="*/ 31 w 232"/>
              <a:gd name="T15" fmla="*/ 248 h 248"/>
              <a:gd name="T16" fmla="*/ 58 w 232"/>
              <a:gd name="T17" fmla="*/ 246 h 248"/>
              <a:gd name="T18" fmla="*/ 231 w 232"/>
              <a:gd name="T19" fmla="*/ 20 h 248"/>
              <a:gd name="T20" fmla="*/ 231 w 232"/>
              <a:gd name="T21" fmla="*/ 19 h 248"/>
              <a:gd name="T22" fmla="*/ 230 w 232"/>
              <a:gd name="T23" fmla="*/ 19 h 248"/>
              <a:gd name="T24" fmla="*/ 230 w 232"/>
              <a:gd name="T25" fmla="*/ 19 h 248"/>
              <a:gd name="T26" fmla="*/ 230 w 232"/>
              <a:gd name="T27" fmla="*/ 18 h 248"/>
              <a:gd name="T28" fmla="*/ 230 w 232"/>
              <a:gd name="T29" fmla="*/ 18 h 248"/>
              <a:gd name="T30" fmla="*/ 230 w 232"/>
              <a:gd name="T31" fmla="*/ 18 h 248"/>
              <a:gd name="T32" fmla="*/ 230 w 232"/>
              <a:gd name="T33" fmla="*/ 17 h 248"/>
              <a:gd name="T34" fmla="*/ 230 w 232"/>
              <a:gd name="T35" fmla="*/ 17 h 248"/>
              <a:gd name="T36" fmla="*/ 230 w 232"/>
              <a:gd name="T37" fmla="*/ 17 h 248"/>
              <a:gd name="T38" fmla="*/ 230 w 232"/>
              <a:gd name="T39" fmla="*/ 17 h 248"/>
              <a:gd name="T40" fmla="*/ 230 w 232"/>
              <a:gd name="T41" fmla="*/ 16 h 248"/>
              <a:gd name="T42" fmla="*/ 230 w 232"/>
              <a:gd name="T43" fmla="*/ 16 h 248"/>
              <a:gd name="T44" fmla="*/ 230 w 232"/>
              <a:gd name="T45" fmla="*/ 15 h 248"/>
              <a:gd name="T46" fmla="*/ 230 w 232"/>
              <a:gd name="T47" fmla="*/ 15 h 248"/>
              <a:gd name="T48" fmla="*/ 230 w 232"/>
              <a:gd name="T49" fmla="*/ 15 h 248"/>
              <a:gd name="T50" fmla="*/ 230 w 232"/>
              <a:gd name="T51" fmla="*/ 14 h 248"/>
              <a:gd name="T52" fmla="*/ 230 w 232"/>
              <a:gd name="T53" fmla="*/ 14 h 248"/>
              <a:gd name="T54" fmla="*/ 230 w 232"/>
              <a:gd name="T55" fmla="*/ 14 h 248"/>
              <a:gd name="T56" fmla="*/ 230 w 232"/>
              <a:gd name="T57" fmla="*/ 13 h 248"/>
              <a:gd name="T58" fmla="*/ 230 w 232"/>
              <a:gd name="T59" fmla="*/ 13 h 248"/>
              <a:gd name="T60" fmla="*/ 229 w 232"/>
              <a:gd name="T61" fmla="*/ 13 h 248"/>
              <a:gd name="T62" fmla="*/ 229 w 232"/>
              <a:gd name="T63" fmla="*/ 12 h 248"/>
              <a:gd name="T64" fmla="*/ 229 w 232"/>
              <a:gd name="T65" fmla="*/ 12 h 248"/>
              <a:gd name="T66" fmla="*/ 229 w 232"/>
              <a:gd name="T67" fmla="*/ 12 h 248"/>
              <a:gd name="T68" fmla="*/ 229 w 232"/>
              <a:gd name="T69" fmla="*/ 11 h 248"/>
              <a:gd name="T70" fmla="*/ 229 w 232"/>
              <a:gd name="T71" fmla="*/ 11 h 248"/>
              <a:gd name="T72" fmla="*/ 229 w 232"/>
              <a:gd name="T73" fmla="*/ 11 h 248"/>
              <a:gd name="T74" fmla="*/ 229 w 232"/>
              <a:gd name="T75" fmla="*/ 10 h 248"/>
              <a:gd name="T76" fmla="*/ 229 w 232"/>
              <a:gd name="T77" fmla="*/ 10 h 248"/>
              <a:gd name="T78" fmla="*/ 229 w 232"/>
              <a:gd name="T79" fmla="*/ 10 h 248"/>
              <a:gd name="T80" fmla="*/ 229 w 232"/>
              <a:gd name="T81" fmla="*/ 10 h 248"/>
              <a:gd name="T82" fmla="*/ 229 w 232"/>
              <a:gd name="T83" fmla="*/ 9 h 248"/>
              <a:gd name="T84" fmla="*/ 229 w 232"/>
              <a:gd name="T85" fmla="*/ 9 h 248"/>
              <a:gd name="T86" fmla="*/ 229 w 232"/>
              <a:gd name="T87" fmla="*/ 8 h 248"/>
              <a:gd name="T88" fmla="*/ 229 w 232"/>
              <a:gd name="T89" fmla="*/ 8 h 248"/>
              <a:gd name="T90" fmla="*/ 229 w 232"/>
              <a:gd name="T91" fmla="*/ 8 h 248"/>
              <a:gd name="T92" fmla="*/ 229 w 232"/>
              <a:gd name="T93" fmla="*/ 8 h 248"/>
              <a:gd name="T94" fmla="*/ 228 w 232"/>
              <a:gd name="T95" fmla="*/ 7 h 248"/>
              <a:gd name="T96" fmla="*/ 228 w 232"/>
              <a:gd name="T97" fmla="*/ 7 h 248"/>
              <a:gd name="T98" fmla="*/ 228 w 232"/>
              <a:gd name="T99" fmla="*/ 7 h 248"/>
              <a:gd name="T100" fmla="*/ 228 w 232"/>
              <a:gd name="T101" fmla="*/ 6 h 248"/>
              <a:gd name="T102" fmla="*/ 228 w 232"/>
              <a:gd name="T103" fmla="*/ 5 h 248"/>
              <a:gd name="T104" fmla="*/ 228 w 232"/>
              <a:gd name="T105" fmla="*/ 5 h 248"/>
              <a:gd name="T106" fmla="*/ 228 w 232"/>
              <a:gd name="T107" fmla="*/ 5 h 248"/>
              <a:gd name="T108" fmla="*/ 228 w 232"/>
              <a:gd name="T109" fmla="*/ 4 h 248"/>
              <a:gd name="T110" fmla="*/ 228 w 232"/>
              <a:gd name="T111" fmla="*/ 4 h 248"/>
              <a:gd name="T112" fmla="*/ 228 w 232"/>
              <a:gd name="T113" fmla="*/ 4 h 248"/>
              <a:gd name="T114" fmla="*/ 228 w 232"/>
              <a:gd name="T115" fmla="*/ 4 h 248"/>
              <a:gd name="T116" fmla="*/ 228 w 232"/>
              <a:gd name="T117" fmla="*/ 3 h 248"/>
              <a:gd name="T118" fmla="*/ 227 w 232"/>
              <a:gd name="T119" fmla="*/ 1 h 248"/>
              <a:gd name="T120" fmla="*/ 227 w 232"/>
              <a:gd name="T121" fmla="*/ 1 h 248"/>
              <a:gd name="T122" fmla="*/ 227 w 232"/>
              <a:gd name="T123" fmla="*/ 1 h 248"/>
              <a:gd name="T124" fmla="*/ 227 w 232"/>
              <a:gd name="T12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248">
                <a:moveTo>
                  <a:pt x="2" y="246"/>
                </a:moveTo>
                <a:cubicBezTo>
                  <a:pt x="2" y="246"/>
                  <a:pt x="2" y="246"/>
                  <a:pt x="2" y="246"/>
                </a:cubicBezTo>
                <a:cubicBezTo>
                  <a:pt x="2" y="246"/>
                  <a:pt x="2" y="246"/>
                  <a:pt x="2" y="246"/>
                </a:cubicBezTo>
                <a:moveTo>
                  <a:pt x="1" y="246"/>
                </a:moveTo>
                <a:cubicBezTo>
                  <a:pt x="1" y="246"/>
                  <a:pt x="1" y="246"/>
                  <a:pt x="2"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0" y="246"/>
                </a:moveTo>
                <a:cubicBezTo>
                  <a:pt x="0" y="246"/>
                  <a:pt x="0" y="246"/>
                  <a:pt x="0" y="246"/>
                </a:cubicBezTo>
                <a:cubicBezTo>
                  <a:pt x="0" y="246"/>
                  <a:pt x="0" y="246"/>
                  <a:pt x="0" y="246"/>
                </a:cubicBezTo>
                <a:moveTo>
                  <a:pt x="0" y="246"/>
                </a:moveTo>
                <a:cubicBezTo>
                  <a:pt x="0" y="246"/>
                  <a:pt x="0" y="246"/>
                  <a:pt x="0" y="246"/>
                </a:cubicBezTo>
                <a:cubicBezTo>
                  <a:pt x="0" y="246"/>
                  <a:pt x="0" y="246"/>
                  <a:pt x="0" y="246"/>
                </a:cubicBezTo>
                <a:moveTo>
                  <a:pt x="232" y="47"/>
                </a:moveTo>
                <a:cubicBezTo>
                  <a:pt x="232" y="146"/>
                  <a:pt x="159" y="232"/>
                  <a:pt x="58" y="246"/>
                </a:cubicBezTo>
                <a:cubicBezTo>
                  <a:pt x="49" y="247"/>
                  <a:pt x="40" y="248"/>
                  <a:pt x="31" y="248"/>
                </a:cubicBezTo>
                <a:cubicBezTo>
                  <a:pt x="21" y="248"/>
                  <a:pt x="11" y="247"/>
                  <a:pt x="2" y="246"/>
                </a:cubicBezTo>
                <a:cubicBezTo>
                  <a:pt x="11" y="247"/>
                  <a:pt x="21" y="248"/>
                  <a:pt x="31" y="248"/>
                </a:cubicBezTo>
                <a:cubicBezTo>
                  <a:pt x="40" y="248"/>
                  <a:pt x="49" y="247"/>
                  <a:pt x="58" y="246"/>
                </a:cubicBezTo>
                <a:cubicBezTo>
                  <a:pt x="159" y="232"/>
                  <a:pt x="232" y="146"/>
                  <a:pt x="232" y="47"/>
                </a:cubicBezTo>
                <a:moveTo>
                  <a:pt x="231" y="19"/>
                </a:moveTo>
                <a:cubicBezTo>
                  <a:pt x="231" y="20"/>
                  <a:pt x="231" y="20"/>
                  <a:pt x="231" y="20"/>
                </a:cubicBezTo>
                <a:cubicBezTo>
                  <a:pt x="231" y="20"/>
                  <a:pt x="231" y="20"/>
                  <a:pt x="231" y="19"/>
                </a:cubicBezTo>
                <a:moveTo>
                  <a:pt x="230" y="19"/>
                </a:moveTo>
                <a:cubicBezTo>
                  <a:pt x="230" y="19"/>
                  <a:pt x="231" y="19"/>
                  <a:pt x="231" y="19"/>
                </a:cubicBezTo>
                <a:cubicBezTo>
                  <a:pt x="231" y="19"/>
                  <a:pt x="230" y="19"/>
                  <a:pt x="230" y="19"/>
                </a:cubicBezTo>
                <a:moveTo>
                  <a:pt x="230" y="19"/>
                </a:moveTo>
                <a:cubicBezTo>
                  <a:pt x="230" y="19"/>
                  <a:pt x="230" y="19"/>
                  <a:pt x="230" y="19"/>
                </a:cubicBezTo>
                <a:cubicBezTo>
                  <a:pt x="230" y="19"/>
                  <a:pt x="230" y="19"/>
                  <a:pt x="230" y="19"/>
                </a:cubicBezTo>
                <a:moveTo>
                  <a:pt x="230" y="19"/>
                </a:moveTo>
                <a:cubicBezTo>
                  <a:pt x="230" y="19"/>
                  <a:pt x="230" y="19"/>
                  <a:pt x="230" y="19"/>
                </a:cubicBezTo>
                <a:cubicBezTo>
                  <a:pt x="230" y="19"/>
                  <a:pt x="230" y="19"/>
                  <a:pt x="230" y="19"/>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6"/>
                </a:moveTo>
                <a:cubicBezTo>
                  <a:pt x="230" y="16"/>
                  <a:pt x="230" y="16"/>
                  <a:pt x="230" y="17"/>
                </a:cubicBezTo>
                <a:cubicBezTo>
                  <a:pt x="230" y="16"/>
                  <a:pt x="230" y="16"/>
                  <a:pt x="230" y="16"/>
                </a:cubicBezTo>
                <a:moveTo>
                  <a:pt x="230" y="16"/>
                </a:moveTo>
                <a:cubicBezTo>
                  <a:pt x="230" y="16"/>
                  <a:pt x="230" y="16"/>
                  <a:pt x="230" y="16"/>
                </a:cubicBezTo>
                <a:cubicBezTo>
                  <a:pt x="230" y="16"/>
                  <a:pt x="230" y="16"/>
                  <a:pt x="230" y="16"/>
                </a:cubicBezTo>
                <a:moveTo>
                  <a:pt x="230" y="15"/>
                </a:moveTo>
                <a:cubicBezTo>
                  <a:pt x="230" y="15"/>
                  <a:pt x="230" y="15"/>
                  <a:pt x="230" y="16"/>
                </a:cubicBezTo>
                <a:cubicBezTo>
                  <a:pt x="230" y="15"/>
                  <a:pt x="230" y="15"/>
                  <a:pt x="230" y="15"/>
                </a:cubicBezTo>
                <a:moveTo>
                  <a:pt x="230" y="15"/>
                </a:moveTo>
                <a:cubicBezTo>
                  <a:pt x="230" y="15"/>
                  <a:pt x="230" y="15"/>
                  <a:pt x="230" y="15"/>
                </a:cubicBezTo>
                <a:cubicBezTo>
                  <a:pt x="230" y="15"/>
                  <a:pt x="230" y="15"/>
                  <a:pt x="230" y="15"/>
                </a:cubicBezTo>
                <a:moveTo>
                  <a:pt x="230" y="15"/>
                </a:moveTo>
                <a:cubicBezTo>
                  <a:pt x="230" y="15"/>
                  <a:pt x="230" y="15"/>
                  <a:pt x="230" y="15"/>
                </a:cubicBezTo>
                <a:cubicBezTo>
                  <a:pt x="230" y="15"/>
                  <a:pt x="230" y="15"/>
                  <a:pt x="230" y="15"/>
                </a:cubicBezTo>
                <a:moveTo>
                  <a:pt x="230" y="14"/>
                </a:moveTo>
                <a:cubicBezTo>
                  <a:pt x="230" y="14"/>
                  <a:pt x="230" y="15"/>
                  <a:pt x="230" y="15"/>
                </a:cubicBezTo>
                <a:cubicBezTo>
                  <a:pt x="230" y="15"/>
                  <a:pt x="230" y="14"/>
                  <a:pt x="230" y="14"/>
                </a:cubicBezTo>
                <a:moveTo>
                  <a:pt x="230" y="14"/>
                </a:moveTo>
                <a:cubicBezTo>
                  <a:pt x="230" y="14"/>
                  <a:pt x="230" y="14"/>
                  <a:pt x="230" y="14"/>
                </a:cubicBezTo>
                <a:cubicBezTo>
                  <a:pt x="230" y="14"/>
                  <a:pt x="230" y="14"/>
                  <a:pt x="230" y="14"/>
                </a:cubicBezTo>
                <a:moveTo>
                  <a:pt x="230" y="14"/>
                </a:moveTo>
                <a:cubicBezTo>
                  <a:pt x="230" y="14"/>
                  <a:pt x="230" y="14"/>
                  <a:pt x="230" y="14"/>
                </a:cubicBezTo>
                <a:cubicBezTo>
                  <a:pt x="230" y="14"/>
                  <a:pt x="230" y="14"/>
                  <a:pt x="230" y="14"/>
                </a:cubicBezTo>
                <a:moveTo>
                  <a:pt x="230" y="13"/>
                </a:moveTo>
                <a:cubicBezTo>
                  <a:pt x="230" y="14"/>
                  <a:pt x="230" y="14"/>
                  <a:pt x="230" y="14"/>
                </a:cubicBezTo>
                <a:cubicBezTo>
                  <a:pt x="230" y="14"/>
                  <a:pt x="230" y="14"/>
                  <a:pt x="230" y="13"/>
                </a:cubicBezTo>
                <a:moveTo>
                  <a:pt x="230" y="13"/>
                </a:moveTo>
                <a:cubicBezTo>
                  <a:pt x="230" y="13"/>
                  <a:pt x="230" y="13"/>
                  <a:pt x="230" y="13"/>
                </a:cubicBezTo>
                <a:cubicBezTo>
                  <a:pt x="230" y="13"/>
                  <a:pt x="230" y="13"/>
                  <a:pt x="230" y="13"/>
                </a:cubicBezTo>
                <a:moveTo>
                  <a:pt x="229" y="13"/>
                </a:moveTo>
                <a:cubicBezTo>
                  <a:pt x="230" y="13"/>
                  <a:pt x="230" y="13"/>
                  <a:pt x="230" y="13"/>
                </a:cubicBezTo>
                <a:cubicBezTo>
                  <a:pt x="230" y="13"/>
                  <a:pt x="230" y="13"/>
                  <a:pt x="229" y="13"/>
                </a:cubicBezTo>
                <a:moveTo>
                  <a:pt x="229" y="12"/>
                </a:moveTo>
                <a:cubicBezTo>
                  <a:pt x="229" y="13"/>
                  <a:pt x="229" y="13"/>
                  <a:pt x="229" y="13"/>
                </a:cubicBezTo>
                <a:cubicBezTo>
                  <a:pt x="229" y="13"/>
                  <a:pt x="229" y="13"/>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9"/>
                </a:moveTo>
                <a:cubicBezTo>
                  <a:pt x="229" y="9"/>
                  <a:pt x="229" y="10"/>
                  <a:pt x="229" y="10"/>
                </a:cubicBezTo>
                <a:cubicBezTo>
                  <a:pt x="229" y="10"/>
                  <a:pt x="229" y="9"/>
                  <a:pt x="229" y="9"/>
                </a:cubicBezTo>
                <a:moveTo>
                  <a:pt x="229" y="9"/>
                </a:moveTo>
                <a:cubicBezTo>
                  <a:pt x="229" y="9"/>
                  <a:pt x="229" y="9"/>
                  <a:pt x="229" y="9"/>
                </a:cubicBezTo>
                <a:cubicBezTo>
                  <a:pt x="229" y="9"/>
                  <a:pt x="229" y="9"/>
                  <a:pt x="229" y="9"/>
                </a:cubicBezTo>
                <a:moveTo>
                  <a:pt x="229" y="9"/>
                </a:moveTo>
                <a:cubicBezTo>
                  <a:pt x="229" y="9"/>
                  <a:pt x="229" y="9"/>
                  <a:pt x="229" y="9"/>
                </a:cubicBezTo>
                <a:cubicBezTo>
                  <a:pt x="229" y="9"/>
                  <a:pt x="229" y="9"/>
                  <a:pt x="229" y="9"/>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7"/>
                </a:moveTo>
                <a:cubicBezTo>
                  <a:pt x="229" y="7"/>
                  <a:pt x="229" y="8"/>
                  <a:pt x="229" y="8"/>
                </a:cubicBezTo>
                <a:cubicBezTo>
                  <a:pt x="229" y="8"/>
                  <a:pt x="229" y="7"/>
                  <a:pt x="229"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6"/>
                </a:moveTo>
                <a:cubicBezTo>
                  <a:pt x="228" y="6"/>
                  <a:pt x="228" y="6"/>
                  <a:pt x="228" y="6"/>
                </a:cubicBezTo>
                <a:cubicBezTo>
                  <a:pt x="228" y="6"/>
                  <a:pt x="228" y="6"/>
                  <a:pt x="228" y="6"/>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3"/>
                </a:moveTo>
                <a:cubicBezTo>
                  <a:pt x="228" y="3"/>
                  <a:pt x="228" y="3"/>
                  <a:pt x="228" y="4"/>
                </a:cubicBezTo>
                <a:cubicBezTo>
                  <a:pt x="228" y="3"/>
                  <a:pt x="228" y="3"/>
                  <a:pt x="228" y="3"/>
                </a:cubicBezTo>
                <a:moveTo>
                  <a:pt x="228" y="3"/>
                </a:moveTo>
                <a:cubicBezTo>
                  <a:pt x="228" y="3"/>
                  <a:pt x="228" y="3"/>
                  <a:pt x="228" y="3"/>
                </a:cubicBezTo>
                <a:cubicBezTo>
                  <a:pt x="228" y="3"/>
                  <a:pt x="228" y="3"/>
                  <a:pt x="228" y="3"/>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0"/>
                </a:moveTo>
                <a:cubicBezTo>
                  <a:pt x="227" y="0"/>
                  <a:pt x="227" y="0"/>
                  <a:pt x="227" y="0"/>
                </a:cubicBezTo>
                <a:cubicBezTo>
                  <a:pt x="227" y="0"/>
                  <a:pt x="227" y="0"/>
                  <a:pt x="227" y="0"/>
                </a:cubicBezTo>
              </a:path>
            </a:pathLst>
          </a:custGeom>
          <a:solidFill>
            <a:srgbClr val="D5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grpSp>
        <p:nvGrpSpPr>
          <p:cNvPr id="136" name="Group 135">
            <a:extLst>
              <a:ext uri="{FF2B5EF4-FFF2-40B4-BE49-F238E27FC236}">
                <a16:creationId xmlns:a16="http://schemas.microsoft.com/office/drawing/2014/main" id="{9EA8953D-7E43-41D0-8AE1-7460BC5E260C}"/>
              </a:ext>
            </a:extLst>
          </p:cNvPr>
          <p:cNvGrpSpPr/>
          <p:nvPr/>
        </p:nvGrpSpPr>
        <p:grpSpPr>
          <a:xfrm>
            <a:off x="3420535" y="1507950"/>
            <a:ext cx="424718" cy="405082"/>
            <a:chOff x="18769013" y="630238"/>
            <a:chExt cx="1201738" cy="1146176"/>
          </a:xfrm>
        </p:grpSpPr>
        <p:sp>
          <p:nvSpPr>
            <p:cNvPr id="137" name="Freeform 125">
              <a:extLst>
                <a:ext uri="{FF2B5EF4-FFF2-40B4-BE49-F238E27FC236}">
                  <a16:creationId xmlns:a16="http://schemas.microsoft.com/office/drawing/2014/main" id="{0D36E422-D06B-42B0-9274-A48953BF92B9}"/>
                </a:ext>
              </a:extLst>
            </p:cNvPr>
            <p:cNvSpPr>
              <a:spLocks noEditPoints="1"/>
            </p:cNvSpPr>
            <p:nvPr/>
          </p:nvSpPr>
          <p:spPr bwMode="auto">
            <a:xfrm>
              <a:off x="18769013" y="630238"/>
              <a:ext cx="1201738" cy="701675"/>
            </a:xfrm>
            <a:custGeom>
              <a:avLst/>
              <a:gdLst>
                <a:gd name="T0" fmla="*/ 328 w 1515"/>
                <a:gd name="T1" fmla="*/ 769 h 883"/>
                <a:gd name="T2" fmla="*/ 298 w 1515"/>
                <a:gd name="T3" fmla="*/ 753 h 883"/>
                <a:gd name="T4" fmla="*/ 282 w 1515"/>
                <a:gd name="T5" fmla="*/ 725 h 883"/>
                <a:gd name="T6" fmla="*/ 280 w 1515"/>
                <a:gd name="T7" fmla="*/ 171 h 883"/>
                <a:gd name="T8" fmla="*/ 291 w 1515"/>
                <a:gd name="T9" fmla="*/ 139 h 883"/>
                <a:gd name="T10" fmla="*/ 315 w 1515"/>
                <a:gd name="T11" fmla="*/ 118 h 883"/>
                <a:gd name="T12" fmla="*/ 1262 w 1515"/>
                <a:gd name="T13" fmla="*/ 113 h 883"/>
                <a:gd name="T14" fmla="*/ 1284 w 1515"/>
                <a:gd name="T15" fmla="*/ 118 h 883"/>
                <a:gd name="T16" fmla="*/ 1311 w 1515"/>
                <a:gd name="T17" fmla="*/ 139 h 883"/>
                <a:gd name="T18" fmla="*/ 1320 w 1515"/>
                <a:gd name="T19" fmla="*/ 171 h 883"/>
                <a:gd name="T20" fmla="*/ 1320 w 1515"/>
                <a:gd name="T21" fmla="*/ 725 h 883"/>
                <a:gd name="T22" fmla="*/ 1304 w 1515"/>
                <a:gd name="T23" fmla="*/ 753 h 883"/>
                <a:gd name="T24" fmla="*/ 1274 w 1515"/>
                <a:gd name="T25" fmla="*/ 769 h 883"/>
                <a:gd name="T26" fmla="*/ 1174 w 1515"/>
                <a:gd name="T27" fmla="*/ 883 h 883"/>
                <a:gd name="T28" fmla="*/ 1413 w 1515"/>
                <a:gd name="T29" fmla="*/ 883 h 883"/>
                <a:gd name="T30" fmla="*/ 1446 w 1515"/>
                <a:gd name="T31" fmla="*/ 874 h 883"/>
                <a:gd name="T32" fmla="*/ 1481 w 1515"/>
                <a:gd name="T33" fmla="*/ 850 h 883"/>
                <a:gd name="T34" fmla="*/ 1506 w 1515"/>
                <a:gd name="T35" fmla="*/ 814 h 883"/>
                <a:gd name="T36" fmla="*/ 1513 w 1515"/>
                <a:gd name="T37" fmla="*/ 783 h 883"/>
                <a:gd name="T38" fmla="*/ 1515 w 1515"/>
                <a:gd name="T39" fmla="*/ 113 h 883"/>
                <a:gd name="T40" fmla="*/ 1510 w 1515"/>
                <a:gd name="T41" fmla="*/ 79 h 883"/>
                <a:gd name="T42" fmla="*/ 1496 w 1515"/>
                <a:gd name="T43" fmla="*/ 49 h 883"/>
                <a:gd name="T44" fmla="*/ 1455 w 1515"/>
                <a:gd name="T45" fmla="*/ 14 h 883"/>
                <a:gd name="T46" fmla="*/ 1425 w 1515"/>
                <a:gd name="T47" fmla="*/ 2 h 883"/>
                <a:gd name="T48" fmla="*/ 113 w 1515"/>
                <a:gd name="T49" fmla="*/ 0 h 883"/>
                <a:gd name="T50" fmla="*/ 90 w 1515"/>
                <a:gd name="T51" fmla="*/ 2 h 883"/>
                <a:gd name="T52" fmla="*/ 58 w 1515"/>
                <a:gd name="T53" fmla="*/ 14 h 883"/>
                <a:gd name="T54" fmla="*/ 20 w 1515"/>
                <a:gd name="T55" fmla="*/ 49 h 883"/>
                <a:gd name="T56" fmla="*/ 6 w 1515"/>
                <a:gd name="T57" fmla="*/ 79 h 883"/>
                <a:gd name="T58" fmla="*/ 0 w 1515"/>
                <a:gd name="T59" fmla="*/ 113 h 883"/>
                <a:gd name="T60" fmla="*/ 0 w 1515"/>
                <a:gd name="T61" fmla="*/ 783 h 883"/>
                <a:gd name="T62" fmla="*/ 9 w 1515"/>
                <a:gd name="T63" fmla="*/ 814 h 883"/>
                <a:gd name="T64" fmla="*/ 32 w 1515"/>
                <a:gd name="T65" fmla="*/ 850 h 883"/>
                <a:gd name="T66" fmla="*/ 69 w 1515"/>
                <a:gd name="T67" fmla="*/ 874 h 883"/>
                <a:gd name="T68" fmla="*/ 101 w 1515"/>
                <a:gd name="T69" fmla="*/ 883 h 883"/>
                <a:gd name="T70" fmla="*/ 938 w 1515"/>
                <a:gd name="T71" fmla="*/ 770 h 883"/>
                <a:gd name="T72" fmla="*/ 1406 w 1515"/>
                <a:gd name="T73" fmla="*/ 346 h 883"/>
                <a:gd name="T74" fmla="*/ 1420 w 1515"/>
                <a:gd name="T75" fmla="*/ 327 h 883"/>
                <a:gd name="T76" fmla="*/ 1436 w 1515"/>
                <a:gd name="T77" fmla="*/ 327 h 883"/>
                <a:gd name="T78" fmla="*/ 1450 w 1515"/>
                <a:gd name="T79" fmla="*/ 346 h 883"/>
                <a:gd name="T80" fmla="*/ 1448 w 1515"/>
                <a:gd name="T81" fmla="*/ 545 h 883"/>
                <a:gd name="T82" fmla="*/ 1429 w 1515"/>
                <a:gd name="T83" fmla="*/ 559 h 883"/>
                <a:gd name="T84" fmla="*/ 1413 w 1515"/>
                <a:gd name="T85" fmla="*/ 552 h 883"/>
                <a:gd name="T86" fmla="*/ 1406 w 1515"/>
                <a:gd name="T87" fmla="*/ 346 h 883"/>
                <a:gd name="T88" fmla="*/ 127 w 1515"/>
                <a:gd name="T89" fmla="*/ 501 h 883"/>
                <a:gd name="T90" fmla="*/ 95 w 1515"/>
                <a:gd name="T91" fmla="*/ 484 h 883"/>
                <a:gd name="T92" fmla="*/ 80 w 1515"/>
                <a:gd name="T93" fmla="*/ 454 h 883"/>
                <a:gd name="T94" fmla="*/ 80 w 1515"/>
                <a:gd name="T95" fmla="*/ 429 h 883"/>
                <a:gd name="T96" fmla="*/ 95 w 1515"/>
                <a:gd name="T97" fmla="*/ 399 h 883"/>
                <a:gd name="T98" fmla="*/ 127 w 1515"/>
                <a:gd name="T99" fmla="*/ 383 h 883"/>
                <a:gd name="T100" fmla="*/ 152 w 1515"/>
                <a:gd name="T101" fmla="*/ 383 h 883"/>
                <a:gd name="T102" fmla="*/ 182 w 1515"/>
                <a:gd name="T103" fmla="*/ 399 h 883"/>
                <a:gd name="T104" fmla="*/ 197 w 1515"/>
                <a:gd name="T105" fmla="*/ 429 h 883"/>
                <a:gd name="T106" fmla="*/ 197 w 1515"/>
                <a:gd name="T107" fmla="*/ 454 h 883"/>
                <a:gd name="T108" fmla="*/ 182 w 1515"/>
                <a:gd name="T109" fmla="*/ 484 h 883"/>
                <a:gd name="T110" fmla="*/ 152 w 1515"/>
                <a:gd name="T111" fmla="*/ 501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15" h="883">
                  <a:moveTo>
                    <a:pt x="338" y="770"/>
                  </a:moveTo>
                  <a:lnTo>
                    <a:pt x="338" y="770"/>
                  </a:lnTo>
                  <a:lnTo>
                    <a:pt x="328" y="769"/>
                  </a:lnTo>
                  <a:lnTo>
                    <a:pt x="315" y="767"/>
                  </a:lnTo>
                  <a:lnTo>
                    <a:pt x="306" y="760"/>
                  </a:lnTo>
                  <a:lnTo>
                    <a:pt x="298" y="753"/>
                  </a:lnTo>
                  <a:lnTo>
                    <a:pt x="291" y="746"/>
                  </a:lnTo>
                  <a:lnTo>
                    <a:pt x="285" y="735"/>
                  </a:lnTo>
                  <a:lnTo>
                    <a:pt x="282" y="725"/>
                  </a:lnTo>
                  <a:lnTo>
                    <a:pt x="280" y="712"/>
                  </a:lnTo>
                  <a:lnTo>
                    <a:pt x="280" y="171"/>
                  </a:lnTo>
                  <a:lnTo>
                    <a:pt x="280" y="171"/>
                  </a:lnTo>
                  <a:lnTo>
                    <a:pt x="282" y="160"/>
                  </a:lnTo>
                  <a:lnTo>
                    <a:pt x="285" y="148"/>
                  </a:lnTo>
                  <a:lnTo>
                    <a:pt x="291" y="139"/>
                  </a:lnTo>
                  <a:lnTo>
                    <a:pt x="298" y="130"/>
                  </a:lnTo>
                  <a:lnTo>
                    <a:pt x="306" y="123"/>
                  </a:lnTo>
                  <a:lnTo>
                    <a:pt x="315" y="118"/>
                  </a:lnTo>
                  <a:lnTo>
                    <a:pt x="328" y="114"/>
                  </a:lnTo>
                  <a:lnTo>
                    <a:pt x="338" y="113"/>
                  </a:lnTo>
                  <a:lnTo>
                    <a:pt x="1262" y="113"/>
                  </a:lnTo>
                  <a:lnTo>
                    <a:pt x="1262" y="113"/>
                  </a:lnTo>
                  <a:lnTo>
                    <a:pt x="1274" y="114"/>
                  </a:lnTo>
                  <a:lnTo>
                    <a:pt x="1284" y="118"/>
                  </a:lnTo>
                  <a:lnTo>
                    <a:pt x="1295" y="123"/>
                  </a:lnTo>
                  <a:lnTo>
                    <a:pt x="1304" y="130"/>
                  </a:lnTo>
                  <a:lnTo>
                    <a:pt x="1311" y="139"/>
                  </a:lnTo>
                  <a:lnTo>
                    <a:pt x="1316" y="148"/>
                  </a:lnTo>
                  <a:lnTo>
                    <a:pt x="1320" y="160"/>
                  </a:lnTo>
                  <a:lnTo>
                    <a:pt x="1320" y="171"/>
                  </a:lnTo>
                  <a:lnTo>
                    <a:pt x="1320" y="712"/>
                  </a:lnTo>
                  <a:lnTo>
                    <a:pt x="1320" y="712"/>
                  </a:lnTo>
                  <a:lnTo>
                    <a:pt x="1320" y="725"/>
                  </a:lnTo>
                  <a:lnTo>
                    <a:pt x="1316" y="735"/>
                  </a:lnTo>
                  <a:lnTo>
                    <a:pt x="1311" y="746"/>
                  </a:lnTo>
                  <a:lnTo>
                    <a:pt x="1304" y="753"/>
                  </a:lnTo>
                  <a:lnTo>
                    <a:pt x="1295" y="760"/>
                  </a:lnTo>
                  <a:lnTo>
                    <a:pt x="1284" y="767"/>
                  </a:lnTo>
                  <a:lnTo>
                    <a:pt x="1274" y="769"/>
                  </a:lnTo>
                  <a:lnTo>
                    <a:pt x="1262" y="770"/>
                  </a:lnTo>
                  <a:lnTo>
                    <a:pt x="1167" y="770"/>
                  </a:lnTo>
                  <a:lnTo>
                    <a:pt x="1174" y="883"/>
                  </a:lnTo>
                  <a:lnTo>
                    <a:pt x="1402" y="883"/>
                  </a:lnTo>
                  <a:lnTo>
                    <a:pt x="1402" y="883"/>
                  </a:lnTo>
                  <a:lnTo>
                    <a:pt x="1413" y="883"/>
                  </a:lnTo>
                  <a:lnTo>
                    <a:pt x="1425" y="881"/>
                  </a:lnTo>
                  <a:lnTo>
                    <a:pt x="1436" y="878"/>
                  </a:lnTo>
                  <a:lnTo>
                    <a:pt x="1446" y="874"/>
                  </a:lnTo>
                  <a:lnTo>
                    <a:pt x="1455" y="869"/>
                  </a:lnTo>
                  <a:lnTo>
                    <a:pt x="1464" y="864"/>
                  </a:lnTo>
                  <a:lnTo>
                    <a:pt x="1481" y="850"/>
                  </a:lnTo>
                  <a:lnTo>
                    <a:pt x="1496" y="834"/>
                  </a:lnTo>
                  <a:lnTo>
                    <a:pt x="1501" y="825"/>
                  </a:lnTo>
                  <a:lnTo>
                    <a:pt x="1506" y="814"/>
                  </a:lnTo>
                  <a:lnTo>
                    <a:pt x="1510" y="804"/>
                  </a:lnTo>
                  <a:lnTo>
                    <a:pt x="1511" y="793"/>
                  </a:lnTo>
                  <a:lnTo>
                    <a:pt x="1513" y="783"/>
                  </a:lnTo>
                  <a:lnTo>
                    <a:pt x="1515" y="770"/>
                  </a:lnTo>
                  <a:lnTo>
                    <a:pt x="1515" y="113"/>
                  </a:lnTo>
                  <a:lnTo>
                    <a:pt x="1515" y="113"/>
                  </a:lnTo>
                  <a:lnTo>
                    <a:pt x="1513" y="102"/>
                  </a:lnTo>
                  <a:lnTo>
                    <a:pt x="1511" y="90"/>
                  </a:lnTo>
                  <a:lnTo>
                    <a:pt x="1510" y="79"/>
                  </a:lnTo>
                  <a:lnTo>
                    <a:pt x="1506" y="69"/>
                  </a:lnTo>
                  <a:lnTo>
                    <a:pt x="1501" y="60"/>
                  </a:lnTo>
                  <a:lnTo>
                    <a:pt x="1496" y="49"/>
                  </a:lnTo>
                  <a:lnTo>
                    <a:pt x="1481" y="33"/>
                  </a:lnTo>
                  <a:lnTo>
                    <a:pt x="1464" y="19"/>
                  </a:lnTo>
                  <a:lnTo>
                    <a:pt x="1455" y="14"/>
                  </a:lnTo>
                  <a:lnTo>
                    <a:pt x="1446" y="9"/>
                  </a:lnTo>
                  <a:lnTo>
                    <a:pt x="1436" y="5"/>
                  </a:lnTo>
                  <a:lnTo>
                    <a:pt x="1425" y="2"/>
                  </a:lnTo>
                  <a:lnTo>
                    <a:pt x="1413" y="0"/>
                  </a:lnTo>
                  <a:lnTo>
                    <a:pt x="1402" y="0"/>
                  </a:lnTo>
                  <a:lnTo>
                    <a:pt x="113" y="0"/>
                  </a:lnTo>
                  <a:lnTo>
                    <a:pt x="113" y="0"/>
                  </a:lnTo>
                  <a:lnTo>
                    <a:pt x="101" y="0"/>
                  </a:lnTo>
                  <a:lnTo>
                    <a:pt x="90" y="2"/>
                  </a:lnTo>
                  <a:lnTo>
                    <a:pt x="80" y="5"/>
                  </a:lnTo>
                  <a:lnTo>
                    <a:pt x="69" y="9"/>
                  </a:lnTo>
                  <a:lnTo>
                    <a:pt x="58" y="14"/>
                  </a:lnTo>
                  <a:lnTo>
                    <a:pt x="50" y="19"/>
                  </a:lnTo>
                  <a:lnTo>
                    <a:pt x="32" y="33"/>
                  </a:lnTo>
                  <a:lnTo>
                    <a:pt x="20" y="49"/>
                  </a:lnTo>
                  <a:lnTo>
                    <a:pt x="13" y="60"/>
                  </a:lnTo>
                  <a:lnTo>
                    <a:pt x="9" y="69"/>
                  </a:lnTo>
                  <a:lnTo>
                    <a:pt x="6" y="79"/>
                  </a:lnTo>
                  <a:lnTo>
                    <a:pt x="2" y="90"/>
                  </a:lnTo>
                  <a:lnTo>
                    <a:pt x="0" y="102"/>
                  </a:lnTo>
                  <a:lnTo>
                    <a:pt x="0" y="113"/>
                  </a:lnTo>
                  <a:lnTo>
                    <a:pt x="0" y="770"/>
                  </a:lnTo>
                  <a:lnTo>
                    <a:pt x="0" y="770"/>
                  </a:lnTo>
                  <a:lnTo>
                    <a:pt x="0" y="783"/>
                  </a:lnTo>
                  <a:lnTo>
                    <a:pt x="2" y="793"/>
                  </a:lnTo>
                  <a:lnTo>
                    <a:pt x="6" y="804"/>
                  </a:lnTo>
                  <a:lnTo>
                    <a:pt x="9" y="814"/>
                  </a:lnTo>
                  <a:lnTo>
                    <a:pt x="13" y="825"/>
                  </a:lnTo>
                  <a:lnTo>
                    <a:pt x="20" y="834"/>
                  </a:lnTo>
                  <a:lnTo>
                    <a:pt x="32" y="850"/>
                  </a:lnTo>
                  <a:lnTo>
                    <a:pt x="50" y="864"/>
                  </a:lnTo>
                  <a:lnTo>
                    <a:pt x="58" y="869"/>
                  </a:lnTo>
                  <a:lnTo>
                    <a:pt x="69" y="874"/>
                  </a:lnTo>
                  <a:lnTo>
                    <a:pt x="80" y="878"/>
                  </a:lnTo>
                  <a:lnTo>
                    <a:pt x="90" y="881"/>
                  </a:lnTo>
                  <a:lnTo>
                    <a:pt x="101" y="883"/>
                  </a:lnTo>
                  <a:lnTo>
                    <a:pt x="113" y="883"/>
                  </a:lnTo>
                  <a:lnTo>
                    <a:pt x="931" y="883"/>
                  </a:lnTo>
                  <a:lnTo>
                    <a:pt x="938" y="770"/>
                  </a:lnTo>
                  <a:lnTo>
                    <a:pt x="338" y="770"/>
                  </a:lnTo>
                  <a:close/>
                  <a:moveTo>
                    <a:pt x="1406" y="346"/>
                  </a:moveTo>
                  <a:lnTo>
                    <a:pt x="1406" y="346"/>
                  </a:lnTo>
                  <a:lnTo>
                    <a:pt x="1408" y="338"/>
                  </a:lnTo>
                  <a:lnTo>
                    <a:pt x="1413" y="331"/>
                  </a:lnTo>
                  <a:lnTo>
                    <a:pt x="1420" y="327"/>
                  </a:lnTo>
                  <a:lnTo>
                    <a:pt x="1429" y="325"/>
                  </a:lnTo>
                  <a:lnTo>
                    <a:pt x="1429" y="325"/>
                  </a:lnTo>
                  <a:lnTo>
                    <a:pt x="1436" y="327"/>
                  </a:lnTo>
                  <a:lnTo>
                    <a:pt x="1443" y="331"/>
                  </a:lnTo>
                  <a:lnTo>
                    <a:pt x="1448" y="338"/>
                  </a:lnTo>
                  <a:lnTo>
                    <a:pt x="1450" y="346"/>
                  </a:lnTo>
                  <a:lnTo>
                    <a:pt x="1450" y="536"/>
                  </a:lnTo>
                  <a:lnTo>
                    <a:pt x="1450" y="536"/>
                  </a:lnTo>
                  <a:lnTo>
                    <a:pt x="1448" y="545"/>
                  </a:lnTo>
                  <a:lnTo>
                    <a:pt x="1443" y="552"/>
                  </a:lnTo>
                  <a:lnTo>
                    <a:pt x="1436" y="558"/>
                  </a:lnTo>
                  <a:lnTo>
                    <a:pt x="1429" y="559"/>
                  </a:lnTo>
                  <a:lnTo>
                    <a:pt x="1429" y="559"/>
                  </a:lnTo>
                  <a:lnTo>
                    <a:pt x="1420" y="558"/>
                  </a:lnTo>
                  <a:lnTo>
                    <a:pt x="1413" y="552"/>
                  </a:lnTo>
                  <a:lnTo>
                    <a:pt x="1408" y="545"/>
                  </a:lnTo>
                  <a:lnTo>
                    <a:pt x="1406" y="536"/>
                  </a:lnTo>
                  <a:lnTo>
                    <a:pt x="1406" y="346"/>
                  </a:lnTo>
                  <a:close/>
                  <a:moveTo>
                    <a:pt x="139" y="501"/>
                  </a:moveTo>
                  <a:lnTo>
                    <a:pt x="139" y="501"/>
                  </a:lnTo>
                  <a:lnTo>
                    <a:pt x="127" y="501"/>
                  </a:lnTo>
                  <a:lnTo>
                    <a:pt x="115" y="498"/>
                  </a:lnTo>
                  <a:lnTo>
                    <a:pt x="106" y="492"/>
                  </a:lnTo>
                  <a:lnTo>
                    <a:pt x="95" y="484"/>
                  </a:lnTo>
                  <a:lnTo>
                    <a:pt x="88" y="475"/>
                  </a:lnTo>
                  <a:lnTo>
                    <a:pt x="83" y="466"/>
                  </a:lnTo>
                  <a:lnTo>
                    <a:pt x="80" y="454"/>
                  </a:lnTo>
                  <a:lnTo>
                    <a:pt x="78" y="441"/>
                  </a:lnTo>
                  <a:lnTo>
                    <a:pt x="78" y="441"/>
                  </a:lnTo>
                  <a:lnTo>
                    <a:pt x="80" y="429"/>
                  </a:lnTo>
                  <a:lnTo>
                    <a:pt x="83" y="419"/>
                  </a:lnTo>
                  <a:lnTo>
                    <a:pt x="88" y="408"/>
                  </a:lnTo>
                  <a:lnTo>
                    <a:pt x="95" y="399"/>
                  </a:lnTo>
                  <a:lnTo>
                    <a:pt x="106" y="392"/>
                  </a:lnTo>
                  <a:lnTo>
                    <a:pt x="115" y="387"/>
                  </a:lnTo>
                  <a:lnTo>
                    <a:pt x="127" y="383"/>
                  </a:lnTo>
                  <a:lnTo>
                    <a:pt x="139" y="382"/>
                  </a:lnTo>
                  <a:lnTo>
                    <a:pt x="139" y="382"/>
                  </a:lnTo>
                  <a:lnTo>
                    <a:pt x="152" y="383"/>
                  </a:lnTo>
                  <a:lnTo>
                    <a:pt x="162" y="387"/>
                  </a:lnTo>
                  <a:lnTo>
                    <a:pt x="173" y="392"/>
                  </a:lnTo>
                  <a:lnTo>
                    <a:pt x="182" y="399"/>
                  </a:lnTo>
                  <a:lnTo>
                    <a:pt x="189" y="408"/>
                  </a:lnTo>
                  <a:lnTo>
                    <a:pt x="194" y="419"/>
                  </a:lnTo>
                  <a:lnTo>
                    <a:pt x="197" y="429"/>
                  </a:lnTo>
                  <a:lnTo>
                    <a:pt x="199" y="441"/>
                  </a:lnTo>
                  <a:lnTo>
                    <a:pt x="199" y="441"/>
                  </a:lnTo>
                  <a:lnTo>
                    <a:pt x="197" y="454"/>
                  </a:lnTo>
                  <a:lnTo>
                    <a:pt x="194" y="466"/>
                  </a:lnTo>
                  <a:lnTo>
                    <a:pt x="189" y="475"/>
                  </a:lnTo>
                  <a:lnTo>
                    <a:pt x="182" y="484"/>
                  </a:lnTo>
                  <a:lnTo>
                    <a:pt x="173" y="492"/>
                  </a:lnTo>
                  <a:lnTo>
                    <a:pt x="162" y="498"/>
                  </a:lnTo>
                  <a:lnTo>
                    <a:pt x="152" y="501"/>
                  </a:lnTo>
                  <a:lnTo>
                    <a:pt x="139" y="501"/>
                  </a:lnTo>
                  <a:lnTo>
                    <a:pt x="139" y="50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126">
              <a:extLst>
                <a:ext uri="{FF2B5EF4-FFF2-40B4-BE49-F238E27FC236}">
                  <a16:creationId xmlns:a16="http://schemas.microsoft.com/office/drawing/2014/main" id="{EB1B2DE8-3383-4D27-BB8A-E218944711A8}"/>
                </a:ext>
              </a:extLst>
            </p:cNvPr>
            <p:cNvSpPr>
              <a:spLocks/>
            </p:cNvSpPr>
            <p:nvPr/>
          </p:nvSpPr>
          <p:spPr bwMode="auto">
            <a:xfrm>
              <a:off x="19332576" y="1116013"/>
              <a:ext cx="25400" cy="25400"/>
            </a:xfrm>
            <a:custGeom>
              <a:avLst/>
              <a:gdLst>
                <a:gd name="T0" fmla="*/ 16 w 34"/>
                <a:gd name="T1" fmla="*/ 0 h 34"/>
                <a:gd name="T2" fmla="*/ 16 w 34"/>
                <a:gd name="T3" fmla="*/ 0 h 34"/>
                <a:gd name="T4" fmla="*/ 11 w 34"/>
                <a:gd name="T5" fmla="*/ 2 h 34"/>
                <a:gd name="T6" fmla="*/ 6 w 34"/>
                <a:gd name="T7" fmla="*/ 6 h 34"/>
                <a:gd name="T8" fmla="*/ 2 w 34"/>
                <a:gd name="T9" fmla="*/ 11 h 34"/>
                <a:gd name="T10" fmla="*/ 0 w 34"/>
                <a:gd name="T11" fmla="*/ 16 h 34"/>
                <a:gd name="T12" fmla="*/ 0 w 34"/>
                <a:gd name="T13" fmla="*/ 16 h 34"/>
                <a:gd name="T14" fmla="*/ 2 w 34"/>
                <a:gd name="T15" fmla="*/ 23 h 34"/>
                <a:gd name="T16" fmla="*/ 6 w 34"/>
                <a:gd name="T17" fmla="*/ 28 h 34"/>
                <a:gd name="T18" fmla="*/ 11 w 34"/>
                <a:gd name="T19" fmla="*/ 32 h 34"/>
                <a:gd name="T20" fmla="*/ 16 w 34"/>
                <a:gd name="T21" fmla="*/ 34 h 34"/>
                <a:gd name="T22" fmla="*/ 16 w 34"/>
                <a:gd name="T23" fmla="*/ 34 h 34"/>
                <a:gd name="T24" fmla="*/ 23 w 34"/>
                <a:gd name="T25" fmla="*/ 32 h 34"/>
                <a:gd name="T26" fmla="*/ 28 w 34"/>
                <a:gd name="T27" fmla="*/ 28 h 34"/>
                <a:gd name="T28" fmla="*/ 32 w 34"/>
                <a:gd name="T29" fmla="*/ 23 h 34"/>
                <a:gd name="T30" fmla="*/ 34 w 34"/>
                <a:gd name="T31" fmla="*/ 16 h 34"/>
                <a:gd name="T32" fmla="*/ 34 w 34"/>
                <a:gd name="T33" fmla="*/ 16 h 34"/>
                <a:gd name="T34" fmla="*/ 32 w 34"/>
                <a:gd name="T35" fmla="*/ 11 h 34"/>
                <a:gd name="T36" fmla="*/ 28 w 34"/>
                <a:gd name="T37" fmla="*/ 6 h 34"/>
                <a:gd name="T38" fmla="*/ 23 w 34"/>
                <a:gd name="T39" fmla="*/ 2 h 34"/>
                <a:gd name="T40" fmla="*/ 16 w 34"/>
                <a:gd name="T41" fmla="*/ 0 h 34"/>
                <a:gd name="T42" fmla="*/ 16 w 34"/>
                <a:gd name="T4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16" y="0"/>
                  </a:moveTo>
                  <a:lnTo>
                    <a:pt x="16" y="0"/>
                  </a:lnTo>
                  <a:lnTo>
                    <a:pt x="11" y="2"/>
                  </a:lnTo>
                  <a:lnTo>
                    <a:pt x="6" y="6"/>
                  </a:lnTo>
                  <a:lnTo>
                    <a:pt x="2" y="11"/>
                  </a:lnTo>
                  <a:lnTo>
                    <a:pt x="0" y="16"/>
                  </a:lnTo>
                  <a:lnTo>
                    <a:pt x="0" y="16"/>
                  </a:lnTo>
                  <a:lnTo>
                    <a:pt x="2" y="23"/>
                  </a:lnTo>
                  <a:lnTo>
                    <a:pt x="6" y="28"/>
                  </a:lnTo>
                  <a:lnTo>
                    <a:pt x="11" y="32"/>
                  </a:lnTo>
                  <a:lnTo>
                    <a:pt x="16" y="34"/>
                  </a:lnTo>
                  <a:lnTo>
                    <a:pt x="16" y="34"/>
                  </a:lnTo>
                  <a:lnTo>
                    <a:pt x="23" y="32"/>
                  </a:lnTo>
                  <a:lnTo>
                    <a:pt x="28" y="28"/>
                  </a:lnTo>
                  <a:lnTo>
                    <a:pt x="32" y="23"/>
                  </a:lnTo>
                  <a:lnTo>
                    <a:pt x="34" y="16"/>
                  </a:lnTo>
                  <a:lnTo>
                    <a:pt x="34" y="16"/>
                  </a:lnTo>
                  <a:lnTo>
                    <a:pt x="32" y="11"/>
                  </a:lnTo>
                  <a:lnTo>
                    <a:pt x="28" y="6"/>
                  </a:lnTo>
                  <a:lnTo>
                    <a:pt x="23" y="2"/>
                  </a:lnTo>
                  <a:lnTo>
                    <a:pt x="16" y="0"/>
                  </a:lnTo>
                  <a:lnTo>
                    <a:pt x="16" y="0"/>
                  </a:lnTo>
                  <a:close/>
                </a:path>
              </a:pathLst>
            </a:cu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127">
              <a:extLst>
                <a:ext uri="{FF2B5EF4-FFF2-40B4-BE49-F238E27FC236}">
                  <a16:creationId xmlns:a16="http://schemas.microsoft.com/office/drawing/2014/main" id="{74920A86-0326-417F-925F-50029C17B687}"/>
                </a:ext>
              </a:extLst>
            </p:cNvPr>
            <p:cNvSpPr>
              <a:spLocks/>
            </p:cNvSpPr>
            <p:nvPr/>
          </p:nvSpPr>
          <p:spPr bwMode="auto">
            <a:xfrm>
              <a:off x="19448463" y="1116013"/>
              <a:ext cx="25400" cy="25400"/>
            </a:xfrm>
            <a:custGeom>
              <a:avLst/>
              <a:gdLst>
                <a:gd name="T0" fmla="*/ 18 w 34"/>
                <a:gd name="T1" fmla="*/ 0 h 34"/>
                <a:gd name="T2" fmla="*/ 18 w 34"/>
                <a:gd name="T3" fmla="*/ 0 h 34"/>
                <a:gd name="T4" fmla="*/ 11 w 34"/>
                <a:gd name="T5" fmla="*/ 2 h 34"/>
                <a:gd name="T6" fmla="*/ 6 w 34"/>
                <a:gd name="T7" fmla="*/ 6 h 34"/>
                <a:gd name="T8" fmla="*/ 2 w 34"/>
                <a:gd name="T9" fmla="*/ 11 h 34"/>
                <a:gd name="T10" fmla="*/ 0 w 34"/>
                <a:gd name="T11" fmla="*/ 16 h 34"/>
                <a:gd name="T12" fmla="*/ 0 w 34"/>
                <a:gd name="T13" fmla="*/ 16 h 34"/>
                <a:gd name="T14" fmla="*/ 2 w 34"/>
                <a:gd name="T15" fmla="*/ 23 h 34"/>
                <a:gd name="T16" fmla="*/ 6 w 34"/>
                <a:gd name="T17" fmla="*/ 28 h 34"/>
                <a:gd name="T18" fmla="*/ 11 w 34"/>
                <a:gd name="T19" fmla="*/ 32 h 34"/>
                <a:gd name="T20" fmla="*/ 18 w 34"/>
                <a:gd name="T21" fmla="*/ 34 h 34"/>
                <a:gd name="T22" fmla="*/ 18 w 34"/>
                <a:gd name="T23" fmla="*/ 34 h 34"/>
                <a:gd name="T24" fmla="*/ 23 w 34"/>
                <a:gd name="T25" fmla="*/ 32 h 34"/>
                <a:gd name="T26" fmla="*/ 28 w 34"/>
                <a:gd name="T27" fmla="*/ 28 h 34"/>
                <a:gd name="T28" fmla="*/ 32 w 34"/>
                <a:gd name="T29" fmla="*/ 23 h 34"/>
                <a:gd name="T30" fmla="*/ 34 w 34"/>
                <a:gd name="T31" fmla="*/ 16 h 34"/>
                <a:gd name="T32" fmla="*/ 34 w 34"/>
                <a:gd name="T33" fmla="*/ 16 h 34"/>
                <a:gd name="T34" fmla="*/ 32 w 34"/>
                <a:gd name="T35" fmla="*/ 11 h 34"/>
                <a:gd name="T36" fmla="*/ 28 w 34"/>
                <a:gd name="T37" fmla="*/ 6 h 34"/>
                <a:gd name="T38" fmla="*/ 23 w 34"/>
                <a:gd name="T39" fmla="*/ 2 h 34"/>
                <a:gd name="T40" fmla="*/ 18 w 34"/>
                <a:gd name="T41" fmla="*/ 0 h 34"/>
                <a:gd name="T42" fmla="*/ 18 w 34"/>
                <a:gd name="T4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18" y="0"/>
                  </a:moveTo>
                  <a:lnTo>
                    <a:pt x="18" y="0"/>
                  </a:lnTo>
                  <a:lnTo>
                    <a:pt x="11" y="2"/>
                  </a:lnTo>
                  <a:lnTo>
                    <a:pt x="6" y="6"/>
                  </a:lnTo>
                  <a:lnTo>
                    <a:pt x="2" y="11"/>
                  </a:lnTo>
                  <a:lnTo>
                    <a:pt x="0" y="16"/>
                  </a:lnTo>
                  <a:lnTo>
                    <a:pt x="0" y="16"/>
                  </a:lnTo>
                  <a:lnTo>
                    <a:pt x="2" y="23"/>
                  </a:lnTo>
                  <a:lnTo>
                    <a:pt x="6" y="28"/>
                  </a:lnTo>
                  <a:lnTo>
                    <a:pt x="11" y="32"/>
                  </a:lnTo>
                  <a:lnTo>
                    <a:pt x="18" y="34"/>
                  </a:lnTo>
                  <a:lnTo>
                    <a:pt x="18" y="34"/>
                  </a:lnTo>
                  <a:lnTo>
                    <a:pt x="23" y="32"/>
                  </a:lnTo>
                  <a:lnTo>
                    <a:pt x="28" y="28"/>
                  </a:lnTo>
                  <a:lnTo>
                    <a:pt x="32" y="23"/>
                  </a:lnTo>
                  <a:lnTo>
                    <a:pt x="34" y="16"/>
                  </a:lnTo>
                  <a:lnTo>
                    <a:pt x="34" y="16"/>
                  </a:lnTo>
                  <a:lnTo>
                    <a:pt x="32" y="11"/>
                  </a:lnTo>
                  <a:lnTo>
                    <a:pt x="28" y="6"/>
                  </a:lnTo>
                  <a:lnTo>
                    <a:pt x="23" y="2"/>
                  </a:lnTo>
                  <a:lnTo>
                    <a:pt x="18" y="0"/>
                  </a:lnTo>
                  <a:lnTo>
                    <a:pt x="18" y="0"/>
                  </a:lnTo>
                  <a:close/>
                </a:path>
              </a:pathLst>
            </a:custGeom>
            <a:solidFill>
              <a:srgbClr val="0054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128">
              <a:extLst>
                <a:ext uri="{FF2B5EF4-FFF2-40B4-BE49-F238E27FC236}">
                  <a16:creationId xmlns:a16="http://schemas.microsoft.com/office/drawing/2014/main" id="{D3540024-B773-414D-BE57-52F65AC973D4}"/>
                </a:ext>
              </a:extLst>
            </p:cNvPr>
            <p:cNvSpPr>
              <a:spLocks/>
            </p:cNvSpPr>
            <p:nvPr/>
          </p:nvSpPr>
          <p:spPr bwMode="auto">
            <a:xfrm>
              <a:off x="18830926" y="933451"/>
              <a:ext cx="96838" cy="95250"/>
            </a:xfrm>
            <a:custGeom>
              <a:avLst/>
              <a:gdLst>
                <a:gd name="T0" fmla="*/ 61 w 121"/>
                <a:gd name="T1" fmla="*/ 0 h 119"/>
                <a:gd name="T2" fmla="*/ 61 w 121"/>
                <a:gd name="T3" fmla="*/ 0 h 119"/>
                <a:gd name="T4" fmla="*/ 49 w 121"/>
                <a:gd name="T5" fmla="*/ 1 h 119"/>
                <a:gd name="T6" fmla="*/ 37 w 121"/>
                <a:gd name="T7" fmla="*/ 5 h 119"/>
                <a:gd name="T8" fmla="*/ 28 w 121"/>
                <a:gd name="T9" fmla="*/ 10 h 119"/>
                <a:gd name="T10" fmla="*/ 17 w 121"/>
                <a:gd name="T11" fmla="*/ 17 h 119"/>
                <a:gd name="T12" fmla="*/ 10 w 121"/>
                <a:gd name="T13" fmla="*/ 26 h 119"/>
                <a:gd name="T14" fmla="*/ 5 w 121"/>
                <a:gd name="T15" fmla="*/ 37 h 119"/>
                <a:gd name="T16" fmla="*/ 2 w 121"/>
                <a:gd name="T17" fmla="*/ 47 h 119"/>
                <a:gd name="T18" fmla="*/ 0 w 121"/>
                <a:gd name="T19" fmla="*/ 59 h 119"/>
                <a:gd name="T20" fmla="*/ 0 w 121"/>
                <a:gd name="T21" fmla="*/ 59 h 119"/>
                <a:gd name="T22" fmla="*/ 2 w 121"/>
                <a:gd name="T23" fmla="*/ 72 h 119"/>
                <a:gd name="T24" fmla="*/ 5 w 121"/>
                <a:gd name="T25" fmla="*/ 84 h 119"/>
                <a:gd name="T26" fmla="*/ 10 w 121"/>
                <a:gd name="T27" fmla="*/ 93 h 119"/>
                <a:gd name="T28" fmla="*/ 17 w 121"/>
                <a:gd name="T29" fmla="*/ 102 h 119"/>
                <a:gd name="T30" fmla="*/ 28 w 121"/>
                <a:gd name="T31" fmla="*/ 110 h 119"/>
                <a:gd name="T32" fmla="*/ 37 w 121"/>
                <a:gd name="T33" fmla="*/ 116 h 119"/>
                <a:gd name="T34" fmla="*/ 49 w 121"/>
                <a:gd name="T35" fmla="*/ 119 h 119"/>
                <a:gd name="T36" fmla="*/ 61 w 121"/>
                <a:gd name="T37" fmla="*/ 119 h 119"/>
                <a:gd name="T38" fmla="*/ 61 w 121"/>
                <a:gd name="T39" fmla="*/ 119 h 119"/>
                <a:gd name="T40" fmla="*/ 74 w 121"/>
                <a:gd name="T41" fmla="*/ 119 h 119"/>
                <a:gd name="T42" fmla="*/ 84 w 121"/>
                <a:gd name="T43" fmla="*/ 116 h 119"/>
                <a:gd name="T44" fmla="*/ 95 w 121"/>
                <a:gd name="T45" fmla="*/ 110 h 119"/>
                <a:gd name="T46" fmla="*/ 104 w 121"/>
                <a:gd name="T47" fmla="*/ 102 h 119"/>
                <a:gd name="T48" fmla="*/ 111 w 121"/>
                <a:gd name="T49" fmla="*/ 93 h 119"/>
                <a:gd name="T50" fmla="*/ 116 w 121"/>
                <a:gd name="T51" fmla="*/ 84 h 119"/>
                <a:gd name="T52" fmla="*/ 119 w 121"/>
                <a:gd name="T53" fmla="*/ 72 h 119"/>
                <a:gd name="T54" fmla="*/ 121 w 121"/>
                <a:gd name="T55" fmla="*/ 59 h 119"/>
                <a:gd name="T56" fmla="*/ 121 w 121"/>
                <a:gd name="T57" fmla="*/ 59 h 119"/>
                <a:gd name="T58" fmla="*/ 119 w 121"/>
                <a:gd name="T59" fmla="*/ 47 h 119"/>
                <a:gd name="T60" fmla="*/ 116 w 121"/>
                <a:gd name="T61" fmla="*/ 37 h 119"/>
                <a:gd name="T62" fmla="*/ 111 w 121"/>
                <a:gd name="T63" fmla="*/ 26 h 119"/>
                <a:gd name="T64" fmla="*/ 104 w 121"/>
                <a:gd name="T65" fmla="*/ 17 h 119"/>
                <a:gd name="T66" fmla="*/ 95 w 121"/>
                <a:gd name="T67" fmla="*/ 10 h 119"/>
                <a:gd name="T68" fmla="*/ 84 w 121"/>
                <a:gd name="T69" fmla="*/ 5 h 119"/>
                <a:gd name="T70" fmla="*/ 74 w 121"/>
                <a:gd name="T71" fmla="*/ 1 h 119"/>
                <a:gd name="T72" fmla="*/ 61 w 121"/>
                <a:gd name="T73" fmla="*/ 0 h 119"/>
                <a:gd name="T74" fmla="*/ 61 w 121"/>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1" h="119">
                  <a:moveTo>
                    <a:pt x="61" y="0"/>
                  </a:moveTo>
                  <a:lnTo>
                    <a:pt x="61" y="0"/>
                  </a:lnTo>
                  <a:lnTo>
                    <a:pt x="49" y="1"/>
                  </a:lnTo>
                  <a:lnTo>
                    <a:pt x="37" y="5"/>
                  </a:lnTo>
                  <a:lnTo>
                    <a:pt x="28" y="10"/>
                  </a:lnTo>
                  <a:lnTo>
                    <a:pt x="17" y="17"/>
                  </a:lnTo>
                  <a:lnTo>
                    <a:pt x="10" y="26"/>
                  </a:lnTo>
                  <a:lnTo>
                    <a:pt x="5" y="37"/>
                  </a:lnTo>
                  <a:lnTo>
                    <a:pt x="2" y="47"/>
                  </a:lnTo>
                  <a:lnTo>
                    <a:pt x="0" y="59"/>
                  </a:lnTo>
                  <a:lnTo>
                    <a:pt x="0" y="59"/>
                  </a:lnTo>
                  <a:lnTo>
                    <a:pt x="2" y="72"/>
                  </a:lnTo>
                  <a:lnTo>
                    <a:pt x="5" y="84"/>
                  </a:lnTo>
                  <a:lnTo>
                    <a:pt x="10" y="93"/>
                  </a:lnTo>
                  <a:lnTo>
                    <a:pt x="17" y="102"/>
                  </a:lnTo>
                  <a:lnTo>
                    <a:pt x="28" y="110"/>
                  </a:lnTo>
                  <a:lnTo>
                    <a:pt x="37" y="116"/>
                  </a:lnTo>
                  <a:lnTo>
                    <a:pt x="49" y="119"/>
                  </a:lnTo>
                  <a:lnTo>
                    <a:pt x="61" y="119"/>
                  </a:lnTo>
                  <a:lnTo>
                    <a:pt x="61" y="119"/>
                  </a:lnTo>
                  <a:lnTo>
                    <a:pt x="74" y="119"/>
                  </a:lnTo>
                  <a:lnTo>
                    <a:pt x="84" y="116"/>
                  </a:lnTo>
                  <a:lnTo>
                    <a:pt x="95" y="110"/>
                  </a:lnTo>
                  <a:lnTo>
                    <a:pt x="104" y="102"/>
                  </a:lnTo>
                  <a:lnTo>
                    <a:pt x="111" y="93"/>
                  </a:lnTo>
                  <a:lnTo>
                    <a:pt x="116" y="84"/>
                  </a:lnTo>
                  <a:lnTo>
                    <a:pt x="119" y="72"/>
                  </a:lnTo>
                  <a:lnTo>
                    <a:pt x="121" y="59"/>
                  </a:lnTo>
                  <a:lnTo>
                    <a:pt x="121" y="59"/>
                  </a:lnTo>
                  <a:lnTo>
                    <a:pt x="119" y="47"/>
                  </a:lnTo>
                  <a:lnTo>
                    <a:pt x="116" y="37"/>
                  </a:lnTo>
                  <a:lnTo>
                    <a:pt x="111" y="26"/>
                  </a:lnTo>
                  <a:lnTo>
                    <a:pt x="104" y="17"/>
                  </a:lnTo>
                  <a:lnTo>
                    <a:pt x="95" y="10"/>
                  </a:lnTo>
                  <a:lnTo>
                    <a:pt x="84" y="5"/>
                  </a:lnTo>
                  <a:lnTo>
                    <a:pt x="74" y="1"/>
                  </a:lnTo>
                  <a:lnTo>
                    <a:pt x="61" y="0"/>
                  </a:lnTo>
                  <a:lnTo>
                    <a:pt x="61" y="0"/>
                  </a:lnTo>
                  <a:close/>
                </a:path>
              </a:pathLst>
            </a:custGeom>
            <a:solidFill>
              <a:schemeClr val="bg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29">
              <a:extLst>
                <a:ext uri="{FF2B5EF4-FFF2-40B4-BE49-F238E27FC236}">
                  <a16:creationId xmlns:a16="http://schemas.microsoft.com/office/drawing/2014/main" id="{656ED7B2-E69B-415B-AA80-DFBFBB016B63}"/>
                </a:ext>
              </a:extLst>
            </p:cNvPr>
            <p:cNvSpPr>
              <a:spLocks/>
            </p:cNvSpPr>
            <p:nvPr/>
          </p:nvSpPr>
          <p:spPr bwMode="auto">
            <a:xfrm>
              <a:off x="19885026" y="889001"/>
              <a:ext cx="34925" cy="185738"/>
            </a:xfrm>
            <a:custGeom>
              <a:avLst/>
              <a:gdLst>
                <a:gd name="T0" fmla="*/ 23 w 44"/>
                <a:gd name="T1" fmla="*/ 234 h 234"/>
                <a:gd name="T2" fmla="*/ 23 w 44"/>
                <a:gd name="T3" fmla="*/ 234 h 234"/>
                <a:gd name="T4" fmla="*/ 30 w 44"/>
                <a:gd name="T5" fmla="*/ 233 h 234"/>
                <a:gd name="T6" fmla="*/ 37 w 44"/>
                <a:gd name="T7" fmla="*/ 227 h 234"/>
                <a:gd name="T8" fmla="*/ 42 w 44"/>
                <a:gd name="T9" fmla="*/ 220 h 234"/>
                <a:gd name="T10" fmla="*/ 44 w 44"/>
                <a:gd name="T11" fmla="*/ 211 h 234"/>
                <a:gd name="T12" fmla="*/ 44 w 44"/>
                <a:gd name="T13" fmla="*/ 21 h 234"/>
                <a:gd name="T14" fmla="*/ 44 w 44"/>
                <a:gd name="T15" fmla="*/ 21 h 234"/>
                <a:gd name="T16" fmla="*/ 42 w 44"/>
                <a:gd name="T17" fmla="*/ 13 h 234"/>
                <a:gd name="T18" fmla="*/ 37 w 44"/>
                <a:gd name="T19" fmla="*/ 6 h 234"/>
                <a:gd name="T20" fmla="*/ 30 w 44"/>
                <a:gd name="T21" fmla="*/ 2 h 234"/>
                <a:gd name="T22" fmla="*/ 23 w 44"/>
                <a:gd name="T23" fmla="*/ 0 h 234"/>
                <a:gd name="T24" fmla="*/ 23 w 44"/>
                <a:gd name="T25" fmla="*/ 0 h 234"/>
                <a:gd name="T26" fmla="*/ 14 w 44"/>
                <a:gd name="T27" fmla="*/ 2 h 234"/>
                <a:gd name="T28" fmla="*/ 7 w 44"/>
                <a:gd name="T29" fmla="*/ 6 h 234"/>
                <a:gd name="T30" fmla="*/ 2 w 44"/>
                <a:gd name="T31" fmla="*/ 13 h 234"/>
                <a:gd name="T32" fmla="*/ 0 w 44"/>
                <a:gd name="T33" fmla="*/ 21 h 234"/>
                <a:gd name="T34" fmla="*/ 0 w 44"/>
                <a:gd name="T35" fmla="*/ 211 h 234"/>
                <a:gd name="T36" fmla="*/ 0 w 44"/>
                <a:gd name="T37" fmla="*/ 211 h 234"/>
                <a:gd name="T38" fmla="*/ 2 w 44"/>
                <a:gd name="T39" fmla="*/ 220 h 234"/>
                <a:gd name="T40" fmla="*/ 7 w 44"/>
                <a:gd name="T41" fmla="*/ 227 h 234"/>
                <a:gd name="T42" fmla="*/ 14 w 44"/>
                <a:gd name="T43" fmla="*/ 233 h 234"/>
                <a:gd name="T44" fmla="*/ 23 w 44"/>
                <a:gd name="T45" fmla="*/ 234 h 234"/>
                <a:gd name="T46" fmla="*/ 23 w 44"/>
                <a:gd name="T4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234">
                  <a:moveTo>
                    <a:pt x="23" y="234"/>
                  </a:moveTo>
                  <a:lnTo>
                    <a:pt x="23" y="234"/>
                  </a:lnTo>
                  <a:lnTo>
                    <a:pt x="30" y="233"/>
                  </a:lnTo>
                  <a:lnTo>
                    <a:pt x="37" y="227"/>
                  </a:lnTo>
                  <a:lnTo>
                    <a:pt x="42" y="220"/>
                  </a:lnTo>
                  <a:lnTo>
                    <a:pt x="44" y="211"/>
                  </a:lnTo>
                  <a:lnTo>
                    <a:pt x="44" y="21"/>
                  </a:lnTo>
                  <a:lnTo>
                    <a:pt x="44" y="21"/>
                  </a:lnTo>
                  <a:lnTo>
                    <a:pt x="42" y="13"/>
                  </a:lnTo>
                  <a:lnTo>
                    <a:pt x="37" y="6"/>
                  </a:lnTo>
                  <a:lnTo>
                    <a:pt x="30" y="2"/>
                  </a:lnTo>
                  <a:lnTo>
                    <a:pt x="23" y="0"/>
                  </a:lnTo>
                  <a:lnTo>
                    <a:pt x="23" y="0"/>
                  </a:lnTo>
                  <a:lnTo>
                    <a:pt x="14" y="2"/>
                  </a:lnTo>
                  <a:lnTo>
                    <a:pt x="7" y="6"/>
                  </a:lnTo>
                  <a:lnTo>
                    <a:pt x="2" y="13"/>
                  </a:lnTo>
                  <a:lnTo>
                    <a:pt x="0" y="21"/>
                  </a:lnTo>
                  <a:lnTo>
                    <a:pt x="0" y="211"/>
                  </a:lnTo>
                  <a:lnTo>
                    <a:pt x="0" y="211"/>
                  </a:lnTo>
                  <a:lnTo>
                    <a:pt x="2" y="220"/>
                  </a:lnTo>
                  <a:lnTo>
                    <a:pt x="7" y="227"/>
                  </a:lnTo>
                  <a:lnTo>
                    <a:pt x="14" y="233"/>
                  </a:lnTo>
                  <a:lnTo>
                    <a:pt x="23" y="234"/>
                  </a:lnTo>
                  <a:lnTo>
                    <a:pt x="23" y="234"/>
                  </a:lnTo>
                  <a:close/>
                </a:path>
              </a:pathLst>
            </a:custGeom>
            <a:solidFill>
              <a:schemeClr val="bg1">
                <a:lumMod val="95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30">
              <a:extLst>
                <a:ext uri="{FF2B5EF4-FFF2-40B4-BE49-F238E27FC236}">
                  <a16:creationId xmlns:a16="http://schemas.microsoft.com/office/drawing/2014/main" id="{166EC8A4-4085-4A25-9596-B90CB253B1CB}"/>
                </a:ext>
              </a:extLst>
            </p:cNvPr>
            <p:cNvSpPr>
              <a:spLocks/>
            </p:cNvSpPr>
            <p:nvPr/>
          </p:nvSpPr>
          <p:spPr bwMode="auto">
            <a:xfrm>
              <a:off x="19369088" y="1104901"/>
              <a:ext cx="561975" cy="671513"/>
            </a:xfrm>
            <a:custGeom>
              <a:avLst/>
              <a:gdLst>
                <a:gd name="T0" fmla="*/ 369 w 707"/>
                <a:gd name="T1" fmla="*/ 394 h 844"/>
                <a:gd name="T2" fmla="*/ 352 w 707"/>
                <a:gd name="T3" fmla="*/ 55 h 844"/>
                <a:gd name="T4" fmla="*/ 345 w 707"/>
                <a:gd name="T5" fmla="*/ 28 h 844"/>
                <a:gd name="T6" fmla="*/ 325 w 707"/>
                <a:gd name="T7" fmla="*/ 9 h 844"/>
                <a:gd name="T8" fmla="*/ 311 w 707"/>
                <a:gd name="T9" fmla="*/ 2 h 844"/>
                <a:gd name="T10" fmla="*/ 295 w 707"/>
                <a:gd name="T11" fmla="*/ 0 h 844"/>
                <a:gd name="T12" fmla="*/ 295 w 707"/>
                <a:gd name="T13" fmla="*/ 0 h 844"/>
                <a:gd name="T14" fmla="*/ 274 w 707"/>
                <a:gd name="T15" fmla="*/ 5 h 844"/>
                <a:gd name="T16" fmla="*/ 258 w 707"/>
                <a:gd name="T17" fmla="*/ 16 h 844"/>
                <a:gd name="T18" fmla="*/ 246 w 707"/>
                <a:gd name="T19" fmla="*/ 32 h 844"/>
                <a:gd name="T20" fmla="*/ 241 w 707"/>
                <a:gd name="T21" fmla="*/ 53 h 844"/>
                <a:gd name="T22" fmla="*/ 84 w 707"/>
                <a:gd name="T23" fmla="*/ 412 h 844"/>
                <a:gd name="T24" fmla="*/ 72 w 707"/>
                <a:gd name="T25" fmla="*/ 406 h 844"/>
                <a:gd name="T26" fmla="*/ 60 w 707"/>
                <a:gd name="T27" fmla="*/ 406 h 844"/>
                <a:gd name="T28" fmla="*/ 60 w 707"/>
                <a:gd name="T29" fmla="*/ 406 h 844"/>
                <a:gd name="T30" fmla="*/ 38 w 707"/>
                <a:gd name="T31" fmla="*/ 410 h 844"/>
                <a:gd name="T32" fmla="*/ 21 w 707"/>
                <a:gd name="T33" fmla="*/ 420 h 844"/>
                <a:gd name="T34" fmla="*/ 12 w 707"/>
                <a:gd name="T35" fmla="*/ 429 h 844"/>
                <a:gd name="T36" fmla="*/ 2 w 707"/>
                <a:gd name="T37" fmla="*/ 449 h 844"/>
                <a:gd name="T38" fmla="*/ 0 w 707"/>
                <a:gd name="T39" fmla="*/ 471 h 844"/>
                <a:gd name="T40" fmla="*/ 7 w 707"/>
                <a:gd name="T41" fmla="*/ 493 h 844"/>
                <a:gd name="T42" fmla="*/ 251 w 707"/>
                <a:gd name="T43" fmla="*/ 777 h 844"/>
                <a:gd name="T44" fmla="*/ 679 w 707"/>
                <a:gd name="T45" fmla="*/ 844 h 844"/>
                <a:gd name="T46" fmla="*/ 707 w 707"/>
                <a:gd name="T47" fmla="*/ 512 h 844"/>
                <a:gd name="T48" fmla="*/ 707 w 707"/>
                <a:gd name="T49" fmla="*/ 489 h 844"/>
                <a:gd name="T50" fmla="*/ 702 w 707"/>
                <a:gd name="T51" fmla="*/ 468 h 844"/>
                <a:gd name="T52" fmla="*/ 693 w 707"/>
                <a:gd name="T53" fmla="*/ 447 h 844"/>
                <a:gd name="T54" fmla="*/ 679 w 707"/>
                <a:gd name="T55" fmla="*/ 429 h 844"/>
                <a:gd name="T56" fmla="*/ 670 w 707"/>
                <a:gd name="T57" fmla="*/ 422 h 844"/>
                <a:gd name="T58" fmla="*/ 652 w 707"/>
                <a:gd name="T59" fmla="*/ 408 h 844"/>
                <a:gd name="T60" fmla="*/ 633 w 707"/>
                <a:gd name="T61" fmla="*/ 399 h 844"/>
                <a:gd name="T62" fmla="*/ 610 w 707"/>
                <a:gd name="T63" fmla="*/ 396 h 844"/>
                <a:gd name="T64" fmla="*/ 600 w 707"/>
                <a:gd name="T65" fmla="*/ 394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7" h="844">
                  <a:moveTo>
                    <a:pt x="600" y="394"/>
                  </a:moveTo>
                  <a:lnTo>
                    <a:pt x="369" y="394"/>
                  </a:lnTo>
                  <a:lnTo>
                    <a:pt x="352" y="55"/>
                  </a:lnTo>
                  <a:lnTo>
                    <a:pt x="352" y="55"/>
                  </a:lnTo>
                  <a:lnTo>
                    <a:pt x="350" y="40"/>
                  </a:lnTo>
                  <a:lnTo>
                    <a:pt x="345" y="28"/>
                  </a:lnTo>
                  <a:lnTo>
                    <a:pt x="336" y="18"/>
                  </a:lnTo>
                  <a:lnTo>
                    <a:pt x="325" y="9"/>
                  </a:lnTo>
                  <a:lnTo>
                    <a:pt x="325" y="9"/>
                  </a:lnTo>
                  <a:lnTo>
                    <a:pt x="311" y="2"/>
                  </a:lnTo>
                  <a:lnTo>
                    <a:pt x="295" y="0"/>
                  </a:lnTo>
                  <a:lnTo>
                    <a:pt x="295" y="0"/>
                  </a:lnTo>
                  <a:lnTo>
                    <a:pt x="295" y="0"/>
                  </a:lnTo>
                  <a:lnTo>
                    <a:pt x="295" y="0"/>
                  </a:lnTo>
                  <a:lnTo>
                    <a:pt x="285" y="2"/>
                  </a:lnTo>
                  <a:lnTo>
                    <a:pt x="274" y="5"/>
                  </a:lnTo>
                  <a:lnTo>
                    <a:pt x="265" y="9"/>
                  </a:lnTo>
                  <a:lnTo>
                    <a:pt x="258" y="16"/>
                  </a:lnTo>
                  <a:lnTo>
                    <a:pt x="251" y="23"/>
                  </a:lnTo>
                  <a:lnTo>
                    <a:pt x="246" y="32"/>
                  </a:lnTo>
                  <a:lnTo>
                    <a:pt x="243" y="42"/>
                  </a:lnTo>
                  <a:lnTo>
                    <a:pt x="241" y="53"/>
                  </a:lnTo>
                  <a:lnTo>
                    <a:pt x="214" y="475"/>
                  </a:lnTo>
                  <a:lnTo>
                    <a:pt x="84" y="412"/>
                  </a:lnTo>
                  <a:lnTo>
                    <a:pt x="84" y="412"/>
                  </a:lnTo>
                  <a:lnTo>
                    <a:pt x="72" y="406"/>
                  </a:lnTo>
                  <a:lnTo>
                    <a:pt x="60" y="406"/>
                  </a:lnTo>
                  <a:lnTo>
                    <a:pt x="60" y="406"/>
                  </a:lnTo>
                  <a:lnTo>
                    <a:pt x="60" y="406"/>
                  </a:lnTo>
                  <a:lnTo>
                    <a:pt x="60" y="406"/>
                  </a:lnTo>
                  <a:lnTo>
                    <a:pt x="49" y="406"/>
                  </a:lnTo>
                  <a:lnTo>
                    <a:pt x="38" y="410"/>
                  </a:lnTo>
                  <a:lnTo>
                    <a:pt x="30" y="413"/>
                  </a:lnTo>
                  <a:lnTo>
                    <a:pt x="21" y="420"/>
                  </a:lnTo>
                  <a:lnTo>
                    <a:pt x="21" y="420"/>
                  </a:lnTo>
                  <a:lnTo>
                    <a:pt x="12" y="429"/>
                  </a:lnTo>
                  <a:lnTo>
                    <a:pt x="7" y="438"/>
                  </a:lnTo>
                  <a:lnTo>
                    <a:pt x="2" y="449"/>
                  </a:lnTo>
                  <a:lnTo>
                    <a:pt x="0" y="461"/>
                  </a:lnTo>
                  <a:lnTo>
                    <a:pt x="0" y="471"/>
                  </a:lnTo>
                  <a:lnTo>
                    <a:pt x="3" y="482"/>
                  </a:lnTo>
                  <a:lnTo>
                    <a:pt x="7" y="493"/>
                  </a:lnTo>
                  <a:lnTo>
                    <a:pt x="14" y="503"/>
                  </a:lnTo>
                  <a:lnTo>
                    <a:pt x="251" y="777"/>
                  </a:lnTo>
                  <a:lnTo>
                    <a:pt x="257" y="844"/>
                  </a:lnTo>
                  <a:lnTo>
                    <a:pt x="679" y="844"/>
                  </a:lnTo>
                  <a:lnTo>
                    <a:pt x="707" y="512"/>
                  </a:lnTo>
                  <a:lnTo>
                    <a:pt x="707" y="512"/>
                  </a:lnTo>
                  <a:lnTo>
                    <a:pt x="707" y="500"/>
                  </a:lnTo>
                  <a:lnTo>
                    <a:pt x="707" y="489"/>
                  </a:lnTo>
                  <a:lnTo>
                    <a:pt x="705" y="478"/>
                  </a:lnTo>
                  <a:lnTo>
                    <a:pt x="702" y="468"/>
                  </a:lnTo>
                  <a:lnTo>
                    <a:pt x="696" y="457"/>
                  </a:lnTo>
                  <a:lnTo>
                    <a:pt x="693" y="447"/>
                  </a:lnTo>
                  <a:lnTo>
                    <a:pt x="686" y="438"/>
                  </a:lnTo>
                  <a:lnTo>
                    <a:pt x="679" y="429"/>
                  </a:lnTo>
                  <a:lnTo>
                    <a:pt x="679" y="429"/>
                  </a:lnTo>
                  <a:lnTo>
                    <a:pt x="670" y="422"/>
                  </a:lnTo>
                  <a:lnTo>
                    <a:pt x="661" y="415"/>
                  </a:lnTo>
                  <a:lnTo>
                    <a:pt x="652" y="408"/>
                  </a:lnTo>
                  <a:lnTo>
                    <a:pt x="642" y="405"/>
                  </a:lnTo>
                  <a:lnTo>
                    <a:pt x="633" y="399"/>
                  </a:lnTo>
                  <a:lnTo>
                    <a:pt x="621" y="398"/>
                  </a:lnTo>
                  <a:lnTo>
                    <a:pt x="610" y="396"/>
                  </a:lnTo>
                  <a:lnTo>
                    <a:pt x="600" y="394"/>
                  </a:lnTo>
                  <a:lnTo>
                    <a:pt x="600" y="3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131">
              <a:extLst>
                <a:ext uri="{FF2B5EF4-FFF2-40B4-BE49-F238E27FC236}">
                  <a16:creationId xmlns:a16="http://schemas.microsoft.com/office/drawing/2014/main" id="{AE2669AD-29F7-41EB-9076-3B64B88110E1}"/>
                </a:ext>
              </a:extLst>
            </p:cNvPr>
            <p:cNvSpPr>
              <a:spLocks/>
            </p:cNvSpPr>
            <p:nvPr/>
          </p:nvSpPr>
          <p:spPr bwMode="auto">
            <a:xfrm>
              <a:off x="19208751" y="781051"/>
              <a:ext cx="471488" cy="287338"/>
            </a:xfrm>
            <a:custGeom>
              <a:avLst/>
              <a:gdLst>
                <a:gd name="T0" fmla="*/ 437 w 593"/>
                <a:gd name="T1" fmla="*/ 0 h 361"/>
                <a:gd name="T2" fmla="*/ 426 w 593"/>
                <a:gd name="T3" fmla="*/ 2 h 361"/>
                <a:gd name="T4" fmla="*/ 409 w 593"/>
                <a:gd name="T5" fmla="*/ 14 h 361"/>
                <a:gd name="T6" fmla="*/ 389 w 593"/>
                <a:gd name="T7" fmla="*/ 91 h 361"/>
                <a:gd name="T8" fmla="*/ 34 w 593"/>
                <a:gd name="T9" fmla="*/ 91 h 361"/>
                <a:gd name="T10" fmla="*/ 20 w 593"/>
                <a:gd name="T11" fmla="*/ 95 h 361"/>
                <a:gd name="T12" fmla="*/ 11 w 593"/>
                <a:gd name="T13" fmla="*/ 102 h 361"/>
                <a:gd name="T14" fmla="*/ 4 w 593"/>
                <a:gd name="T15" fmla="*/ 111 h 361"/>
                <a:gd name="T16" fmla="*/ 0 w 593"/>
                <a:gd name="T17" fmla="*/ 125 h 361"/>
                <a:gd name="T18" fmla="*/ 2 w 593"/>
                <a:gd name="T19" fmla="*/ 130 h 361"/>
                <a:gd name="T20" fmla="*/ 6 w 593"/>
                <a:gd name="T21" fmla="*/ 142 h 361"/>
                <a:gd name="T22" fmla="*/ 15 w 593"/>
                <a:gd name="T23" fmla="*/ 151 h 361"/>
                <a:gd name="T24" fmla="*/ 27 w 593"/>
                <a:gd name="T25" fmla="*/ 156 h 361"/>
                <a:gd name="T26" fmla="*/ 373 w 593"/>
                <a:gd name="T27" fmla="*/ 156 h 361"/>
                <a:gd name="T28" fmla="*/ 74 w 593"/>
                <a:gd name="T29" fmla="*/ 192 h 361"/>
                <a:gd name="T30" fmla="*/ 67 w 593"/>
                <a:gd name="T31" fmla="*/ 193 h 361"/>
                <a:gd name="T32" fmla="*/ 57 w 593"/>
                <a:gd name="T33" fmla="*/ 197 h 361"/>
                <a:gd name="T34" fmla="*/ 48 w 593"/>
                <a:gd name="T35" fmla="*/ 206 h 361"/>
                <a:gd name="T36" fmla="*/ 43 w 593"/>
                <a:gd name="T37" fmla="*/ 218 h 361"/>
                <a:gd name="T38" fmla="*/ 41 w 593"/>
                <a:gd name="T39" fmla="*/ 225 h 361"/>
                <a:gd name="T40" fmla="*/ 44 w 593"/>
                <a:gd name="T41" fmla="*/ 237 h 361"/>
                <a:gd name="T42" fmla="*/ 51 w 593"/>
                <a:gd name="T43" fmla="*/ 248 h 361"/>
                <a:gd name="T44" fmla="*/ 62 w 593"/>
                <a:gd name="T45" fmla="*/ 255 h 361"/>
                <a:gd name="T46" fmla="*/ 74 w 593"/>
                <a:gd name="T47" fmla="*/ 257 h 361"/>
                <a:gd name="T48" fmla="*/ 340 w 593"/>
                <a:gd name="T49" fmla="*/ 295 h 361"/>
                <a:gd name="T50" fmla="*/ 120 w 593"/>
                <a:gd name="T51" fmla="*/ 295 h 361"/>
                <a:gd name="T52" fmla="*/ 108 w 593"/>
                <a:gd name="T53" fmla="*/ 299 h 361"/>
                <a:gd name="T54" fmla="*/ 97 w 593"/>
                <a:gd name="T55" fmla="*/ 306 h 361"/>
                <a:gd name="T56" fmla="*/ 90 w 593"/>
                <a:gd name="T57" fmla="*/ 317 h 361"/>
                <a:gd name="T58" fmla="*/ 88 w 593"/>
                <a:gd name="T59" fmla="*/ 329 h 361"/>
                <a:gd name="T60" fmla="*/ 88 w 593"/>
                <a:gd name="T61" fmla="*/ 334 h 361"/>
                <a:gd name="T62" fmla="*/ 94 w 593"/>
                <a:gd name="T63" fmla="*/ 346 h 361"/>
                <a:gd name="T64" fmla="*/ 103 w 593"/>
                <a:gd name="T65" fmla="*/ 355 h 361"/>
                <a:gd name="T66" fmla="*/ 115 w 593"/>
                <a:gd name="T67" fmla="*/ 361 h 361"/>
                <a:gd name="T68" fmla="*/ 366 w 593"/>
                <a:gd name="T69" fmla="*/ 361 h 361"/>
                <a:gd name="T70" fmla="*/ 377 w 593"/>
                <a:gd name="T71" fmla="*/ 359 h 361"/>
                <a:gd name="T72" fmla="*/ 393 w 593"/>
                <a:gd name="T73" fmla="*/ 346 h 361"/>
                <a:gd name="T74" fmla="*/ 461 w 593"/>
                <a:gd name="T75" fmla="*/ 63 h 361"/>
                <a:gd name="T76" fmla="*/ 560 w 593"/>
                <a:gd name="T77" fmla="*/ 63 h 361"/>
                <a:gd name="T78" fmla="*/ 572 w 593"/>
                <a:gd name="T79" fmla="*/ 61 h 361"/>
                <a:gd name="T80" fmla="*/ 583 w 593"/>
                <a:gd name="T81" fmla="*/ 54 h 361"/>
                <a:gd name="T82" fmla="*/ 590 w 593"/>
                <a:gd name="T83" fmla="*/ 44 h 361"/>
                <a:gd name="T84" fmla="*/ 593 w 593"/>
                <a:gd name="T85" fmla="*/ 32 h 361"/>
                <a:gd name="T86" fmla="*/ 592 w 593"/>
                <a:gd name="T87" fmla="*/ 25 h 361"/>
                <a:gd name="T88" fmla="*/ 588 w 593"/>
                <a:gd name="T89" fmla="*/ 14 h 361"/>
                <a:gd name="T90" fmla="*/ 579 w 593"/>
                <a:gd name="T91" fmla="*/ 5 h 361"/>
                <a:gd name="T92" fmla="*/ 567 w 593"/>
                <a:gd name="T93" fmla="*/ 0 h 361"/>
                <a:gd name="T94" fmla="*/ 560 w 593"/>
                <a:gd name="T95"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3" h="361">
                  <a:moveTo>
                    <a:pt x="560" y="0"/>
                  </a:moveTo>
                  <a:lnTo>
                    <a:pt x="437" y="0"/>
                  </a:lnTo>
                  <a:lnTo>
                    <a:pt x="437" y="0"/>
                  </a:lnTo>
                  <a:lnTo>
                    <a:pt x="426" y="2"/>
                  </a:lnTo>
                  <a:lnTo>
                    <a:pt x="416" y="7"/>
                  </a:lnTo>
                  <a:lnTo>
                    <a:pt x="409" y="14"/>
                  </a:lnTo>
                  <a:lnTo>
                    <a:pt x="405" y="25"/>
                  </a:lnTo>
                  <a:lnTo>
                    <a:pt x="389" y="91"/>
                  </a:lnTo>
                  <a:lnTo>
                    <a:pt x="34" y="91"/>
                  </a:lnTo>
                  <a:lnTo>
                    <a:pt x="34" y="91"/>
                  </a:lnTo>
                  <a:lnTo>
                    <a:pt x="27" y="93"/>
                  </a:lnTo>
                  <a:lnTo>
                    <a:pt x="20" y="95"/>
                  </a:lnTo>
                  <a:lnTo>
                    <a:pt x="15" y="97"/>
                  </a:lnTo>
                  <a:lnTo>
                    <a:pt x="11" y="102"/>
                  </a:lnTo>
                  <a:lnTo>
                    <a:pt x="6" y="105"/>
                  </a:lnTo>
                  <a:lnTo>
                    <a:pt x="4" y="111"/>
                  </a:lnTo>
                  <a:lnTo>
                    <a:pt x="2" y="118"/>
                  </a:lnTo>
                  <a:lnTo>
                    <a:pt x="0" y="125"/>
                  </a:lnTo>
                  <a:lnTo>
                    <a:pt x="0" y="125"/>
                  </a:lnTo>
                  <a:lnTo>
                    <a:pt x="2" y="130"/>
                  </a:lnTo>
                  <a:lnTo>
                    <a:pt x="4" y="137"/>
                  </a:lnTo>
                  <a:lnTo>
                    <a:pt x="6" y="142"/>
                  </a:lnTo>
                  <a:lnTo>
                    <a:pt x="11" y="148"/>
                  </a:lnTo>
                  <a:lnTo>
                    <a:pt x="15" y="151"/>
                  </a:lnTo>
                  <a:lnTo>
                    <a:pt x="20" y="155"/>
                  </a:lnTo>
                  <a:lnTo>
                    <a:pt x="27" y="156"/>
                  </a:lnTo>
                  <a:lnTo>
                    <a:pt x="34" y="156"/>
                  </a:lnTo>
                  <a:lnTo>
                    <a:pt x="373" y="156"/>
                  </a:lnTo>
                  <a:lnTo>
                    <a:pt x="365" y="192"/>
                  </a:lnTo>
                  <a:lnTo>
                    <a:pt x="74" y="192"/>
                  </a:lnTo>
                  <a:lnTo>
                    <a:pt x="74" y="192"/>
                  </a:lnTo>
                  <a:lnTo>
                    <a:pt x="67" y="193"/>
                  </a:lnTo>
                  <a:lnTo>
                    <a:pt x="62" y="195"/>
                  </a:lnTo>
                  <a:lnTo>
                    <a:pt x="57" y="197"/>
                  </a:lnTo>
                  <a:lnTo>
                    <a:pt x="51" y="202"/>
                  </a:lnTo>
                  <a:lnTo>
                    <a:pt x="48" y="206"/>
                  </a:lnTo>
                  <a:lnTo>
                    <a:pt x="44" y="213"/>
                  </a:lnTo>
                  <a:lnTo>
                    <a:pt x="43" y="218"/>
                  </a:lnTo>
                  <a:lnTo>
                    <a:pt x="41" y="225"/>
                  </a:lnTo>
                  <a:lnTo>
                    <a:pt x="41" y="225"/>
                  </a:lnTo>
                  <a:lnTo>
                    <a:pt x="43" y="230"/>
                  </a:lnTo>
                  <a:lnTo>
                    <a:pt x="44" y="237"/>
                  </a:lnTo>
                  <a:lnTo>
                    <a:pt x="48" y="243"/>
                  </a:lnTo>
                  <a:lnTo>
                    <a:pt x="51" y="248"/>
                  </a:lnTo>
                  <a:lnTo>
                    <a:pt x="57" y="251"/>
                  </a:lnTo>
                  <a:lnTo>
                    <a:pt x="62" y="255"/>
                  </a:lnTo>
                  <a:lnTo>
                    <a:pt x="67" y="257"/>
                  </a:lnTo>
                  <a:lnTo>
                    <a:pt x="74" y="257"/>
                  </a:lnTo>
                  <a:lnTo>
                    <a:pt x="351" y="257"/>
                  </a:lnTo>
                  <a:lnTo>
                    <a:pt x="340" y="295"/>
                  </a:lnTo>
                  <a:lnTo>
                    <a:pt x="120" y="295"/>
                  </a:lnTo>
                  <a:lnTo>
                    <a:pt x="120" y="295"/>
                  </a:lnTo>
                  <a:lnTo>
                    <a:pt x="115" y="297"/>
                  </a:lnTo>
                  <a:lnTo>
                    <a:pt x="108" y="299"/>
                  </a:lnTo>
                  <a:lnTo>
                    <a:pt x="103" y="301"/>
                  </a:lnTo>
                  <a:lnTo>
                    <a:pt x="97" y="306"/>
                  </a:lnTo>
                  <a:lnTo>
                    <a:pt x="94" y="309"/>
                  </a:lnTo>
                  <a:lnTo>
                    <a:pt x="90" y="317"/>
                  </a:lnTo>
                  <a:lnTo>
                    <a:pt x="88" y="322"/>
                  </a:lnTo>
                  <a:lnTo>
                    <a:pt x="88" y="329"/>
                  </a:lnTo>
                  <a:lnTo>
                    <a:pt x="88" y="329"/>
                  </a:lnTo>
                  <a:lnTo>
                    <a:pt x="88" y="334"/>
                  </a:lnTo>
                  <a:lnTo>
                    <a:pt x="90" y="341"/>
                  </a:lnTo>
                  <a:lnTo>
                    <a:pt x="94" y="346"/>
                  </a:lnTo>
                  <a:lnTo>
                    <a:pt x="97" y="352"/>
                  </a:lnTo>
                  <a:lnTo>
                    <a:pt x="103" y="355"/>
                  </a:lnTo>
                  <a:lnTo>
                    <a:pt x="108" y="359"/>
                  </a:lnTo>
                  <a:lnTo>
                    <a:pt x="115" y="361"/>
                  </a:lnTo>
                  <a:lnTo>
                    <a:pt x="120" y="361"/>
                  </a:lnTo>
                  <a:lnTo>
                    <a:pt x="366" y="361"/>
                  </a:lnTo>
                  <a:lnTo>
                    <a:pt x="366" y="361"/>
                  </a:lnTo>
                  <a:lnTo>
                    <a:pt x="377" y="359"/>
                  </a:lnTo>
                  <a:lnTo>
                    <a:pt x="386" y="353"/>
                  </a:lnTo>
                  <a:lnTo>
                    <a:pt x="393" y="346"/>
                  </a:lnTo>
                  <a:lnTo>
                    <a:pt x="398" y="336"/>
                  </a:lnTo>
                  <a:lnTo>
                    <a:pt x="461" y="63"/>
                  </a:lnTo>
                  <a:lnTo>
                    <a:pt x="560" y="63"/>
                  </a:lnTo>
                  <a:lnTo>
                    <a:pt x="560" y="63"/>
                  </a:lnTo>
                  <a:lnTo>
                    <a:pt x="567" y="63"/>
                  </a:lnTo>
                  <a:lnTo>
                    <a:pt x="572" y="61"/>
                  </a:lnTo>
                  <a:lnTo>
                    <a:pt x="579" y="58"/>
                  </a:lnTo>
                  <a:lnTo>
                    <a:pt x="583" y="54"/>
                  </a:lnTo>
                  <a:lnTo>
                    <a:pt x="588" y="49"/>
                  </a:lnTo>
                  <a:lnTo>
                    <a:pt x="590" y="44"/>
                  </a:lnTo>
                  <a:lnTo>
                    <a:pt x="592" y="39"/>
                  </a:lnTo>
                  <a:lnTo>
                    <a:pt x="593" y="32"/>
                  </a:lnTo>
                  <a:lnTo>
                    <a:pt x="593" y="32"/>
                  </a:lnTo>
                  <a:lnTo>
                    <a:pt x="592" y="25"/>
                  </a:lnTo>
                  <a:lnTo>
                    <a:pt x="590" y="19"/>
                  </a:lnTo>
                  <a:lnTo>
                    <a:pt x="588" y="14"/>
                  </a:lnTo>
                  <a:lnTo>
                    <a:pt x="583" y="9"/>
                  </a:lnTo>
                  <a:lnTo>
                    <a:pt x="579" y="5"/>
                  </a:lnTo>
                  <a:lnTo>
                    <a:pt x="572" y="2"/>
                  </a:lnTo>
                  <a:lnTo>
                    <a:pt x="567" y="0"/>
                  </a:lnTo>
                  <a:lnTo>
                    <a:pt x="560" y="0"/>
                  </a:lnTo>
                  <a:lnTo>
                    <a:pt x="560" y="0"/>
                  </a:lnTo>
                  <a:close/>
                </a:path>
              </a:pathLst>
            </a:custGeom>
            <a:solidFill>
              <a:srgbClr val="0054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132">
              <a:extLst>
                <a:ext uri="{FF2B5EF4-FFF2-40B4-BE49-F238E27FC236}">
                  <a16:creationId xmlns:a16="http://schemas.microsoft.com/office/drawing/2014/main" id="{41FEA644-6978-48E9-A804-B08B8BD59328}"/>
                </a:ext>
              </a:extLst>
            </p:cNvPr>
            <p:cNvSpPr>
              <a:spLocks noEditPoints="1"/>
            </p:cNvSpPr>
            <p:nvPr/>
          </p:nvSpPr>
          <p:spPr bwMode="auto">
            <a:xfrm>
              <a:off x="19299238" y="1082676"/>
              <a:ext cx="92075" cy="92075"/>
            </a:xfrm>
            <a:custGeom>
              <a:avLst/>
              <a:gdLst>
                <a:gd name="T0" fmla="*/ 56 w 114"/>
                <a:gd name="T1" fmla="*/ 0 h 114"/>
                <a:gd name="T2" fmla="*/ 56 w 114"/>
                <a:gd name="T3" fmla="*/ 0 h 114"/>
                <a:gd name="T4" fmla="*/ 46 w 114"/>
                <a:gd name="T5" fmla="*/ 2 h 114"/>
                <a:gd name="T6" fmla="*/ 35 w 114"/>
                <a:gd name="T7" fmla="*/ 3 h 114"/>
                <a:gd name="T8" fmla="*/ 24 w 114"/>
                <a:gd name="T9" fmla="*/ 9 h 114"/>
                <a:gd name="T10" fmla="*/ 17 w 114"/>
                <a:gd name="T11" fmla="*/ 16 h 114"/>
                <a:gd name="T12" fmla="*/ 10 w 114"/>
                <a:gd name="T13" fmla="*/ 24 h 114"/>
                <a:gd name="T14" fmla="*/ 5 w 114"/>
                <a:gd name="T15" fmla="*/ 35 h 114"/>
                <a:gd name="T16" fmla="*/ 2 w 114"/>
                <a:gd name="T17" fmla="*/ 46 h 114"/>
                <a:gd name="T18" fmla="*/ 0 w 114"/>
                <a:gd name="T19" fmla="*/ 56 h 114"/>
                <a:gd name="T20" fmla="*/ 0 w 114"/>
                <a:gd name="T21" fmla="*/ 56 h 114"/>
                <a:gd name="T22" fmla="*/ 2 w 114"/>
                <a:gd name="T23" fmla="*/ 68 h 114"/>
                <a:gd name="T24" fmla="*/ 5 w 114"/>
                <a:gd name="T25" fmla="*/ 79 h 114"/>
                <a:gd name="T26" fmla="*/ 10 w 114"/>
                <a:gd name="T27" fmla="*/ 88 h 114"/>
                <a:gd name="T28" fmla="*/ 17 w 114"/>
                <a:gd name="T29" fmla="*/ 97 h 114"/>
                <a:gd name="T30" fmla="*/ 24 w 114"/>
                <a:gd name="T31" fmla="*/ 104 h 114"/>
                <a:gd name="T32" fmla="*/ 35 w 114"/>
                <a:gd name="T33" fmla="*/ 109 h 114"/>
                <a:gd name="T34" fmla="*/ 46 w 114"/>
                <a:gd name="T35" fmla="*/ 112 h 114"/>
                <a:gd name="T36" fmla="*/ 56 w 114"/>
                <a:gd name="T37" fmla="*/ 114 h 114"/>
                <a:gd name="T38" fmla="*/ 56 w 114"/>
                <a:gd name="T39" fmla="*/ 114 h 114"/>
                <a:gd name="T40" fmla="*/ 68 w 114"/>
                <a:gd name="T41" fmla="*/ 112 h 114"/>
                <a:gd name="T42" fmla="*/ 79 w 114"/>
                <a:gd name="T43" fmla="*/ 109 h 114"/>
                <a:gd name="T44" fmla="*/ 90 w 114"/>
                <a:gd name="T45" fmla="*/ 104 h 114"/>
                <a:gd name="T46" fmla="*/ 97 w 114"/>
                <a:gd name="T47" fmla="*/ 97 h 114"/>
                <a:gd name="T48" fmla="*/ 104 w 114"/>
                <a:gd name="T49" fmla="*/ 88 h 114"/>
                <a:gd name="T50" fmla="*/ 109 w 114"/>
                <a:gd name="T51" fmla="*/ 79 h 114"/>
                <a:gd name="T52" fmla="*/ 112 w 114"/>
                <a:gd name="T53" fmla="*/ 68 h 114"/>
                <a:gd name="T54" fmla="*/ 114 w 114"/>
                <a:gd name="T55" fmla="*/ 56 h 114"/>
                <a:gd name="T56" fmla="*/ 114 w 114"/>
                <a:gd name="T57" fmla="*/ 56 h 114"/>
                <a:gd name="T58" fmla="*/ 112 w 114"/>
                <a:gd name="T59" fmla="*/ 46 h 114"/>
                <a:gd name="T60" fmla="*/ 109 w 114"/>
                <a:gd name="T61" fmla="*/ 35 h 114"/>
                <a:gd name="T62" fmla="*/ 104 w 114"/>
                <a:gd name="T63" fmla="*/ 24 h 114"/>
                <a:gd name="T64" fmla="*/ 97 w 114"/>
                <a:gd name="T65" fmla="*/ 16 h 114"/>
                <a:gd name="T66" fmla="*/ 90 w 114"/>
                <a:gd name="T67" fmla="*/ 9 h 114"/>
                <a:gd name="T68" fmla="*/ 79 w 114"/>
                <a:gd name="T69" fmla="*/ 3 h 114"/>
                <a:gd name="T70" fmla="*/ 68 w 114"/>
                <a:gd name="T71" fmla="*/ 2 h 114"/>
                <a:gd name="T72" fmla="*/ 56 w 114"/>
                <a:gd name="T73" fmla="*/ 0 h 114"/>
                <a:gd name="T74" fmla="*/ 56 w 114"/>
                <a:gd name="T75" fmla="*/ 0 h 114"/>
                <a:gd name="T76" fmla="*/ 56 w 114"/>
                <a:gd name="T77" fmla="*/ 74 h 114"/>
                <a:gd name="T78" fmla="*/ 56 w 114"/>
                <a:gd name="T79" fmla="*/ 74 h 114"/>
                <a:gd name="T80" fmla="*/ 51 w 114"/>
                <a:gd name="T81" fmla="*/ 72 h 114"/>
                <a:gd name="T82" fmla="*/ 46 w 114"/>
                <a:gd name="T83" fmla="*/ 68 h 114"/>
                <a:gd name="T84" fmla="*/ 42 w 114"/>
                <a:gd name="T85" fmla="*/ 63 h 114"/>
                <a:gd name="T86" fmla="*/ 40 w 114"/>
                <a:gd name="T87" fmla="*/ 56 h 114"/>
                <a:gd name="T88" fmla="*/ 40 w 114"/>
                <a:gd name="T89" fmla="*/ 56 h 114"/>
                <a:gd name="T90" fmla="*/ 42 w 114"/>
                <a:gd name="T91" fmla="*/ 51 h 114"/>
                <a:gd name="T92" fmla="*/ 46 w 114"/>
                <a:gd name="T93" fmla="*/ 46 h 114"/>
                <a:gd name="T94" fmla="*/ 51 w 114"/>
                <a:gd name="T95" fmla="*/ 42 h 114"/>
                <a:gd name="T96" fmla="*/ 56 w 114"/>
                <a:gd name="T97" fmla="*/ 40 h 114"/>
                <a:gd name="T98" fmla="*/ 56 w 114"/>
                <a:gd name="T99" fmla="*/ 40 h 114"/>
                <a:gd name="T100" fmla="*/ 63 w 114"/>
                <a:gd name="T101" fmla="*/ 42 h 114"/>
                <a:gd name="T102" fmla="*/ 68 w 114"/>
                <a:gd name="T103" fmla="*/ 46 h 114"/>
                <a:gd name="T104" fmla="*/ 72 w 114"/>
                <a:gd name="T105" fmla="*/ 51 h 114"/>
                <a:gd name="T106" fmla="*/ 74 w 114"/>
                <a:gd name="T107" fmla="*/ 56 h 114"/>
                <a:gd name="T108" fmla="*/ 74 w 114"/>
                <a:gd name="T109" fmla="*/ 56 h 114"/>
                <a:gd name="T110" fmla="*/ 72 w 114"/>
                <a:gd name="T111" fmla="*/ 63 h 114"/>
                <a:gd name="T112" fmla="*/ 68 w 114"/>
                <a:gd name="T113" fmla="*/ 68 h 114"/>
                <a:gd name="T114" fmla="*/ 63 w 114"/>
                <a:gd name="T115" fmla="*/ 72 h 114"/>
                <a:gd name="T116" fmla="*/ 56 w 114"/>
                <a:gd name="T117" fmla="*/ 74 h 114"/>
                <a:gd name="T118" fmla="*/ 56 w 114"/>
                <a:gd name="T119" fmla="*/ 7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4" h="114">
                  <a:moveTo>
                    <a:pt x="56" y="0"/>
                  </a:moveTo>
                  <a:lnTo>
                    <a:pt x="56" y="0"/>
                  </a:lnTo>
                  <a:lnTo>
                    <a:pt x="46" y="2"/>
                  </a:lnTo>
                  <a:lnTo>
                    <a:pt x="35" y="3"/>
                  </a:lnTo>
                  <a:lnTo>
                    <a:pt x="24" y="9"/>
                  </a:lnTo>
                  <a:lnTo>
                    <a:pt x="17" y="16"/>
                  </a:lnTo>
                  <a:lnTo>
                    <a:pt x="10" y="24"/>
                  </a:lnTo>
                  <a:lnTo>
                    <a:pt x="5" y="35"/>
                  </a:lnTo>
                  <a:lnTo>
                    <a:pt x="2" y="46"/>
                  </a:lnTo>
                  <a:lnTo>
                    <a:pt x="0" y="56"/>
                  </a:lnTo>
                  <a:lnTo>
                    <a:pt x="0" y="56"/>
                  </a:lnTo>
                  <a:lnTo>
                    <a:pt x="2" y="68"/>
                  </a:lnTo>
                  <a:lnTo>
                    <a:pt x="5" y="79"/>
                  </a:lnTo>
                  <a:lnTo>
                    <a:pt x="10" y="88"/>
                  </a:lnTo>
                  <a:lnTo>
                    <a:pt x="17" y="97"/>
                  </a:lnTo>
                  <a:lnTo>
                    <a:pt x="24" y="104"/>
                  </a:lnTo>
                  <a:lnTo>
                    <a:pt x="35" y="109"/>
                  </a:lnTo>
                  <a:lnTo>
                    <a:pt x="46" y="112"/>
                  </a:lnTo>
                  <a:lnTo>
                    <a:pt x="56" y="114"/>
                  </a:lnTo>
                  <a:lnTo>
                    <a:pt x="56" y="114"/>
                  </a:lnTo>
                  <a:lnTo>
                    <a:pt x="68" y="112"/>
                  </a:lnTo>
                  <a:lnTo>
                    <a:pt x="79" y="109"/>
                  </a:lnTo>
                  <a:lnTo>
                    <a:pt x="90" y="104"/>
                  </a:lnTo>
                  <a:lnTo>
                    <a:pt x="97" y="97"/>
                  </a:lnTo>
                  <a:lnTo>
                    <a:pt x="104" y="88"/>
                  </a:lnTo>
                  <a:lnTo>
                    <a:pt x="109" y="79"/>
                  </a:lnTo>
                  <a:lnTo>
                    <a:pt x="112" y="68"/>
                  </a:lnTo>
                  <a:lnTo>
                    <a:pt x="114" y="56"/>
                  </a:lnTo>
                  <a:lnTo>
                    <a:pt x="114" y="56"/>
                  </a:lnTo>
                  <a:lnTo>
                    <a:pt x="112" y="46"/>
                  </a:lnTo>
                  <a:lnTo>
                    <a:pt x="109" y="35"/>
                  </a:lnTo>
                  <a:lnTo>
                    <a:pt x="104" y="24"/>
                  </a:lnTo>
                  <a:lnTo>
                    <a:pt x="97" y="16"/>
                  </a:lnTo>
                  <a:lnTo>
                    <a:pt x="90" y="9"/>
                  </a:lnTo>
                  <a:lnTo>
                    <a:pt x="79" y="3"/>
                  </a:lnTo>
                  <a:lnTo>
                    <a:pt x="68" y="2"/>
                  </a:lnTo>
                  <a:lnTo>
                    <a:pt x="56" y="0"/>
                  </a:lnTo>
                  <a:lnTo>
                    <a:pt x="56" y="0"/>
                  </a:lnTo>
                  <a:close/>
                  <a:moveTo>
                    <a:pt x="56" y="74"/>
                  </a:moveTo>
                  <a:lnTo>
                    <a:pt x="56" y="74"/>
                  </a:lnTo>
                  <a:lnTo>
                    <a:pt x="51" y="72"/>
                  </a:lnTo>
                  <a:lnTo>
                    <a:pt x="46" y="68"/>
                  </a:lnTo>
                  <a:lnTo>
                    <a:pt x="42" y="63"/>
                  </a:lnTo>
                  <a:lnTo>
                    <a:pt x="40" y="56"/>
                  </a:lnTo>
                  <a:lnTo>
                    <a:pt x="40" y="56"/>
                  </a:lnTo>
                  <a:lnTo>
                    <a:pt x="42" y="51"/>
                  </a:lnTo>
                  <a:lnTo>
                    <a:pt x="46" y="46"/>
                  </a:lnTo>
                  <a:lnTo>
                    <a:pt x="51" y="42"/>
                  </a:lnTo>
                  <a:lnTo>
                    <a:pt x="56" y="40"/>
                  </a:lnTo>
                  <a:lnTo>
                    <a:pt x="56" y="40"/>
                  </a:lnTo>
                  <a:lnTo>
                    <a:pt x="63" y="42"/>
                  </a:lnTo>
                  <a:lnTo>
                    <a:pt x="68" y="46"/>
                  </a:lnTo>
                  <a:lnTo>
                    <a:pt x="72" y="51"/>
                  </a:lnTo>
                  <a:lnTo>
                    <a:pt x="74" y="56"/>
                  </a:lnTo>
                  <a:lnTo>
                    <a:pt x="74" y="56"/>
                  </a:lnTo>
                  <a:lnTo>
                    <a:pt x="72" y="63"/>
                  </a:lnTo>
                  <a:lnTo>
                    <a:pt x="68" y="68"/>
                  </a:lnTo>
                  <a:lnTo>
                    <a:pt x="63" y="72"/>
                  </a:lnTo>
                  <a:lnTo>
                    <a:pt x="56" y="74"/>
                  </a:lnTo>
                  <a:lnTo>
                    <a:pt x="56" y="74"/>
                  </a:lnTo>
                  <a:close/>
                </a:path>
              </a:pathLst>
            </a:custGeom>
            <a:solidFill>
              <a:srgbClr val="0054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133">
              <a:extLst>
                <a:ext uri="{FF2B5EF4-FFF2-40B4-BE49-F238E27FC236}">
                  <a16:creationId xmlns:a16="http://schemas.microsoft.com/office/drawing/2014/main" id="{75B19ED0-369B-45C0-9EFC-60F8CABA3461}"/>
                </a:ext>
              </a:extLst>
            </p:cNvPr>
            <p:cNvSpPr>
              <a:spLocks noEditPoints="1"/>
            </p:cNvSpPr>
            <p:nvPr/>
          </p:nvSpPr>
          <p:spPr bwMode="auto">
            <a:xfrm>
              <a:off x="19415126" y="1082676"/>
              <a:ext cx="92075" cy="92075"/>
            </a:xfrm>
            <a:custGeom>
              <a:avLst/>
              <a:gdLst>
                <a:gd name="T0" fmla="*/ 58 w 114"/>
                <a:gd name="T1" fmla="*/ 0 h 114"/>
                <a:gd name="T2" fmla="*/ 58 w 114"/>
                <a:gd name="T3" fmla="*/ 0 h 114"/>
                <a:gd name="T4" fmla="*/ 46 w 114"/>
                <a:gd name="T5" fmla="*/ 2 h 114"/>
                <a:gd name="T6" fmla="*/ 35 w 114"/>
                <a:gd name="T7" fmla="*/ 3 h 114"/>
                <a:gd name="T8" fmla="*/ 24 w 114"/>
                <a:gd name="T9" fmla="*/ 9 h 114"/>
                <a:gd name="T10" fmla="*/ 17 w 114"/>
                <a:gd name="T11" fmla="*/ 16 h 114"/>
                <a:gd name="T12" fmla="*/ 10 w 114"/>
                <a:gd name="T13" fmla="*/ 24 h 114"/>
                <a:gd name="T14" fmla="*/ 5 w 114"/>
                <a:gd name="T15" fmla="*/ 35 h 114"/>
                <a:gd name="T16" fmla="*/ 2 w 114"/>
                <a:gd name="T17" fmla="*/ 46 h 114"/>
                <a:gd name="T18" fmla="*/ 0 w 114"/>
                <a:gd name="T19" fmla="*/ 56 h 114"/>
                <a:gd name="T20" fmla="*/ 0 w 114"/>
                <a:gd name="T21" fmla="*/ 56 h 114"/>
                <a:gd name="T22" fmla="*/ 2 w 114"/>
                <a:gd name="T23" fmla="*/ 68 h 114"/>
                <a:gd name="T24" fmla="*/ 5 w 114"/>
                <a:gd name="T25" fmla="*/ 79 h 114"/>
                <a:gd name="T26" fmla="*/ 10 w 114"/>
                <a:gd name="T27" fmla="*/ 88 h 114"/>
                <a:gd name="T28" fmla="*/ 17 w 114"/>
                <a:gd name="T29" fmla="*/ 97 h 114"/>
                <a:gd name="T30" fmla="*/ 24 w 114"/>
                <a:gd name="T31" fmla="*/ 104 h 114"/>
                <a:gd name="T32" fmla="*/ 35 w 114"/>
                <a:gd name="T33" fmla="*/ 109 h 114"/>
                <a:gd name="T34" fmla="*/ 46 w 114"/>
                <a:gd name="T35" fmla="*/ 112 h 114"/>
                <a:gd name="T36" fmla="*/ 58 w 114"/>
                <a:gd name="T37" fmla="*/ 114 h 114"/>
                <a:gd name="T38" fmla="*/ 58 w 114"/>
                <a:gd name="T39" fmla="*/ 114 h 114"/>
                <a:gd name="T40" fmla="*/ 68 w 114"/>
                <a:gd name="T41" fmla="*/ 112 h 114"/>
                <a:gd name="T42" fmla="*/ 79 w 114"/>
                <a:gd name="T43" fmla="*/ 109 h 114"/>
                <a:gd name="T44" fmla="*/ 90 w 114"/>
                <a:gd name="T45" fmla="*/ 104 h 114"/>
                <a:gd name="T46" fmla="*/ 97 w 114"/>
                <a:gd name="T47" fmla="*/ 97 h 114"/>
                <a:gd name="T48" fmla="*/ 104 w 114"/>
                <a:gd name="T49" fmla="*/ 88 h 114"/>
                <a:gd name="T50" fmla="*/ 109 w 114"/>
                <a:gd name="T51" fmla="*/ 79 h 114"/>
                <a:gd name="T52" fmla="*/ 112 w 114"/>
                <a:gd name="T53" fmla="*/ 68 h 114"/>
                <a:gd name="T54" fmla="*/ 114 w 114"/>
                <a:gd name="T55" fmla="*/ 56 h 114"/>
                <a:gd name="T56" fmla="*/ 114 w 114"/>
                <a:gd name="T57" fmla="*/ 56 h 114"/>
                <a:gd name="T58" fmla="*/ 112 w 114"/>
                <a:gd name="T59" fmla="*/ 46 h 114"/>
                <a:gd name="T60" fmla="*/ 109 w 114"/>
                <a:gd name="T61" fmla="*/ 35 h 114"/>
                <a:gd name="T62" fmla="*/ 104 w 114"/>
                <a:gd name="T63" fmla="*/ 24 h 114"/>
                <a:gd name="T64" fmla="*/ 97 w 114"/>
                <a:gd name="T65" fmla="*/ 16 h 114"/>
                <a:gd name="T66" fmla="*/ 90 w 114"/>
                <a:gd name="T67" fmla="*/ 9 h 114"/>
                <a:gd name="T68" fmla="*/ 79 w 114"/>
                <a:gd name="T69" fmla="*/ 3 h 114"/>
                <a:gd name="T70" fmla="*/ 68 w 114"/>
                <a:gd name="T71" fmla="*/ 2 h 114"/>
                <a:gd name="T72" fmla="*/ 58 w 114"/>
                <a:gd name="T73" fmla="*/ 0 h 114"/>
                <a:gd name="T74" fmla="*/ 58 w 114"/>
                <a:gd name="T75" fmla="*/ 0 h 114"/>
                <a:gd name="T76" fmla="*/ 58 w 114"/>
                <a:gd name="T77" fmla="*/ 74 h 114"/>
                <a:gd name="T78" fmla="*/ 58 w 114"/>
                <a:gd name="T79" fmla="*/ 74 h 114"/>
                <a:gd name="T80" fmla="*/ 51 w 114"/>
                <a:gd name="T81" fmla="*/ 72 h 114"/>
                <a:gd name="T82" fmla="*/ 46 w 114"/>
                <a:gd name="T83" fmla="*/ 68 h 114"/>
                <a:gd name="T84" fmla="*/ 42 w 114"/>
                <a:gd name="T85" fmla="*/ 63 h 114"/>
                <a:gd name="T86" fmla="*/ 40 w 114"/>
                <a:gd name="T87" fmla="*/ 56 h 114"/>
                <a:gd name="T88" fmla="*/ 40 w 114"/>
                <a:gd name="T89" fmla="*/ 56 h 114"/>
                <a:gd name="T90" fmla="*/ 42 w 114"/>
                <a:gd name="T91" fmla="*/ 51 h 114"/>
                <a:gd name="T92" fmla="*/ 46 w 114"/>
                <a:gd name="T93" fmla="*/ 46 h 114"/>
                <a:gd name="T94" fmla="*/ 51 w 114"/>
                <a:gd name="T95" fmla="*/ 42 h 114"/>
                <a:gd name="T96" fmla="*/ 58 w 114"/>
                <a:gd name="T97" fmla="*/ 40 h 114"/>
                <a:gd name="T98" fmla="*/ 58 w 114"/>
                <a:gd name="T99" fmla="*/ 40 h 114"/>
                <a:gd name="T100" fmla="*/ 63 w 114"/>
                <a:gd name="T101" fmla="*/ 42 h 114"/>
                <a:gd name="T102" fmla="*/ 68 w 114"/>
                <a:gd name="T103" fmla="*/ 46 h 114"/>
                <a:gd name="T104" fmla="*/ 72 w 114"/>
                <a:gd name="T105" fmla="*/ 51 h 114"/>
                <a:gd name="T106" fmla="*/ 74 w 114"/>
                <a:gd name="T107" fmla="*/ 56 h 114"/>
                <a:gd name="T108" fmla="*/ 74 w 114"/>
                <a:gd name="T109" fmla="*/ 56 h 114"/>
                <a:gd name="T110" fmla="*/ 72 w 114"/>
                <a:gd name="T111" fmla="*/ 63 h 114"/>
                <a:gd name="T112" fmla="*/ 68 w 114"/>
                <a:gd name="T113" fmla="*/ 68 h 114"/>
                <a:gd name="T114" fmla="*/ 63 w 114"/>
                <a:gd name="T115" fmla="*/ 72 h 114"/>
                <a:gd name="T116" fmla="*/ 58 w 114"/>
                <a:gd name="T117" fmla="*/ 74 h 114"/>
                <a:gd name="T118" fmla="*/ 58 w 114"/>
                <a:gd name="T119" fmla="*/ 7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4" h="114">
                  <a:moveTo>
                    <a:pt x="58" y="0"/>
                  </a:moveTo>
                  <a:lnTo>
                    <a:pt x="58" y="0"/>
                  </a:lnTo>
                  <a:lnTo>
                    <a:pt x="46" y="2"/>
                  </a:lnTo>
                  <a:lnTo>
                    <a:pt x="35" y="3"/>
                  </a:lnTo>
                  <a:lnTo>
                    <a:pt x="24" y="9"/>
                  </a:lnTo>
                  <a:lnTo>
                    <a:pt x="17" y="16"/>
                  </a:lnTo>
                  <a:lnTo>
                    <a:pt x="10" y="24"/>
                  </a:lnTo>
                  <a:lnTo>
                    <a:pt x="5" y="35"/>
                  </a:lnTo>
                  <a:lnTo>
                    <a:pt x="2" y="46"/>
                  </a:lnTo>
                  <a:lnTo>
                    <a:pt x="0" y="56"/>
                  </a:lnTo>
                  <a:lnTo>
                    <a:pt x="0" y="56"/>
                  </a:lnTo>
                  <a:lnTo>
                    <a:pt x="2" y="68"/>
                  </a:lnTo>
                  <a:lnTo>
                    <a:pt x="5" y="79"/>
                  </a:lnTo>
                  <a:lnTo>
                    <a:pt x="10" y="88"/>
                  </a:lnTo>
                  <a:lnTo>
                    <a:pt x="17" y="97"/>
                  </a:lnTo>
                  <a:lnTo>
                    <a:pt x="24" y="104"/>
                  </a:lnTo>
                  <a:lnTo>
                    <a:pt x="35" y="109"/>
                  </a:lnTo>
                  <a:lnTo>
                    <a:pt x="46" y="112"/>
                  </a:lnTo>
                  <a:lnTo>
                    <a:pt x="58" y="114"/>
                  </a:lnTo>
                  <a:lnTo>
                    <a:pt x="58" y="114"/>
                  </a:lnTo>
                  <a:lnTo>
                    <a:pt x="68" y="112"/>
                  </a:lnTo>
                  <a:lnTo>
                    <a:pt x="79" y="109"/>
                  </a:lnTo>
                  <a:lnTo>
                    <a:pt x="90" y="104"/>
                  </a:lnTo>
                  <a:lnTo>
                    <a:pt x="97" y="97"/>
                  </a:lnTo>
                  <a:lnTo>
                    <a:pt x="104" y="88"/>
                  </a:lnTo>
                  <a:lnTo>
                    <a:pt x="109" y="79"/>
                  </a:lnTo>
                  <a:lnTo>
                    <a:pt x="112" y="68"/>
                  </a:lnTo>
                  <a:lnTo>
                    <a:pt x="114" y="56"/>
                  </a:lnTo>
                  <a:lnTo>
                    <a:pt x="114" y="56"/>
                  </a:lnTo>
                  <a:lnTo>
                    <a:pt x="112" y="46"/>
                  </a:lnTo>
                  <a:lnTo>
                    <a:pt x="109" y="35"/>
                  </a:lnTo>
                  <a:lnTo>
                    <a:pt x="104" y="24"/>
                  </a:lnTo>
                  <a:lnTo>
                    <a:pt x="97" y="16"/>
                  </a:lnTo>
                  <a:lnTo>
                    <a:pt x="90" y="9"/>
                  </a:lnTo>
                  <a:lnTo>
                    <a:pt x="79" y="3"/>
                  </a:lnTo>
                  <a:lnTo>
                    <a:pt x="68" y="2"/>
                  </a:lnTo>
                  <a:lnTo>
                    <a:pt x="58" y="0"/>
                  </a:lnTo>
                  <a:lnTo>
                    <a:pt x="58" y="0"/>
                  </a:lnTo>
                  <a:close/>
                  <a:moveTo>
                    <a:pt x="58" y="74"/>
                  </a:moveTo>
                  <a:lnTo>
                    <a:pt x="58" y="74"/>
                  </a:lnTo>
                  <a:lnTo>
                    <a:pt x="51" y="72"/>
                  </a:lnTo>
                  <a:lnTo>
                    <a:pt x="46" y="68"/>
                  </a:lnTo>
                  <a:lnTo>
                    <a:pt x="42" y="63"/>
                  </a:lnTo>
                  <a:lnTo>
                    <a:pt x="40" y="56"/>
                  </a:lnTo>
                  <a:lnTo>
                    <a:pt x="40" y="56"/>
                  </a:lnTo>
                  <a:lnTo>
                    <a:pt x="42" y="51"/>
                  </a:lnTo>
                  <a:lnTo>
                    <a:pt x="46" y="46"/>
                  </a:lnTo>
                  <a:lnTo>
                    <a:pt x="51" y="42"/>
                  </a:lnTo>
                  <a:lnTo>
                    <a:pt x="58" y="40"/>
                  </a:lnTo>
                  <a:lnTo>
                    <a:pt x="58" y="40"/>
                  </a:lnTo>
                  <a:lnTo>
                    <a:pt x="63" y="42"/>
                  </a:lnTo>
                  <a:lnTo>
                    <a:pt x="68" y="46"/>
                  </a:lnTo>
                  <a:lnTo>
                    <a:pt x="72" y="51"/>
                  </a:lnTo>
                  <a:lnTo>
                    <a:pt x="74" y="56"/>
                  </a:lnTo>
                  <a:lnTo>
                    <a:pt x="74" y="56"/>
                  </a:lnTo>
                  <a:lnTo>
                    <a:pt x="72" y="63"/>
                  </a:lnTo>
                  <a:lnTo>
                    <a:pt x="68" y="68"/>
                  </a:lnTo>
                  <a:lnTo>
                    <a:pt x="63" y="72"/>
                  </a:lnTo>
                  <a:lnTo>
                    <a:pt x="58" y="74"/>
                  </a:lnTo>
                  <a:lnTo>
                    <a:pt x="58" y="7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6" name="Group 145">
            <a:extLst>
              <a:ext uri="{FF2B5EF4-FFF2-40B4-BE49-F238E27FC236}">
                <a16:creationId xmlns:a16="http://schemas.microsoft.com/office/drawing/2014/main" id="{9F8203D2-C311-44E2-A445-06074CBB236E}"/>
              </a:ext>
            </a:extLst>
          </p:cNvPr>
          <p:cNvGrpSpPr/>
          <p:nvPr/>
        </p:nvGrpSpPr>
        <p:grpSpPr>
          <a:xfrm>
            <a:off x="3423348" y="2490356"/>
            <a:ext cx="419093" cy="435147"/>
            <a:chOff x="-5051425" y="1952625"/>
            <a:chExt cx="4724400" cy="4905375"/>
          </a:xfrm>
        </p:grpSpPr>
        <p:sp>
          <p:nvSpPr>
            <p:cNvPr id="147" name="Freeform 56">
              <a:extLst>
                <a:ext uri="{FF2B5EF4-FFF2-40B4-BE49-F238E27FC236}">
                  <a16:creationId xmlns:a16="http://schemas.microsoft.com/office/drawing/2014/main" id="{C6CFCCD6-3EB5-4E77-ADAD-25B92843D752}"/>
                </a:ext>
              </a:extLst>
            </p:cNvPr>
            <p:cNvSpPr>
              <a:spLocks noEditPoints="1"/>
            </p:cNvSpPr>
            <p:nvPr/>
          </p:nvSpPr>
          <p:spPr bwMode="auto">
            <a:xfrm>
              <a:off x="-2994025" y="4213225"/>
              <a:ext cx="631825" cy="1797050"/>
            </a:xfrm>
            <a:custGeom>
              <a:avLst/>
              <a:gdLst>
                <a:gd name="T0" fmla="*/ 308 w 398"/>
                <a:gd name="T1" fmla="*/ 1132 h 1132"/>
                <a:gd name="T2" fmla="*/ 308 w 398"/>
                <a:gd name="T3" fmla="*/ 1132 h 1132"/>
                <a:gd name="T4" fmla="*/ 294 w 398"/>
                <a:gd name="T5" fmla="*/ 1132 h 1132"/>
                <a:gd name="T6" fmla="*/ 280 w 398"/>
                <a:gd name="T7" fmla="*/ 1128 h 1132"/>
                <a:gd name="T8" fmla="*/ 266 w 398"/>
                <a:gd name="T9" fmla="*/ 1122 h 1132"/>
                <a:gd name="T10" fmla="*/ 254 w 398"/>
                <a:gd name="T11" fmla="*/ 1114 h 1132"/>
                <a:gd name="T12" fmla="*/ 242 w 398"/>
                <a:gd name="T13" fmla="*/ 1104 h 1132"/>
                <a:gd name="T14" fmla="*/ 234 w 398"/>
                <a:gd name="T15" fmla="*/ 1092 h 1132"/>
                <a:gd name="T16" fmla="*/ 226 w 398"/>
                <a:gd name="T17" fmla="*/ 1078 h 1132"/>
                <a:gd name="T18" fmla="*/ 222 w 398"/>
                <a:gd name="T19" fmla="*/ 1064 h 1132"/>
                <a:gd name="T20" fmla="*/ 2 w 398"/>
                <a:gd name="T21" fmla="*/ 110 h 1132"/>
                <a:gd name="T22" fmla="*/ 2 w 398"/>
                <a:gd name="T23" fmla="*/ 110 h 1132"/>
                <a:gd name="T24" fmla="*/ 0 w 398"/>
                <a:gd name="T25" fmla="*/ 92 h 1132"/>
                <a:gd name="T26" fmla="*/ 0 w 398"/>
                <a:gd name="T27" fmla="*/ 74 h 1132"/>
                <a:gd name="T28" fmla="*/ 6 w 398"/>
                <a:gd name="T29" fmla="*/ 58 h 1132"/>
                <a:gd name="T30" fmla="*/ 12 w 398"/>
                <a:gd name="T31" fmla="*/ 42 h 1132"/>
                <a:gd name="T32" fmla="*/ 24 w 398"/>
                <a:gd name="T33" fmla="*/ 28 h 1132"/>
                <a:gd name="T34" fmla="*/ 36 w 398"/>
                <a:gd name="T35" fmla="*/ 18 h 1132"/>
                <a:gd name="T36" fmla="*/ 52 w 398"/>
                <a:gd name="T37" fmla="*/ 8 h 1132"/>
                <a:gd name="T38" fmla="*/ 68 w 398"/>
                <a:gd name="T39" fmla="*/ 2 h 1132"/>
                <a:gd name="T40" fmla="*/ 68 w 398"/>
                <a:gd name="T41" fmla="*/ 2 h 1132"/>
                <a:gd name="T42" fmla="*/ 86 w 398"/>
                <a:gd name="T43" fmla="*/ 0 h 1132"/>
                <a:gd name="T44" fmla="*/ 104 w 398"/>
                <a:gd name="T45" fmla="*/ 2 h 1132"/>
                <a:gd name="T46" fmla="*/ 120 w 398"/>
                <a:gd name="T47" fmla="*/ 6 h 1132"/>
                <a:gd name="T48" fmla="*/ 136 w 398"/>
                <a:gd name="T49" fmla="*/ 14 h 1132"/>
                <a:gd name="T50" fmla="*/ 150 w 398"/>
                <a:gd name="T51" fmla="*/ 24 h 1132"/>
                <a:gd name="T52" fmla="*/ 162 w 398"/>
                <a:gd name="T53" fmla="*/ 38 h 1132"/>
                <a:gd name="T54" fmla="*/ 170 w 398"/>
                <a:gd name="T55" fmla="*/ 52 h 1132"/>
                <a:gd name="T56" fmla="*/ 176 w 398"/>
                <a:gd name="T57" fmla="*/ 70 h 1132"/>
                <a:gd name="T58" fmla="*/ 396 w 398"/>
                <a:gd name="T59" fmla="*/ 1024 h 1132"/>
                <a:gd name="T60" fmla="*/ 396 w 398"/>
                <a:gd name="T61" fmla="*/ 1024 h 1132"/>
                <a:gd name="T62" fmla="*/ 398 w 398"/>
                <a:gd name="T63" fmla="*/ 1042 h 1132"/>
                <a:gd name="T64" fmla="*/ 398 w 398"/>
                <a:gd name="T65" fmla="*/ 1058 h 1132"/>
                <a:gd name="T66" fmla="*/ 392 w 398"/>
                <a:gd name="T67" fmla="*/ 1076 h 1132"/>
                <a:gd name="T68" fmla="*/ 384 w 398"/>
                <a:gd name="T69" fmla="*/ 1090 h 1132"/>
                <a:gd name="T70" fmla="*/ 374 w 398"/>
                <a:gd name="T71" fmla="*/ 1104 h 1132"/>
                <a:gd name="T72" fmla="*/ 362 w 398"/>
                <a:gd name="T73" fmla="*/ 1116 h 1132"/>
                <a:gd name="T74" fmla="*/ 346 w 398"/>
                <a:gd name="T75" fmla="*/ 1124 h 1132"/>
                <a:gd name="T76" fmla="*/ 330 w 398"/>
                <a:gd name="T77" fmla="*/ 1130 h 1132"/>
                <a:gd name="T78" fmla="*/ 330 w 398"/>
                <a:gd name="T79" fmla="*/ 1130 h 1132"/>
                <a:gd name="T80" fmla="*/ 308 w 398"/>
                <a:gd name="T81" fmla="*/ 1132 h 1132"/>
                <a:gd name="T82" fmla="*/ 308 w 398"/>
                <a:gd name="T83" fmla="*/ 1132 h 1132"/>
                <a:gd name="T84" fmla="*/ 308 w 398"/>
                <a:gd name="T85" fmla="*/ 1132 h 1132"/>
                <a:gd name="T86" fmla="*/ 308 w 398"/>
                <a:gd name="T87" fmla="*/ 1132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1132">
                  <a:moveTo>
                    <a:pt x="308" y="1132"/>
                  </a:moveTo>
                  <a:lnTo>
                    <a:pt x="308" y="1132"/>
                  </a:lnTo>
                  <a:lnTo>
                    <a:pt x="294" y="1132"/>
                  </a:lnTo>
                  <a:lnTo>
                    <a:pt x="280" y="1128"/>
                  </a:lnTo>
                  <a:lnTo>
                    <a:pt x="266" y="1122"/>
                  </a:lnTo>
                  <a:lnTo>
                    <a:pt x="254" y="1114"/>
                  </a:lnTo>
                  <a:lnTo>
                    <a:pt x="242" y="1104"/>
                  </a:lnTo>
                  <a:lnTo>
                    <a:pt x="234" y="1092"/>
                  </a:lnTo>
                  <a:lnTo>
                    <a:pt x="226" y="1078"/>
                  </a:lnTo>
                  <a:lnTo>
                    <a:pt x="222" y="1064"/>
                  </a:lnTo>
                  <a:lnTo>
                    <a:pt x="2" y="110"/>
                  </a:lnTo>
                  <a:lnTo>
                    <a:pt x="2" y="110"/>
                  </a:lnTo>
                  <a:lnTo>
                    <a:pt x="0" y="92"/>
                  </a:lnTo>
                  <a:lnTo>
                    <a:pt x="0" y="74"/>
                  </a:lnTo>
                  <a:lnTo>
                    <a:pt x="6" y="58"/>
                  </a:lnTo>
                  <a:lnTo>
                    <a:pt x="12" y="42"/>
                  </a:lnTo>
                  <a:lnTo>
                    <a:pt x="24" y="28"/>
                  </a:lnTo>
                  <a:lnTo>
                    <a:pt x="36" y="18"/>
                  </a:lnTo>
                  <a:lnTo>
                    <a:pt x="52" y="8"/>
                  </a:lnTo>
                  <a:lnTo>
                    <a:pt x="68" y="2"/>
                  </a:lnTo>
                  <a:lnTo>
                    <a:pt x="68" y="2"/>
                  </a:lnTo>
                  <a:lnTo>
                    <a:pt x="86" y="0"/>
                  </a:lnTo>
                  <a:lnTo>
                    <a:pt x="104" y="2"/>
                  </a:lnTo>
                  <a:lnTo>
                    <a:pt x="120" y="6"/>
                  </a:lnTo>
                  <a:lnTo>
                    <a:pt x="136" y="14"/>
                  </a:lnTo>
                  <a:lnTo>
                    <a:pt x="150" y="24"/>
                  </a:lnTo>
                  <a:lnTo>
                    <a:pt x="162" y="38"/>
                  </a:lnTo>
                  <a:lnTo>
                    <a:pt x="170" y="52"/>
                  </a:lnTo>
                  <a:lnTo>
                    <a:pt x="176" y="70"/>
                  </a:lnTo>
                  <a:lnTo>
                    <a:pt x="396" y="1024"/>
                  </a:lnTo>
                  <a:lnTo>
                    <a:pt x="396" y="1024"/>
                  </a:lnTo>
                  <a:lnTo>
                    <a:pt x="398" y="1042"/>
                  </a:lnTo>
                  <a:lnTo>
                    <a:pt x="398" y="1058"/>
                  </a:lnTo>
                  <a:lnTo>
                    <a:pt x="392" y="1076"/>
                  </a:lnTo>
                  <a:lnTo>
                    <a:pt x="384" y="1090"/>
                  </a:lnTo>
                  <a:lnTo>
                    <a:pt x="374" y="1104"/>
                  </a:lnTo>
                  <a:lnTo>
                    <a:pt x="362" y="1116"/>
                  </a:lnTo>
                  <a:lnTo>
                    <a:pt x="346" y="1124"/>
                  </a:lnTo>
                  <a:lnTo>
                    <a:pt x="330" y="1130"/>
                  </a:lnTo>
                  <a:lnTo>
                    <a:pt x="330" y="1130"/>
                  </a:lnTo>
                  <a:lnTo>
                    <a:pt x="308" y="1132"/>
                  </a:lnTo>
                  <a:lnTo>
                    <a:pt x="308" y="1132"/>
                  </a:lnTo>
                  <a:close/>
                  <a:moveTo>
                    <a:pt x="308" y="1132"/>
                  </a:moveTo>
                  <a:lnTo>
                    <a:pt x="308" y="11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8" name="Freeform 57">
              <a:extLst>
                <a:ext uri="{FF2B5EF4-FFF2-40B4-BE49-F238E27FC236}">
                  <a16:creationId xmlns:a16="http://schemas.microsoft.com/office/drawing/2014/main" id="{8BCE7CEB-EB65-4BA6-8995-E22E95DEDC11}"/>
                </a:ext>
              </a:extLst>
            </p:cNvPr>
            <p:cNvSpPr>
              <a:spLocks/>
            </p:cNvSpPr>
            <p:nvPr/>
          </p:nvSpPr>
          <p:spPr bwMode="auto">
            <a:xfrm>
              <a:off x="-2994025" y="4213225"/>
              <a:ext cx="631825" cy="1797050"/>
            </a:xfrm>
            <a:custGeom>
              <a:avLst/>
              <a:gdLst>
                <a:gd name="T0" fmla="*/ 308 w 398"/>
                <a:gd name="T1" fmla="*/ 1132 h 1132"/>
                <a:gd name="T2" fmla="*/ 308 w 398"/>
                <a:gd name="T3" fmla="*/ 1132 h 1132"/>
                <a:gd name="T4" fmla="*/ 294 w 398"/>
                <a:gd name="T5" fmla="*/ 1132 h 1132"/>
                <a:gd name="T6" fmla="*/ 280 w 398"/>
                <a:gd name="T7" fmla="*/ 1128 h 1132"/>
                <a:gd name="T8" fmla="*/ 266 w 398"/>
                <a:gd name="T9" fmla="*/ 1122 h 1132"/>
                <a:gd name="T10" fmla="*/ 254 w 398"/>
                <a:gd name="T11" fmla="*/ 1114 h 1132"/>
                <a:gd name="T12" fmla="*/ 242 w 398"/>
                <a:gd name="T13" fmla="*/ 1104 h 1132"/>
                <a:gd name="T14" fmla="*/ 234 w 398"/>
                <a:gd name="T15" fmla="*/ 1092 h 1132"/>
                <a:gd name="T16" fmla="*/ 226 w 398"/>
                <a:gd name="T17" fmla="*/ 1078 h 1132"/>
                <a:gd name="T18" fmla="*/ 222 w 398"/>
                <a:gd name="T19" fmla="*/ 1064 h 1132"/>
                <a:gd name="T20" fmla="*/ 2 w 398"/>
                <a:gd name="T21" fmla="*/ 110 h 1132"/>
                <a:gd name="T22" fmla="*/ 2 w 398"/>
                <a:gd name="T23" fmla="*/ 110 h 1132"/>
                <a:gd name="T24" fmla="*/ 0 w 398"/>
                <a:gd name="T25" fmla="*/ 92 h 1132"/>
                <a:gd name="T26" fmla="*/ 0 w 398"/>
                <a:gd name="T27" fmla="*/ 74 h 1132"/>
                <a:gd name="T28" fmla="*/ 6 w 398"/>
                <a:gd name="T29" fmla="*/ 58 h 1132"/>
                <a:gd name="T30" fmla="*/ 12 w 398"/>
                <a:gd name="T31" fmla="*/ 42 h 1132"/>
                <a:gd name="T32" fmla="*/ 24 w 398"/>
                <a:gd name="T33" fmla="*/ 28 h 1132"/>
                <a:gd name="T34" fmla="*/ 36 w 398"/>
                <a:gd name="T35" fmla="*/ 18 h 1132"/>
                <a:gd name="T36" fmla="*/ 52 w 398"/>
                <a:gd name="T37" fmla="*/ 8 h 1132"/>
                <a:gd name="T38" fmla="*/ 68 w 398"/>
                <a:gd name="T39" fmla="*/ 2 h 1132"/>
                <a:gd name="T40" fmla="*/ 68 w 398"/>
                <a:gd name="T41" fmla="*/ 2 h 1132"/>
                <a:gd name="T42" fmla="*/ 86 w 398"/>
                <a:gd name="T43" fmla="*/ 0 h 1132"/>
                <a:gd name="T44" fmla="*/ 104 w 398"/>
                <a:gd name="T45" fmla="*/ 2 h 1132"/>
                <a:gd name="T46" fmla="*/ 120 w 398"/>
                <a:gd name="T47" fmla="*/ 6 h 1132"/>
                <a:gd name="T48" fmla="*/ 136 w 398"/>
                <a:gd name="T49" fmla="*/ 14 h 1132"/>
                <a:gd name="T50" fmla="*/ 150 w 398"/>
                <a:gd name="T51" fmla="*/ 24 h 1132"/>
                <a:gd name="T52" fmla="*/ 162 w 398"/>
                <a:gd name="T53" fmla="*/ 38 h 1132"/>
                <a:gd name="T54" fmla="*/ 170 w 398"/>
                <a:gd name="T55" fmla="*/ 52 h 1132"/>
                <a:gd name="T56" fmla="*/ 176 w 398"/>
                <a:gd name="T57" fmla="*/ 70 h 1132"/>
                <a:gd name="T58" fmla="*/ 396 w 398"/>
                <a:gd name="T59" fmla="*/ 1024 h 1132"/>
                <a:gd name="T60" fmla="*/ 396 w 398"/>
                <a:gd name="T61" fmla="*/ 1024 h 1132"/>
                <a:gd name="T62" fmla="*/ 398 w 398"/>
                <a:gd name="T63" fmla="*/ 1042 h 1132"/>
                <a:gd name="T64" fmla="*/ 398 w 398"/>
                <a:gd name="T65" fmla="*/ 1058 h 1132"/>
                <a:gd name="T66" fmla="*/ 392 w 398"/>
                <a:gd name="T67" fmla="*/ 1076 h 1132"/>
                <a:gd name="T68" fmla="*/ 384 w 398"/>
                <a:gd name="T69" fmla="*/ 1090 h 1132"/>
                <a:gd name="T70" fmla="*/ 374 w 398"/>
                <a:gd name="T71" fmla="*/ 1104 h 1132"/>
                <a:gd name="T72" fmla="*/ 362 w 398"/>
                <a:gd name="T73" fmla="*/ 1116 h 1132"/>
                <a:gd name="T74" fmla="*/ 346 w 398"/>
                <a:gd name="T75" fmla="*/ 1124 h 1132"/>
                <a:gd name="T76" fmla="*/ 330 w 398"/>
                <a:gd name="T77" fmla="*/ 1130 h 1132"/>
                <a:gd name="T78" fmla="*/ 330 w 398"/>
                <a:gd name="T79" fmla="*/ 1130 h 1132"/>
                <a:gd name="T80" fmla="*/ 308 w 398"/>
                <a:gd name="T81" fmla="*/ 1132 h 1132"/>
                <a:gd name="T82" fmla="*/ 308 w 398"/>
                <a:gd name="T83" fmla="*/ 1132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8" h="1132">
                  <a:moveTo>
                    <a:pt x="308" y="1132"/>
                  </a:moveTo>
                  <a:lnTo>
                    <a:pt x="308" y="1132"/>
                  </a:lnTo>
                  <a:lnTo>
                    <a:pt x="294" y="1132"/>
                  </a:lnTo>
                  <a:lnTo>
                    <a:pt x="280" y="1128"/>
                  </a:lnTo>
                  <a:lnTo>
                    <a:pt x="266" y="1122"/>
                  </a:lnTo>
                  <a:lnTo>
                    <a:pt x="254" y="1114"/>
                  </a:lnTo>
                  <a:lnTo>
                    <a:pt x="242" y="1104"/>
                  </a:lnTo>
                  <a:lnTo>
                    <a:pt x="234" y="1092"/>
                  </a:lnTo>
                  <a:lnTo>
                    <a:pt x="226" y="1078"/>
                  </a:lnTo>
                  <a:lnTo>
                    <a:pt x="222" y="1064"/>
                  </a:lnTo>
                  <a:lnTo>
                    <a:pt x="2" y="110"/>
                  </a:lnTo>
                  <a:lnTo>
                    <a:pt x="2" y="110"/>
                  </a:lnTo>
                  <a:lnTo>
                    <a:pt x="0" y="92"/>
                  </a:lnTo>
                  <a:lnTo>
                    <a:pt x="0" y="74"/>
                  </a:lnTo>
                  <a:lnTo>
                    <a:pt x="6" y="58"/>
                  </a:lnTo>
                  <a:lnTo>
                    <a:pt x="12" y="42"/>
                  </a:lnTo>
                  <a:lnTo>
                    <a:pt x="24" y="28"/>
                  </a:lnTo>
                  <a:lnTo>
                    <a:pt x="36" y="18"/>
                  </a:lnTo>
                  <a:lnTo>
                    <a:pt x="52" y="8"/>
                  </a:lnTo>
                  <a:lnTo>
                    <a:pt x="68" y="2"/>
                  </a:lnTo>
                  <a:lnTo>
                    <a:pt x="68" y="2"/>
                  </a:lnTo>
                  <a:lnTo>
                    <a:pt x="86" y="0"/>
                  </a:lnTo>
                  <a:lnTo>
                    <a:pt x="104" y="2"/>
                  </a:lnTo>
                  <a:lnTo>
                    <a:pt x="120" y="6"/>
                  </a:lnTo>
                  <a:lnTo>
                    <a:pt x="136" y="14"/>
                  </a:lnTo>
                  <a:lnTo>
                    <a:pt x="150" y="24"/>
                  </a:lnTo>
                  <a:lnTo>
                    <a:pt x="162" y="38"/>
                  </a:lnTo>
                  <a:lnTo>
                    <a:pt x="170" y="52"/>
                  </a:lnTo>
                  <a:lnTo>
                    <a:pt x="176" y="70"/>
                  </a:lnTo>
                  <a:lnTo>
                    <a:pt x="396" y="1024"/>
                  </a:lnTo>
                  <a:lnTo>
                    <a:pt x="396" y="1024"/>
                  </a:lnTo>
                  <a:lnTo>
                    <a:pt x="398" y="1042"/>
                  </a:lnTo>
                  <a:lnTo>
                    <a:pt x="398" y="1058"/>
                  </a:lnTo>
                  <a:lnTo>
                    <a:pt x="392" y="1076"/>
                  </a:lnTo>
                  <a:lnTo>
                    <a:pt x="384" y="1090"/>
                  </a:lnTo>
                  <a:lnTo>
                    <a:pt x="374" y="1104"/>
                  </a:lnTo>
                  <a:lnTo>
                    <a:pt x="362" y="1116"/>
                  </a:lnTo>
                  <a:lnTo>
                    <a:pt x="346" y="1124"/>
                  </a:lnTo>
                  <a:lnTo>
                    <a:pt x="330" y="1130"/>
                  </a:lnTo>
                  <a:lnTo>
                    <a:pt x="330" y="1130"/>
                  </a:lnTo>
                  <a:lnTo>
                    <a:pt x="308" y="1132"/>
                  </a:lnTo>
                  <a:lnTo>
                    <a:pt x="308" y="11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Line 58">
              <a:extLst>
                <a:ext uri="{FF2B5EF4-FFF2-40B4-BE49-F238E27FC236}">
                  <a16:creationId xmlns:a16="http://schemas.microsoft.com/office/drawing/2014/main" id="{6DFE4F4E-C3FB-4B71-86E6-FD796841597A}"/>
                </a:ext>
              </a:extLst>
            </p:cNvPr>
            <p:cNvSpPr>
              <a:spLocks noChangeShapeType="1"/>
            </p:cNvSpPr>
            <p:nvPr/>
          </p:nvSpPr>
          <p:spPr bwMode="auto">
            <a:xfrm>
              <a:off x="-2505075" y="601027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Line 61">
              <a:extLst>
                <a:ext uri="{FF2B5EF4-FFF2-40B4-BE49-F238E27FC236}">
                  <a16:creationId xmlns:a16="http://schemas.microsoft.com/office/drawing/2014/main" id="{FC6793BF-9955-4621-AEFF-04EAC931BFD6}"/>
                </a:ext>
              </a:extLst>
            </p:cNvPr>
            <p:cNvSpPr>
              <a:spLocks noChangeShapeType="1"/>
            </p:cNvSpPr>
            <p:nvPr/>
          </p:nvSpPr>
          <p:spPr bwMode="auto">
            <a:xfrm>
              <a:off x="-4235450" y="52959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62">
              <a:extLst>
                <a:ext uri="{FF2B5EF4-FFF2-40B4-BE49-F238E27FC236}">
                  <a16:creationId xmlns:a16="http://schemas.microsoft.com/office/drawing/2014/main" id="{3ABA420C-F45C-47A1-9D5C-236B9AFFB3BE}"/>
                </a:ext>
              </a:extLst>
            </p:cNvPr>
            <p:cNvSpPr>
              <a:spLocks noEditPoints="1"/>
            </p:cNvSpPr>
            <p:nvPr/>
          </p:nvSpPr>
          <p:spPr bwMode="auto">
            <a:xfrm>
              <a:off x="-4171950" y="2943225"/>
              <a:ext cx="2546350" cy="2254250"/>
            </a:xfrm>
            <a:custGeom>
              <a:avLst/>
              <a:gdLst>
                <a:gd name="T0" fmla="*/ 88 w 1604"/>
                <a:gd name="T1" fmla="*/ 1420 h 1420"/>
                <a:gd name="T2" fmla="*/ 88 w 1604"/>
                <a:gd name="T3" fmla="*/ 1420 h 1420"/>
                <a:gd name="T4" fmla="*/ 70 w 1604"/>
                <a:gd name="T5" fmla="*/ 1418 h 1420"/>
                <a:gd name="T6" fmla="*/ 52 w 1604"/>
                <a:gd name="T7" fmla="*/ 1412 h 1420"/>
                <a:gd name="T8" fmla="*/ 36 w 1604"/>
                <a:gd name="T9" fmla="*/ 1404 h 1420"/>
                <a:gd name="T10" fmla="*/ 22 w 1604"/>
                <a:gd name="T11" fmla="*/ 1390 h 1420"/>
                <a:gd name="T12" fmla="*/ 22 w 1604"/>
                <a:gd name="T13" fmla="*/ 1390 h 1420"/>
                <a:gd name="T14" fmla="*/ 10 w 1604"/>
                <a:gd name="T15" fmla="*/ 1376 h 1420"/>
                <a:gd name="T16" fmla="*/ 4 w 1604"/>
                <a:gd name="T17" fmla="*/ 1358 h 1420"/>
                <a:gd name="T18" fmla="*/ 0 w 1604"/>
                <a:gd name="T19" fmla="*/ 1342 h 1420"/>
                <a:gd name="T20" fmla="*/ 0 w 1604"/>
                <a:gd name="T21" fmla="*/ 1324 h 1420"/>
                <a:gd name="T22" fmla="*/ 2 w 1604"/>
                <a:gd name="T23" fmla="*/ 1308 h 1420"/>
                <a:gd name="T24" fmla="*/ 8 w 1604"/>
                <a:gd name="T25" fmla="*/ 1292 h 1420"/>
                <a:gd name="T26" fmla="*/ 18 w 1604"/>
                <a:gd name="T27" fmla="*/ 1276 h 1420"/>
                <a:gd name="T28" fmla="*/ 30 w 1604"/>
                <a:gd name="T29" fmla="*/ 1264 h 1420"/>
                <a:gd name="T30" fmla="*/ 1456 w 1604"/>
                <a:gd name="T31" fmla="*/ 22 h 1420"/>
                <a:gd name="T32" fmla="*/ 1456 w 1604"/>
                <a:gd name="T33" fmla="*/ 22 h 1420"/>
                <a:gd name="T34" fmla="*/ 1470 w 1604"/>
                <a:gd name="T35" fmla="*/ 12 h 1420"/>
                <a:gd name="T36" fmla="*/ 1486 w 1604"/>
                <a:gd name="T37" fmla="*/ 4 h 1420"/>
                <a:gd name="T38" fmla="*/ 1504 w 1604"/>
                <a:gd name="T39" fmla="*/ 0 h 1420"/>
                <a:gd name="T40" fmla="*/ 1520 w 1604"/>
                <a:gd name="T41" fmla="*/ 0 h 1420"/>
                <a:gd name="T42" fmla="*/ 1538 w 1604"/>
                <a:gd name="T43" fmla="*/ 2 h 1420"/>
                <a:gd name="T44" fmla="*/ 1554 w 1604"/>
                <a:gd name="T45" fmla="*/ 8 h 1420"/>
                <a:gd name="T46" fmla="*/ 1570 w 1604"/>
                <a:gd name="T47" fmla="*/ 18 h 1420"/>
                <a:gd name="T48" fmla="*/ 1582 w 1604"/>
                <a:gd name="T49" fmla="*/ 30 h 1420"/>
                <a:gd name="T50" fmla="*/ 1582 w 1604"/>
                <a:gd name="T51" fmla="*/ 30 h 1420"/>
                <a:gd name="T52" fmla="*/ 1592 w 1604"/>
                <a:gd name="T53" fmla="*/ 46 h 1420"/>
                <a:gd name="T54" fmla="*/ 1600 w 1604"/>
                <a:gd name="T55" fmla="*/ 62 h 1420"/>
                <a:gd name="T56" fmla="*/ 1604 w 1604"/>
                <a:gd name="T57" fmla="*/ 78 h 1420"/>
                <a:gd name="T58" fmla="*/ 1604 w 1604"/>
                <a:gd name="T59" fmla="*/ 96 h 1420"/>
                <a:gd name="T60" fmla="*/ 1602 w 1604"/>
                <a:gd name="T61" fmla="*/ 112 h 1420"/>
                <a:gd name="T62" fmla="*/ 1596 w 1604"/>
                <a:gd name="T63" fmla="*/ 128 h 1420"/>
                <a:gd name="T64" fmla="*/ 1586 w 1604"/>
                <a:gd name="T65" fmla="*/ 144 h 1420"/>
                <a:gd name="T66" fmla="*/ 1574 w 1604"/>
                <a:gd name="T67" fmla="*/ 156 h 1420"/>
                <a:gd name="T68" fmla="*/ 148 w 1604"/>
                <a:gd name="T69" fmla="*/ 1398 h 1420"/>
                <a:gd name="T70" fmla="*/ 148 w 1604"/>
                <a:gd name="T71" fmla="*/ 1398 h 1420"/>
                <a:gd name="T72" fmla="*/ 134 w 1604"/>
                <a:gd name="T73" fmla="*/ 1408 h 1420"/>
                <a:gd name="T74" fmla="*/ 120 w 1604"/>
                <a:gd name="T75" fmla="*/ 1416 h 1420"/>
                <a:gd name="T76" fmla="*/ 104 w 1604"/>
                <a:gd name="T77" fmla="*/ 1420 h 1420"/>
                <a:gd name="T78" fmla="*/ 88 w 1604"/>
                <a:gd name="T79" fmla="*/ 1420 h 1420"/>
                <a:gd name="T80" fmla="*/ 88 w 1604"/>
                <a:gd name="T81" fmla="*/ 1420 h 1420"/>
                <a:gd name="T82" fmla="*/ 88 w 1604"/>
                <a:gd name="T83" fmla="*/ 1420 h 1420"/>
                <a:gd name="T84" fmla="*/ 88 w 1604"/>
                <a:gd name="T85" fmla="*/ 1420 h 1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4" h="1420">
                  <a:moveTo>
                    <a:pt x="88" y="1420"/>
                  </a:moveTo>
                  <a:lnTo>
                    <a:pt x="88" y="1420"/>
                  </a:lnTo>
                  <a:lnTo>
                    <a:pt x="70" y="1418"/>
                  </a:lnTo>
                  <a:lnTo>
                    <a:pt x="52" y="1412"/>
                  </a:lnTo>
                  <a:lnTo>
                    <a:pt x="36" y="1404"/>
                  </a:lnTo>
                  <a:lnTo>
                    <a:pt x="22" y="1390"/>
                  </a:lnTo>
                  <a:lnTo>
                    <a:pt x="22" y="1390"/>
                  </a:lnTo>
                  <a:lnTo>
                    <a:pt x="10" y="1376"/>
                  </a:lnTo>
                  <a:lnTo>
                    <a:pt x="4" y="1358"/>
                  </a:lnTo>
                  <a:lnTo>
                    <a:pt x="0" y="1342"/>
                  </a:lnTo>
                  <a:lnTo>
                    <a:pt x="0" y="1324"/>
                  </a:lnTo>
                  <a:lnTo>
                    <a:pt x="2" y="1308"/>
                  </a:lnTo>
                  <a:lnTo>
                    <a:pt x="8" y="1292"/>
                  </a:lnTo>
                  <a:lnTo>
                    <a:pt x="18" y="1276"/>
                  </a:lnTo>
                  <a:lnTo>
                    <a:pt x="30" y="1264"/>
                  </a:lnTo>
                  <a:lnTo>
                    <a:pt x="1456" y="22"/>
                  </a:lnTo>
                  <a:lnTo>
                    <a:pt x="1456" y="22"/>
                  </a:lnTo>
                  <a:lnTo>
                    <a:pt x="1470" y="12"/>
                  </a:lnTo>
                  <a:lnTo>
                    <a:pt x="1486" y="4"/>
                  </a:lnTo>
                  <a:lnTo>
                    <a:pt x="1504" y="0"/>
                  </a:lnTo>
                  <a:lnTo>
                    <a:pt x="1520" y="0"/>
                  </a:lnTo>
                  <a:lnTo>
                    <a:pt x="1538" y="2"/>
                  </a:lnTo>
                  <a:lnTo>
                    <a:pt x="1554" y="8"/>
                  </a:lnTo>
                  <a:lnTo>
                    <a:pt x="1570" y="18"/>
                  </a:lnTo>
                  <a:lnTo>
                    <a:pt x="1582" y="30"/>
                  </a:lnTo>
                  <a:lnTo>
                    <a:pt x="1582" y="30"/>
                  </a:lnTo>
                  <a:lnTo>
                    <a:pt x="1592" y="46"/>
                  </a:lnTo>
                  <a:lnTo>
                    <a:pt x="1600" y="62"/>
                  </a:lnTo>
                  <a:lnTo>
                    <a:pt x="1604" y="78"/>
                  </a:lnTo>
                  <a:lnTo>
                    <a:pt x="1604" y="96"/>
                  </a:lnTo>
                  <a:lnTo>
                    <a:pt x="1602" y="112"/>
                  </a:lnTo>
                  <a:lnTo>
                    <a:pt x="1596" y="128"/>
                  </a:lnTo>
                  <a:lnTo>
                    <a:pt x="1586" y="144"/>
                  </a:lnTo>
                  <a:lnTo>
                    <a:pt x="1574" y="156"/>
                  </a:lnTo>
                  <a:lnTo>
                    <a:pt x="148" y="1398"/>
                  </a:lnTo>
                  <a:lnTo>
                    <a:pt x="148" y="1398"/>
                  </a:lnTo>
                  <a:lnTo>
                    <a:pt x="134" y="1408"/>
                  </a:lnTo>
                  <a:lnTo>
                    <a:pt x="120" y="1416"/>
                  </a:lnTo>
                  <a:lnTo>
                    <a:pt x="104" y="1420"/>
                  </a:lnTo>
                  <a:lnTo>
                    <a:pt x="88" y="1420"/>
                  </a:lnTo>
                  <a:lnTo>
                    <a:pt x="88" y="1420"/>
                  </a:lnTo>
                  <a:close/>
                  <a:moveTo>
                    <a:pt x="88" y="1420"/>
                  </a:moveTo>
                  <a:lnTo>
                    <a:pt x="88" y="142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2" name="Freeform 63">
              <a:extLst>
                <a:ext uri="{FF2B5EF4-FFF2-40B4-BE49-F238E27FC236}">
                  <a16:creationId xmlns:a16="http://schemas.microsoft.com/office/drawing/2014/main" id="{3E142842-D37A-4DFB-A10D-72C3BDA46F47}"/>
                </a:ext>
              </a:extLst>
            </p:cNvPr>
            <p:cNvSpPr>
              <a:spLocks/>
            </p:cNvSpPr>
            <p:nvPr/>
          </p:nvSpPr>
          <p:spPr bwMode="auto">
            <a:xfrm>
              <a:off x="-4171950" y="2943225"/>
              <a:ext cx="2546350" cy="2254250"/>
            </a:xfrm>
            <a:custGeom>
              <a:avLst/>
              <a:gdLst>
                <a:gd name="T0" fmla="*/ 88 w 1604"/>
                <a:gd name="T1" fmla="*/ 1420 h 1420"/>
                <a:gd name="T2" fmla="*/ 88 w 1604"/>
                <a:gd name="T3" fmla="*/ 1420 h 1420"/>
                <a:gd name="T4" fmla="*/ 70 w 1604"/>
                <a:gd name="T5" fmla="*/ 1418 h 1420"/>
                <a:gd name="T6" fmla="*/ 52 w 1604"/>
                <a:gd name="T7" fmla="*/ 1412 h 1420"/>
                <a:gd name="T8" fmla="*/ 36 w 1604"/>
                <a:gd name="T9" fmla="*/ 1404 h 1420"/>
                <a:gd name="T10" fmla="*/ 22 w 1604"/>
                <a:gd name="T11" fmla="*/ 1390 h 1420"/>
                <a:gd name="T12" fmla="*/ 22 w 1604"/>
                <a:gd name="T13" fmla="*/ 1390 h 1420"/>
                <a:gd name="T14" fmla="*/ 10 w 1604"/>
                <a:gd name="T15" fmla="*/ 1376 h 1420"/>
                <a:gd name="T16" fmla="*/ 4 w 1604"/>
                <a:gd name="T17" fmla="*/ 1358 h 1420"/>
                <a:gd name="T18" fmla="*/ 0 w 1604"/>
                <a:gd name="T19" fmla="*/ 1342 h 1420"/>
                <a:gd name="T20" fmla="*/ 0 w 1604"/>
                <a:gd name="T21" fmla="*/ 1324 h 1420"/>
                <a:gd name="T22" fmla="*/ 2 w 1604"/>
                <a:gd name="T23" fmla="*/ 1308 h 1420"/>
                <a:gd name="T24" fmla="*/ 8 w 1604"/>
                <a:gd name="T25" fmla="*/ 1292 h 1420"/>
                <a:gd name="T26" fmla="*/ 18 w 1604"/>
                <a:gd name="T27" fmla="*/ 1276 h 1420"/>
                <a:gd name="T28" fmla="*/ 30 w 1604"/>
                <a:gd name="T29" fmla="*/ 1264 h 1420"/>
                <a:gd name="T30" fmla="*/ 1456 w 1604"/>
                <a:gd name="T31" fmla="*/ 22 h 1420"/>
                <a:gd name="T32" fmla="*/ 1456 w 1604"/>
                <a:gd name="T33" fmla="*/ 22 h 1420"/>
                <a:gd name="T34" fmla="*/ 1470 w 1604"/>
                <a:gd name="T35" fmla="*/ 12 h 1420"/>
                <a:gd name="T36" fmla="*/ 1486 w 1604"/>
                <a:gd name="T37" fmla="*/ 4 h 1420"/>
                <a:gd name="T38" fmla="*/ 1504 w 1604"/>
                <a:gd name="T39" fmla="*/ 0 h 1420"/>
                <a:gd name="T40" fmla="*/ 1520 w 1604"/>
                <a:gd name="T41" fmla="*/ 0 h 1420"/>
                <a:gd name="T42" fmla="*/ 1538 w 1604"/>
                <a:gd name="T43" fmla="*/ 2 h 1420"/>
                <a:gd name="T44" fmla="*/ 1554 w 1604"/>
                <a:gd name="T45" fmla="*/ 8 h 1420"/>
                <a:gd name="T46" fmla="*/ 1570 w 1604"/>
                <a:gd name="T47" fmla="*/ 18 h 1420"/>
                <a:gd name="T48" fmla="*/ 1582 w 1604"/>
                <a:gd name="T49" fmla="*/ 30 h 1420"/>
                <a:gd name="T50" fmla="*/ 1582 w 1604"/>
                <a:gd name="T51" fmla="*/ 30 h 1420"/>
                <a:gd name="T52" fmla="*/ 1592 w 1604"/>
                <a:gd name="T53" fmla="*/ 46 h 1420"/>
                <a:gd name="T54" fmla="*/ 1600 w 1604"/>
                <a:gd name="T55" fmla="*/ 62 h 1420"/>
                <a:gd name="T56" fmla="*/ 1604 w 1604"/>
                <a:gd name="T57" fmla="*/ 78 h 1420"/>
                <a:gd name="T58" fmla="*/ 1604 w 1604"/>
                <a:gd name="T59" fmla="*/ 96 h 1420"/>
                <a:gd name="T60" fmla="*/ 1602 w 1604"/>
                <a:gd name="T61" fmla="*/ 112 h 1420"/>
                <a:gd name="T62" fmla="*/ 1596 w 1604"/>
                <a:gd name="T63" fmla="*/ 128 h 1420"/>
                <a:gd name="T64" fmla="*/ 1586 w 1604"/>
                <a:gd name="T65" fmla="*/ 144 h 1420"/>
                <a:gd name="T66" fmla="*/ 1574 w 1604"/>
                <a:gd name="T67" fmla="*/ 156 h 1420"/>
                <a:gd name="T68" fmla="*/ 148 w 1604"/>
                <a:gd name="T69" fmla="*/ 1398 h 1420"/>
                <a:gd name="T70" fmla="*/ 148 w 1604"/>
                <a:gd name="T71" fmla="*/ 1398 h 1420"/>
                <a:gd name="T72" fmla="*/ 134 w 1604"/>
                <a:gd name="T73" fmla="*/ 1408 h 1420"/>
                <a:gd name="T74" fmla="*/ 120 w 1604"/>
                <a:gd name="T75" fmla="*/ 1416 h 1420"/>
                <a:gd name="T76" fmla="*/ 104 w 1604"/>
                <a:gd name="T77" fmla="*/ 1420 h 1420"/>
                <a:gd name="T78" fmla="*/ 88 w 1604"/>
                <a:gd name="T79" fmla="*/ 1420 h 1420"/>
                <a:gd name="T80" fmla="*/ 88 w 1604"/>
                <a:gd name="T81" fmla="*/ 1420 h 1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4" h="1420">
                  <a:moveTo>
                    <a:pt x="88" y="1420"/>
                  </a:moveTo>
                  <a:lnTo>
                    <a:pt x="88" y="1420"/>
                  </a:lnTo>
                  <a:lnTo>
                    <a:pt x="70" y="1418"/>
                  </a:lnTo>
                  <a:lnTo>
                    <a:pt x="52" y="1412"/>
                  </a:lnTo>
                  <a:lnTo>
                    <a:pt x="36" y="1404"/>
                  </a:lnTo>
                  <a:lnTo>
                    <a:pt x="22" y="1390"/>
                  </a:lnTo>
                  <a:lnTo>
                    <a:pt x="22" y="1390"/>
                  </a:lnTo>
                  <a:lnTo>
                    <a:pt x="10" y="1376"/>
                  </a:lnTo>
                  <a:lnTo>
                    <a:pt x="4" y="1358"/>
                  </a:lnTo>
                  <a:lnTo>
                    <a:pt x="0" y="1342"/>
                  </a:lnTo>
                  <a:lnTo>
                    <a:pt x="0" y="1324"/>
                  </a:lnTo>
                  <a:lnTo>
                    <a:pt x="2" y="1308"/>
                  </a:lnTo>
                  <a:lnTo>
                    <a:pt x="8" y="1292"/>
                  </a:lnTo>
                  <a:lnTo>
                    <a:pt x="18" y="1276"/>
                  </a:lnTo>
                  <a:lnTo>
                    <a:pt x="30" y="1264"/>
                  </a:lnTo>
                  <a:lnTo>
                    <a:pt x="1456" y="22"/>
                  </a:lnTo>
                  <a:lnTo>
                    <a:pt x="1456" y="22"/>
                  </a:lnTo>
                  <a:lnTo>
                    <a:pt x="1470" y="12"/>
                  </a:lnTo>
                  <a:lnTo>
                    <a:pt x="1486" y="4"/>
                  </a:lnTo>
                  <a:lnTo>
                    <a:pt x="1504" y="0"/>
                  </a:lnTo>
                  <a:lnTo>
                    <a:pt x="1520" y="0"/>
                  </a:lnTo>
                  <a:lnTo>
                    <a:pt x="1538" y="2"/>
                  </a:lnTo>
                  <a:lnTo>
                    <a:pt x="1554" y="8"/>
                  </a:lnTo>
                  <a:lnTo>
                    <a:pt x="1570" y="18"/>
                  </a:lnTo>
                  <a:lnTo>
                    <a:pt x="1582" y="30"/>
                  </a:lnTo>
                  <a:lnTo>
                    <a:pt x="1582" y="30"/>
                  </a:lnTo>
                  <a:lnTo>
                    <a:pt x="1592" y="46"/>
                  </a:lnTo>
                  <a:lnTo>
                    <a:pt x="1600" y="62"/>
                  </a:lnTo>
                  <a:lnTo>
                    <a:pt x="1604" y="78"/>
                  </a:lnTo>
                  <a:lnTo>
                    <a:pt x="1604" y="96"/>
                  </a:lnTo>
                  <a:lnTo>
                    <a:pt x="1602" y="112"/>
                  </a:lnTo>
                  <a:lnTo>
                    <a:pt x="1596" y="128"/>
                  </a:lnTo>
                  <a:lnTo>
                    <a:pt x="1586" y="144"/>
                  </a:lnTo>
                  <a:lnTo>
                    <a:pt x="1574" y="156"/>
                  </a:lnTo>
                  <a:lnTo>
                    <a:pt x="148" y="1398"/>
                  </a:lnTo>
                  <a:lnTo>
                    <a:pt x="148" y="1398"/>
                  </a:lnTo>
                  <a:lnTo>
                    <a:pt x="134" y="1408"/>
                  </a:lnTo>
                  <a:lnTo>
                    <a:pt x="120" y="1416"/>
                  </a:lnTo>
                  <a:lnTo>
                    <a:pt x="104" y="1420"/>
                  </a:lnTo>
                  <a:lnTo>
                    <a:pt x="88" y="1420"/>
                  </a:lnTo>
                  <a:lnTo>
                    <a:pt x="88" y="14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Line 64">
              <a:extLst>
                <a:ext uri="{FF2B5EF4-FFF2-40B4-BE49-F238E27FC236}">
                  <a16:creationId xmlns:a16="http://schemas.microsoft.com/office/drawing/2014/main" id="{0C2AF9CD-E584-4B63-96ED-5876B2E5F6BF}"/>
                </a:ext>
              </a:extLst>
            </p:cNvPr>
            <p:cNvSpPr>
              <a:spLocks noChangeShapeType="1"/>
            </p:cNvSpPr>
            <p:nvPr/>
          </p:nvSpPr>
          <p:spPr bwMode="auto">
            <a:xfrm>
              <a:off x="-4032250" y="519747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Freeform 65">
              <a:extLst>
                <a:ext uri="{FF2B5EF4-FFF2-40B4-BE49-F238E27FC236}">
                  <a16:creationId xmlns:a16="http://schemas.microsoft.com/office/drawing/2014/main" id="{FE3A1E45-D22F-46A2-B234-544F0EC1D99D}"/>
                </a:ext>
              </a:extLst>
            </p:cNvPr>
            <p:cNvSpPr>
              <a:spLocks noEditPoints="1"/>
            </p:cNvSpPr>
            <p:nvPr/>
          </p:nvSpPr>
          <p:spPr bwMode="auto">
            <a:xfrm>
              <a:off x="-4616450" y="2339975"/>
              <a:ext cx="2098675" cy="2352675"/>
            </a:xfrm>
            <a:custGeom>
              <a:avLst/>
              <a:gdLst>
                <a:gd name="T0" fmla="*/ 1232 w 1322"/>
                <a:gd name="T1" fmla="*/ 1482 h 1482"/>
                <a:gd name="T2" fmla="*/ 1232 w 1322"/>
                <a:gd name="T3" fmla="*/ 1482 h 1482"/>
                <a:gd name="T4" fmla="*/ 1214 w 1322"/>
                <a:gd name="T5" fmla="*/ 1480 h 1482"/>
                <a:gd name="T6" fmla="*/ 1196 w 1322"/>
                <a:gd name="T7" fmla="*/ 1474 h 1482"/>
                <a:gd name="T8" fmla="*/ 1180 w 1322"/>
                <a:gd name="T9" fmla="*/ 1464 h 1482"/>
                <a:gd name="T10" fmla="*/ 1166 w 1322"/>
                <a:gd name="T11" fmla="*/ 1450 h 1482"/>
                <a:gd name="T12" fmla="*/ 22 w 1322"/>
                <a:gd name="T13" fmla="*/ 148 h 1482"/>
                <a:gd name="T14" fmla="*/ 22 w 1322"/>
                <a:gd name="T15" fmla="*/ 148 h 1482"/>
                <a:gd name="T16" fmla="*/ 12 w 1322"/>
                <a:gd name="T17" fmla="*/ 134 h 1482"/>
                <a:gd name="T18" fmla="*/ 4 w 1322"/>
                <a:gd name="T19" fmla="*/ 118 h 1482"/>
                <a:gd name="T20" fmla="*/ 0 w 1322"/>
                <a:gd name="T21" fmla="*/ 100 h 1482"/>
                <a:gd name="T22" fmla="*/ 0 w 1322"/>
                <a:gd name="T23" fmla="*/ 84 h 1482"/>
                <a:gd name="T24" fmla="*/ 2 w 1322"/>
                <a:gd name="T25" fmla="*/ 66 h 1482"/>
                <a:gd name="T26" fmla="*/ 8 w 1322"/>
                <a:gd name="T27" fmla="*/ 50 h 1482"/>
                <a:gd name="T28" fmla="*/ 18 w 1322"/>
                <a:gd name="T29" fmla="*/ 36 h 1482"/>
                <a:gd name="T30" fmla="*/ 30 w 1322"/>
                <a:gd name="T31" fmla="*/ 22 h 1482"/>
                <a:gd name="T32" fmla="*/ 30 w 1322"/>
                <a:gd name="T33" fmla="*/ 22 h 1482"/>
                <a:gd name="T34" fmla="*/ 46 w 1322"/>
                <a:gd name="T35" fmla="*/ 12 h 1482"/>
                <a:gd name="T36" fmla="*/ 62 w 1322"/>
                <a:gd name="T37" fmla="*/ 4 h 1482"/>
                <a:gd name="T38" fmla="*/ 78 w 1322"/>
                <a:gd name="T39" fmla="*/ 0 h 1482"/>
                <a:gd name="T40" fmla="*/ 96 w 1322"/>
                <a:gd name="T41" fmla="*/ 0 h 1482"/>
                <a:gd name="T42" fmla="*/ 112 w 1322"/>
                <a:gd name="T43" fmla="*/ 2 h 1482"/>
                <a:gd name="T44" fmla="*/ 128 w 1322"/>
                <a:gd name="T45" fmla="*/ 8 h 1482"/>
                <a:gd name="T46" fmla="*/ 144 w 1322"/>
                <a:gd name="T47" fmla="*/ 18 h 1482"/>
                <a:gd name="T48" fmla="*/ 156 w 1322"/>
                <a:gd name="T49" fmla="*/ 30 h 1482"/>
                <a:gd name="T50" fmla="*/ 1300 w 1322"/>
                <a:gd name="T51" fmla="*/ 1332 h 1482"/>
                <a:gd name="T52" fmla="*/ 1300 w 1322"/>
                <a:gd name="T53" fmla="*/ 1332 h 1482"/>
                <a:gd name="T54" fmla="*/ 1310 w 1322"/>
                <a:gd name="T55" fmla="*/ 1348 h 1482"/>
                <a:gd name="T56" fmla="*/ 1318 w 1322"/>
                <a:gd name="T57" fmla="*/ 1364 h 1482"/>
                <a:gd name="T58" fmla="*/ 1322 w 1322"/>
                <a:gd name="T59" fmla="*/ 1380 h 1482"/>
                <a:gd name="T60" fmla="*/ 1322 w 1322"/>
                <a:gd name="T61" fmla="*/ 1398 h 1482"/>
                <a:gd name="T62" fmla="*/ 1320 w 1322"/>
                <a:gd name="T63" fmla="*/ 1414 h 1482"/>
                <a:gd name="T64" fmla="*/ 1314 w 1322"/>
                <a:gd name="T65" fmla="*/ 1430 h 1482"/>
                <a:gd name="T66" fmla="*/ 1304 w 1322"/>
                <a:gd name="T67" fmla="*/ 1446 h 1482"/>
                <a:gd name="T68" fmla="*/ 1292 w 1322"/>
                <a:gd name="T69" fmla="*/ 1458 h 1482"/>
                <a:gd name="T70" fmla="*/ 1292 w 1322"/>
                <a:gd name="T71" fmla="*/ 1458 h 1482"/>
                <a:gd name="T72" fmla="*/ 1278 w 1322"/>
                <a:gd name="T73" fmla="*/ 1468 h 1482"/>
                <a:gd name="T74" fmla="*/ 1264 w 1322"/>
                <a:gd name="T75" fmla="*/ 1476 h 1482"/>
                <a:gd name="T76" fmla="*/ 1248 w 1322"/>
                <a:gd name="T77" fmla="*/ 1480 h 1482"/>
                <a:gd name="T78" fmla="*/ 1232 w 1322"/>
                <a:gd name="T79" fmla="*/ 1482 h 1482"/>
                <a:gd name="T80" fmla="*/ 1232 w 1322"/>
                <a:gd name="T81" fmla="*/ 1482 h 1482"/>
                <a:gd name="T82" fmla="*/ 1232 w 1322"/>
                <a:gd name="T83" fmla="*/ 1482 h 1482"/>
                <a:gd name="T84" fmla="*/ 1232 w 1322"/>
                <a:gd name="T85" fmla="*/ 1482 h 1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22" h="1482">
                  <a:moveTo>
                    <a:pt x="1232" y="1482"/>
                  </a:moveTo>
                  <a:lnTo>
                    <a:pt x="1232" y="1482"/>
                  </a:lnTo>
                  <a:lnTo>
                    <a:pt x="1214" y="1480"/>
                  </a:lnTo>
                  <a:lnTo>
                    <a:pt x="1196" y="1474"/>
                  </a:lnTo>
                  <a:lnTo>
                    <a:pt x="1180" y="1464"/>
                  </a:lnTo>
                  <a:lnTo>
                    <a:pt x="1166" y="1450"/>
                  </a:lnTo>
                  <a:lnTo>
                    <a:pt x="22" y="148"/>
                  </a:lnTo>
                  <a:lnTo>
                    <a:pt x="22" y="148"/>
                  </a:lnTo>
                  <a:lnTo>
                    <a:pt x="12" y="134"/>
                  </a:lnTo>
                  <a:lnTo>
                    <a:pt x="4" y="118"/>
                  </a:lnTo>
                  <a:lnTo>
                    <a:pt x="0" y="100"/>
                  </a:lnTo>
                  <a:lnTo>
                    <a:pt x="0" y="84"/>
                  </a:lnTo>
                  <a:lnTo>
                    <a:pt x="2" y="66"/>
                  </a:lnTo>
                  <a:lnTo>
                    <a:pt x="8" y="50"/>
                  </a:lnTo>
                  <a:lnTo>
                    <a:pt x="18" y="36"/>
                  </a:lnTo>
                  <a:lnTo>
                    <a:pt x="30" y="22"/>
                  </a:lnTo>
                  <a:lnTo>
                    <a:pt x="30" y="22"/>
                  </a:lnTo>
                  <a:lnTo>
                    <a:pt x="46" y="12"/>
                  </a:lnTo>
                  <a:lnTo>
                    <a:pt x="62" y="4"/>
                  </a:lnTo>
                  <a:lnTo>
                    <a:pt x="78" y="0"/>
                  </a:lnTo>
                  <a:lnTo>
                    <a:pt x="96" y="0"/>
                  </a:lnTo>
                  <a:lnTo>
                    <a:pt x="112" y="2"/>
                  </a:lnTo>
                  <a:lnTo>
                    <a:pt x="128" y="8"/>
                  </a:lnTo>
                  <a:lnTo>
                    <a:pt x="144" y="18"/>
                  </a:lnTo>
                  <a:lnTo>
                    <a:pt x="156" y="30"/>
                  </a:lnTo>
                  <a:lnTo>
                    <a:pt x="1300" y="1332"/>
                  </a:lnTo>
                  <a:lnTo>
                    <a:pt x="1300" y="1332"/>
                  </a:lnTo>
                  <a:lnTo>
                    <a:pt x="1310" y="1348"/>
                  </a:lnTo>
                  <a:lnTo>
                    <a:pt x="1318" y="1364"/>
                  </a:lnTo>
                  <a:lnTo>
                    <a:pt x="1322" y="1380"/>
                  </a:lnTo>
                  <a:lnTo>
                    <a:pt x="1322" y="1398"/>
                  </a:lnTo>
                  <a:lnTo>
                    <a:pt x="1320" y="1414"/>
                  </a:lnTo>
                  <a:lnTo>
                    <a:pt x="1314" y="1430"/>
                  </a:lnTo>
                  <a:lnTo>
                    <a:pt x="1304" y="1446"/>
                  </a:lnTo>
                  <a:lnTo>
                    <a:pt x="1292" y="1458"/>
                  </a:lnTo>
                  <a:lnTo>
                    <a:pt x="1292" y="1458"/>
                  </a:lnTo>
                  <a:lnTo>
                    <a:pt x="1278" y="1468"/>
                  </a:lnTo>
                  <a:lnTo>
                    <a:pt x="1264" y="1476"/>
                  </a:lnTo>
                  <a:lnTo>
                    <a:pt x="1248" y="1480"/>
                  </a:lnTo>
                  <a:lnTo>
                    <a:pt x="1232" y="1482"/>
                  </a:lnTo>
                  <a:lnTo>
                    <a:pt x="1232" y="1482"/>
                  </a:lnTo>
                  <a:close/>
                  <a:moveTo>
                    <a:pt x="1232" y="1482"/>
                  </a:moveTo>
                  <a:lnTo>
                    <a:pt x="1232" y="148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5" name="Freeform 66">
              <a:extLst>
                <a:ext uri="{FF2B5EF4-FFF2-40B4-BE49-F238E27FC236}">
                  <a16:creationId xmlns:a16="http://schemas.microsoft.com/office/drawing/2014/main" id="{C8C75279-E8E7-4D33-91D9-582EF061609B}"/>
                </a:ext>
              </a:extLst>
            </p:cNvPr>
            <p:cNvSpPr>
              <a:spLocks/>
            </p:cNvSpPr>
            <p:nvPr/>
          </p:nvSpPr>
          <p:spPr bwMode="auto">
            <a:xfrm>
              <a:off x="-4616450" y="2339975"/>
              <a:ext cx="2098675" cy="2352675"/>
            </a:xfrm>
            <a:custGeom>
              <a:avLst/>
              <a:gdLst>
                <a:gd name="T0" fmla="*/ 1232 w 1322"/>
                <a:gd name="T1" fmla="*/ 1482 h 1482"/>
                <a:gd name="T2" fmla="*/ 1232 w 1322"/>
                <a:gd name="T3" fmla="*/ 1482 h 1482"/>
                <a:gd name="T4" fmla="*/ 1214 w 1322"/>
                <a:gd name="T5" fmla="*/ 1480 h 1482"/>
                <a:gd name="T6" fmla="*/ 1196 w 1322"/>
                <a:gd name="T7" fmla="*/ 1474 h 1482"/>
                <a:gd name="T8" fmla="*/ 1180 w 1322"/>
                <a:gd name="T9" fmla="*/ 1464 h 1482"/>
                <a:gd name="T10" fmla="*/ 1166 w 1322"/>
                <a:gd name="T11" fmla="*/ 1450 h 1482"/>
                <a:gd name="T12" fmla="*/ 22 w 1322"/>
                <a:gd name="T13" fmla="*/ 148 h 1482"/>
                <a:gd name="T14" fmla="*/ 22 w 1322"/>
                <a:gd name="T15" fmla="*/ 148 h 1482"/>
                <a:gd name="T16" fmla="*/ 12 w 1322"/>
                <a:gd name="T17" fmla="*/ 134 h 1482"/>
                <a:gd name="T18" fmla="*/ 4 w 1322"/>
                <a:gd name="T19" fmla="*/ 118 h 1482"/>
                <a:gd name="T20" fmla="*/ 0 w 1322"/>
                <a:gd name="T21" fmla="*/ 100 h 1482"/>
                <a:gd name="T22" fmla="*/ 0 w 1322"/>
                <a:gd name="T23" fmla="*/ 84 h 1482"/>
                <a:gd name="T24" fmla="*/ 2 w 1322"/>
                <a:gd name="T25" fmla="*/ 66 h 1482"/>
                <a:gd name="T26" fmla="*/ 8 w 1322"/>
                <a:gd name="T27" fmla="*/ 50 h 1482"/>
                <a:gd name="T28" fmla="*/ 18 w 1322"/>
                <a:gd name="T29" fmla="*/ 36 h 1482"/>
                <a:gd name="T30" fmla="*/ 30 w 1322"/>
                <a:gd name="T31" fmla="*/ 22 h 1482"/>
                <a:gd name="T32" fmla="*/ 30 w 1322"/>
                <a:gd name="T33" fmla="*/ 22 h 1482"/>
                <a:gd name="T34" fmla="*/ 46 w 1322"/>
                <a:gd name="T35" fmla="*/ 12 h 1482"/>
                <a:gd name="T36" fmla="*/ 62 w 1322"/>
                <a:gd name="T37" fmla="*/ 4 h 1482"/>
                <a:gd name="T38" fmla="*/ 78 w 1322"/>
                <a:gd name="T39" fmla="*/ 0 h 1482"/>
                <a:gd name="T40" fmla="*/ 96 w 1322"/>
                <a:gd name="T41" fmla="*/ 0 h 1482"/>
                <a:gd name="T42" fmla="*/ 112 w 1322"/>
                <a:gd name="T43" fmla="*/ 2 h 1482"/>
                <a:gd name="T44" fmla="*/ 128 w 1322"/>
                <a:gd name="T45" fmla="*/ 8 h 1482"/>
                <a:gd name="T46" fmla="*/ 144 w 1322"/>
                <a:gd name="T47" fmla="*/ 18 h 1482"/>
                <a:gd name="T48" fmla="*/ 156 w 1322"/>
                <a:gd name="T49" fmla="*/ 30 h 1482"/>
                <a:gd name="T50" fmla="*/ 1300 w 1322"/>
                <a:gd name="T51" fmla="*/ 1332 h 1482"/>
                <a:gd name="T52" fmla="*/ 1300 w 1322"/>
                <a:gd name="T53" fmla="*/ 1332 h 1482"/>
                <a:gd name="T54" fmla="*/ 1310 w 1322"/>
                <a:gd name="T55" fmla="*/ 1348 h 1482"/>
                <a:gd name="T56" fmla="*/ 1318 w 1322"/>
                <a:gd name="T57" fmla="*/ 1364 h 1482"/>
                <a:gd name="T58" fmla="*/ 1322 w 1322"/>
                <a:gd name="T59" fmla="*/ 1380 h 1482"/>
                <a:gd name="T60" fmla="*/ 1322 w 1322"/>
                <a:gd name="T61" fmla="*/ 1398 h 1482"/>
                <a:gd name="T62" fmla="*/ 1320 w 1322"/>
                <a:gd name="T63" fmla="*/ 1414 h 1482"/>
                <a:gd name="T64" fmla="*/ 1314 w 1322"/>
                <a:gd name="T65" fmla="*/ 1430 h 1482"/>
                <a:gd name="T66" fmla="*/ 1304 w 1322"/>
                <a:gd name="T67" fmla="*/ 1446 h 1482"/>
                <a:gd name="T68" fmla="*/ 1292 w 1322"/>
                <a:gd name="T69" fmla="*/ 1458 h 1482"/>
                <a:gd name="T70" fmla="*/ 1292 w 1322"/>
                <a:gd name="T71" fmla="*/ 1458 h 1482"/>
                <a:gd name="T72" fmla="*/ 1278 w 1322"/>
                <a:gd name="T73" fmla="*/ 1468 h 1482"/>
                <a:gd name="T74" fmla="*/ 1264 w 1322"/>
                <a:gd name="T75" fmla="*/ 1476 h 1482"/>
                <a:gd name="T76" fmla="*/ 1248 w 1322"/>
                <a:gd name="T77" fmla="*/ 1480 h 1482"/>
                <a:gd name="T78" fmla="*/ 1232 w 1322"/>
                <a:gd name="T79" fmla="*/ 1482 h 1482"/>
                <a:gd name="T80" fmla="*/ 1232 w 1322"/>
                <a:gd name="T81" fmla="*/ 1482 h 1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22" h="1482">
                  <a:moveTo>
                    <a:pt x="1232" y="1482"/>
                  </a:moveTo>
                  <a:lnTo>
                    <a:pt x="1232" y="1482"/>
                  </a:lnTo>
                  <a:lnTo>
                    <a:pt x="1214" y="1480"/>
                  </a:lnTo>
                  <a:lnTo>
                    <a:pt x="1196" y="1474"/>
                  </a:lnTo>
                  <a:lnTo>
                    <a:pt x="1180" y="1464"/>
                  </a:lnTo>
                  <a:lnTo>
                    <a:pt x="1166" y="1450"/>
                  </a:lnTo>
                  <a:lnTo>
                    <a:pt x="22" y="148"/>
                  </a:lnTo>
                  <a:lnTo>
                    <a:pt x="22" y="148"/>
                  </a:lnTo>
                  <a:lnTo>
                    <a:pt x="12" y="134"/>
                  </a:lnTo>
                  <a:lnTo>
                    <a:pt x="4" y="118"/>
                  </a:lnTo>
                  <a:lnTo>
                    <a:pt x="0" y="100"/>
                  </a:lnTo>
                  <a:lnTo>
                    <a:pt x="0" y="84"/>
                  </a:lnTo>
                  <a:lnTo>
                    <a:pt x="2" y="66"/>
                  </a:lnTo>
                  <a:lnTo>
                    <a:pt x="8" y="50"/>
                  </a:lnTo>
                  <a:lnTo>
                    <a:pt x="18" y="36"/>
                  </a:lnTo>
                  <a:lnTo>
                    <a:pt x="30" y="22"/>
                  </a:lnTo>
                  <a:lnTo>
                    <a:pt x="30" y="22"/>
                  </a:lnTo>
                  <a:lnTo>
                    <a:pt x="46" y="12"/>
                  </a:lnTo>
                  <a:lnTo>
                    <a:pt x="62" y="4"/>
                  </a:lnTo>
                  <a:lnTo>
                    <a:pt x="78" y="0"/>
                  </a:lnTo>
                  <a:lnTo>
                    <a:pt x="96" y="0"/>
                  </a:lnTo>
                  <a:lnTo>
                    <a:pt x="112" y="2"/>
                  </a:lnTo>
                  <a:lnTo>
                    <a:pt x="128" y="8"/>
                  </a:lnTo>
                  <a:lnTo>
                    <a:pt x="144" y="18"/>
                  </a:lnTo>
                  <a:lnTo>
                    <a:pt x="156" y="30"/>
                  </a:lnTo>
                  <a:lnTo>
                    <a:pt x="1300" y="1332"/>
                  </a:lnTo>
                  <a:lnTo>
                    <a:pt x="1300" y="1332"/>
                  </a:lnTo>
                  <a:lnTo>
                    <a:pt x="1310" y="1348"/>
                  </a:lnTo>
                  <a:lnTo>
                    <a:pt x="1318" y="1364"/>
                  </a:lnTo>
                  <a:lnTo>
                    <a:pt x="1322" y="1380"/>
                  </a:lnTo>
                  <a:lnTo>
                    <a:pt x="1322" y="1398"/>
                  </a:lnTo>
                  <a:lnTo>
                    <a:pt x="1320" y="1414"/>
                  </a:lnTo>
                  <a:lnTo>
                    <a:pt x="1314" y="1430"/>
                  </a:lnTo>
                  <a:lnTo>
                    <a:pt x="1304" y="1446"/>
                  </a:lnTo>
                  <a:lnTo>
                    <a:pt x="1292" y="1458"/>
                  </a:lnTo>
                  <a:lnTo>
                    <a:pt x="1292" y="1458"/>
                  </a:lnTo>
                  <a:lnTo>
                    <a:pt x="1278" y="1468"/>
                  </a:lnTo>
                  <a:lnTo>
                    <a:pt x="1264" y="1476"/>
                  </a:lnTo>
                  <a:lnTo>
                    <a:pt x="1248" y="1480"/>
                  </a:lnTo>
                  <a:lnTo>
                    <a:pt x="1232" y="1482"/>
                  </a:lnTo>
                  <a:lnTo>
                    <a:pt x="1232" y="14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Line 67">
              <a:extLst>
                <a:ext uri="{FF2B5EF4-FFF2-40B4-BE49-F238E27FC236}">
                  <a16:creationId xmlns:a16="http://schemas.microsoft.com/office/drawing/2014/main" id="{5A595B14-F7CF-4D92-9A4C-B4C917A50C57}"/>
                </a:ext>
              </a:extLst>
            </p:cNvPr>
            <p:cNvSpPr>
              <a:spLocks noChangeShapeType="1"/>
            </p:cNvSpPr>
            <p:nvPr/>
          </p:nvSpPr>
          <p:spPr bwMode="auto">
            <a:xfrm>
              <a:off x="-2660650" y="46926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68">
              <a:extLst>
                <a:ext uri="{FF2B5EF4-FFF2-40B4-BE49-F238E27FC236}">
                  <a16:creationId xmlns:a16="http://schemas.microsoft.com/office/drawing/2014/main" id="{EA01D8A7-18A9-45D2-8F32-B02AA4210F2C}"/>
                </a:ext>
              </a:extLst>
            </p:cNvPr>
            <p:cNvSpPr>
              <a:spLocks noEditPoints="1"/>
            </p:cNvSpPr>
            <p:nvPr/>
          </p:nvSpPr>
          <p:spPr bwMode="auto">
            <a:xfrm>
              <a:off x="-1898650" y="4111625"/>
              <a:ext cx="1187450" cy="285750"/>
            </a:xfrm>
            <a:custGeom>
              <a:avLst/>
              <a:gdLst>
                <a:gd name="T0" fmla="*/ 660 w 748"/>
                <a:gd name="T1" fmla="*/ 180 h 180"/>
                <a:gd name="T2" fmla="*/ 88 w 748"/>
                <a:gd name="T3" fmla="*/ 180 h 180"/>
                <a:gd name="T4" fmla="*/ 88 w 748"/>
                <a:gd name="T5" fmla="*/ 180 h 180"/>
                <a:gd name="T6" fmla="*/ 70 w 748"/>
                <a:gd name="T7" fmla="*/ 178 h 180"/>
                <a:gd name="T8" fmla="*/ 54 w 748"/>
                <a:gd name="T9" fmla="*/ 172 h 180"/>
                <a:gd name="T10" fmla="*/ 38 w 748"/>
                <a:gd name="T11" fmla="*/ 164 h 180"/>
                <a:gd name="T12" fmla="*/ 26 w 748"/>
                <a:gd name="T13" fmla="*/ 154 h 180"/>
                <a:gd name="T14" fmla="*/ 14 w 748"/>
                <a:gd name="T15" fmla="*/ 140 h 180"/>
                <a:gd name="T16" fmla="*/ 6 w 748"/>
                <a:gd name="T17" fmla="*/ 124 h 180"/>
                <a:gd name="T18" fmla="*/ 0 w 748"/>
                <a:gd name="T19" fmla="*/ 108 h 180"/>
                <a:gd name="T20" fmla="*/ 0 w 748"/>
                <a:gd name="T21" fmla="*/ 90 h 180"/>
                <a:gd name="T22" fmla="*/ 0 w 748"/>
                <a:gd name="T23" fmla="*/ 90 h 180"/>
                <a:gd name="T24" fmla="*/ 0 w 748"/>
                <a:gd name="T25" fmla="*/ 72 h 180"/>
                <a:gd name="T26" fmla="*/ 6 w 748"/>
                <a:gd name="T27" fmla="*/ 56 h 180"/>
                <a:gd name="T28" fmla="*/ 14 w 748"/>
                <a:gd name="T29" fmla="*/ 40 h 180"/>
                <a:gd name="T30" fmla="*/ 26 w 748"/>
                <a:gd name="T31" fmla="*/ 26 h 180"/>
                <a:gd name="T32" fmla="*/ 38 w 748"/>
                <a:gd name="T33" fmla="*/ 16 h 180"/>
                <a:gd name="T34" fmla="*/ 54 w 748"/>
                <a:gd name="T35" fmla="*/ 8 h 180"/>
                <a:gd name="T36" fmla="*/ 70 w 748"/>
                <a:gd name="T37" fmla="*/ 2 h 180"/>
                <a:gd name="T38" fmla="*/ 88 w 748"/>
                <a:gd name="T39" fmla="*/ 0 h 180"/>
                <a:gd name="T40" fmla="*/ 660 w 748"/>
                <a:gd name="T41" fmla="*/ 0 h 180"/>
                <a:gd name="T42" fmla="*/ 660 w 748"/>
                <a:gd name="T43" fmla="*/ 0 h 180"/>
                <a:gd name="T44" fmla="*/ 678 w 748"/>
                <a:gd name="T45" fmla="*/ 2 h 180"/>
                <a:gd name="T46" fmla="*/ 694 w 748"/>
                <a:gd name="T47" fmla="*/ 8 h 180"/>
                <a:gd name="T48" fmla="*/ 710 w 748"/>
                <a:gd name="T49" fmla="*/ 16 h 180"/>
                <a:gd name="T50" fmla="*/ 722 w 748"/>
                <a:gd name="T51" fmla="*/ 26 h 180"/>
                <a:gd name="T52" fmla="*/ 734 w 748"/>
                <a:gd name="T53" fmla="*/ 40 h 180"/>
                <a:gd name="T54" fmla="*/ 742 w 748"/>
                <a:gd name="T55" fmla="*/ 56 h 180"/>
                <a:gd name="T56" fmla="*/ 748 w 748"/>
                <a:gd name="T57" fmla="*/ 72 h 180"/>
                <a:gd name="T58" fmla="*/ 748 w 748"/>
                <a:gd name="T59" fmla="*/ 90 h 180"/>
                <a:gd name="T60" fmla="*/ 748 w 748"/>
                <a:gd name="T61" fmla="*/ 90 h 180"/>
                <a:gd name="T62" fmla="*/ 748 w 748"/>
                <a:gd name="T63" fmla="*/ 108 h 180"/>
                <a:gd name="T64" fmla="*/ 742 w 748"/>
                <a:gd name="T65" fmla="*/ 124 h 180"/>
                <a:gd name="T66" fmla="*/ 734 w 748"/>
                <a:gd name="T67" fmla="*/ 140 h 180"/>
                <a:gd name="T68" fmla="*/ 722 w 748"/>
                <a:gd name="T69" fmla="*/ 154 h 180"/>
                <a:gd name="T70" fmla="*/ 710 w 748"/>
                <a:gd name="T71" fmla="*/ 164 h 180"/>
                <a:gd name="T72" fmla="*/ 694 w 748"/>
                <a:gd name="T73" fmla="*/ 172 h 180"/>
                <a:gd name="T74" fmla="*/ 678 w 748"/>
                <a:gd name="T75" fmla="*/ 178 h 180"/>
                <a:gd name="T76" fmla="*/ 660 w 748"/>
                <a:gd name="T77" fmla="*/ 180 h 180"/>
                <a:gd name="T78" fmla="*/ 660 w 748"/>
                <a:gd name="T79" fmla="*/ 180 h 180"/>
                <a:gd name="T80" fmla="*/ 660 w 748"/>
                <a:gd name="T81" fmla="*/ 180 h 180"/>
                <a:gd name="T82" fmla="*/ 660 w 748"/>
                <a:gd name="T83"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48" h="180">
                  <a:moveTo>
                    <a:pt x="660" y="180"/>
                  </a:moveTo>
                  <a:lnTo>
                    <a:pt x="88" y="180"/>
                  </a:lnTo>
                  <a:lnTo>
                    <a:pt x="88" y="180"/>
                  </a:lnTo>
                  <a:lnTo>
                    <a:pt x="70" y="178"/>
                  </a:lnTo>
                  <a:lnTo>
                    <a:pt x="54" y="172"/>
                  </a:lnTo>
                  <a:lnTo>
                    <a:pt x="38" y="164"/>
                  </a:lnTo>
                  <a:lnTo>
                    <a:pt x="26" y="154"/>
                  </a:lnTo>
                  <a:lnTo>
                    <a:pt x="14" y="140"/>
                  </a:lnTo>
                  <a:lnTo>
                    <a:pt x="6" y="124"/>
                  </a:lnTo>
                  <a:lnTo>
                    <a:pt x="0" y="108"/>
                  </a:lnTo>
                  <a:lnTo>
                    <a:pt x="0" y="90"/>
                  </a:lnTo>
                  <a:lnTo>
                    <a:pt x="0" y="90"/>
                  </a:lnTo>
                  <a:lnTo>
                    <a:pt x="0" y="72"/>
                  </a:lnTo>
                  <a:lnTo>
                    <a:pt x="6" y="56"/>
                  </a:lnTo>
                  <a:lnTo>
                    <a:pt x="14" y="40"/>
                  </a:lnTo>
                  <a:lnTo>
                    <a:pt x="26" y="26"/>
                  </a:lnTo>
                  <a:lnTo>
                    <a:pt x="38" y="16"/>
                  </a:lnTo>
                  <a:lnTo>
                    <a:pt x="54" y="8"/>
                  </a:lnTo>
                  <a:lnTo>
                    <a:pt x="70" y="2"/>
                  </a:lnTo>
                  <a:lnTo>
                    <a:pt x="88" y="0"/>
                  </a:lnTo>
                  <a:lnTo>
                    <a:pt x="660" y="0"/>
                  </a:lnTo>
                  <a:lnTo>
                    <a:pt x="660" y="0"/>
                  </a:lnTo>
                  <a:lnTo>
                    <a:pt x="678" y="2"/>
                  </a:lnTo>
                  <a:lnTo>
                    <a:pt x="694" y="8"/>
                  </a:lnTo>
                  <a:lnTo>
                    <a:pt x="710" y="16"/>
                  </a:lnTo>
                  <a:lnTo>
                    <a:pt x="722" y="26"/>
                  </a:lnTo>
                  <a:lnTo>
                    <a:pt x="734" y="40"/>
                  </a:lnTo>
                  <a:lnTo>
                    <a:pt x="742" y="56"/>
                  </a:lnTo>
                  <a:lnTo>
                    <a:pt x="748" y="72"/>
                  </a:lnTo>
                  <a:lnTo>
                    <a:pt x="748" y="90"/>
                  </a:lnTo>
                  <a:lnTo>
                    <a:pt x="748" y="90"/>
                  </a:lnTo>
                  <a:lnTo>
                    <a:pt x="748" y="108"/>
                  </a:lnTo>
                  <a:lnTo>
                    <a:pt x="742" y="124"/>
                  </a:lnTo>
                  <a:lnTo>
                    <a:pt x="734" y="140"/>
                  </a:lnTo>
                  <a:lnTo>
                    <a:pt x="722" y="154"/>
                  </a:lnTo>
                  <a:lnTo>
                    <a:pt x="710" y="164"/>
                  </a:lnTo>
                  <a:lnTo>
                    <a:pt x="694" y="172"/>
                  </a:lnTo>
                  <a:lnTo>
                    <a:pt x="678" y="178"/>
                  </a:lnTo>
                  <a:lnTo>
                    <a:pt x="660" y="180"/>
                  </a:lnTo>
                  <a:lnTo>
                    <a:pt x="660" y="180"/>
                  </a:lnTo>
                  <a:close/>
                  <a:moveTo>
                    <a:pt x="660" y="180"/>
                  </a:moveTo>
                  <a:lnTo>
                    <a:pt x="660" y="18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8" name="Line 70">
              <a:extLst>
                <a:ext uri="{FF2B5EF4-FFF2-40B4-BE49-F238E27FC236}">
                  <a16:creationId xmlns:a16="http://schemas.microsoft.com/office/drawing/2014/main" id="{DAB86D17-CDA6-47A4-91C8-770CDF3D5C07}"/>
                </a:ext>
              </a:extLst>
            </p:cNvPr>
            <p:cNvSpPr>
              <a:spLocks noChangeShapeType="1"/>
            </p:cNvSpPr>
            <p:nvPr/>
          </p:nvSpPr>
          <p:spPr bwMode="auto">
            <a:xfrm>
              <a:off x="-584200" y="439737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71">
              <a:extLst>
                <a:ext uri="{FF2B5EF4-FFF2-40B4-BE49-F238E27FC236}">
                  <a16:creationId xmlns:a16="http://schemas.microsoft.com/office/drawing/2014/main" id="{11187198-AC00-40B4-A51D-67D2AE961B72}"/>
                </a:ext>
              </a:extLst>
            </p:cNvPr>
            <p:cNvSpPr>
              <a:spLocks noEditPoints="1"/>
            </p:cNvSpPr>
            <p:nvPr/>
          </p:nvSpPr>
          <p:spPr bwMode="auto">
            <a:xfrm>
              <a:off x="-3860800" y="3324225"/>
              <a:ext cx="1857375" cy="1860550"/>
            </a:xfrm>
            <a:custGeom>
              <a:avLst/>
              <a:gdLst>
                <a:gd name="T0" fmla="*/ 1170 w 1170"/>
                <a:gd name="T1" fmla="*/ 616 h 1172"/>
                <a:gd name="T2" fmla="*/ 1160 w 1170"/>
                <a:gd name="T3" fmla="*/ 704 h 1172"/>
                <a:gd name="T4" fmla="*/ 1136 w 1170"/>
                <a:gd name="T5" fmla="*/ 788 h 1172"/>
                <a:gd name="T6" fmla="*/ 1100 w 1170"/>
                <a:gd name="T7" fmla="*/ 866 h 1172"/>
                <a:gd name="T8" fmla="*/ 1054 w 1170"/>
                <a:gd name="T9" fmla="*/ 936 h 1172"/>
                <a:gd name="T10" fmla="*/ 1000 w 1170"/>
                <a:gd name="T11" fmla="*/ 1000 h 1172"/>
                <a:gd name="T12" fmla="*/ 936 w 1170"/>
                <a:gd name="T13" fmla="*/ 1056 h 1172"/>
                <a:gd name="T14" fmla="*/ 864 w 1170"/>
                <a:gd name="T15" fmla="*/ 1102 h 1172"/>
                <a:gd name="T16" fmla="*/ 786 w 1170"/>
                <a:gd name="T17" fmla="*/ 1136 h 1172"/>
                <a:gd name="T18" fmla="*/ 704 w 1170"/>
                <a:gd name="T19" fmla="*/ 1160 h 1172"/>
                <a:gd name="T20" fmla="*/ 616 w 1170"/>
                <a:gd name="T21" fmla="*/ 1172 h 1172"/>
                <a:gd name="T22" fmla="*/ 554 w 1170"/>
                <a:gd name="T23" fmla="*/ 1172 h 1172"/>
                <a:gd name="T24" fmla="*/ 466 w 1170"/>
                <a:gd name="T25" fmla="*/ 1160 h 1172"/>
                <a:gd name="T26" fmla="*/ 384 w 1170"/>
                <a:gd name="T27" fmla="*/ 1136 h 1172"/>
                <a:gd name="T28" fmla="*/ 306 w 1170"/>
                <a:gd name="T29" fmla="*/ 1102 h 1172"/>
                <a:gd name="T30" fmla="*/ 234 w 1170"/>
                <a:gd name="T31" fmla="*/ 1056 h 1172"/>
                <a:gd name="T32" fmla="*/ 170 w 1170"/>
                <a:gd name="T33" fmla="*/ 1000 h 1172"/>
                <a:gd name="T34" fmla="*/ 116 w 1170"/>
                <a:gd name="T35" fmla="*/ 936 h 1172"/>
                <a:gd name="T36" fmla="*/ 70 w 1170"/>
                <a:gd name="T37" fmla="*/ 866 h 1172"/>
                <a:gd name="T38" fmla="*/ 34 w 1170"/>
                <a:gd name="T39" fmla="*/ 788 h 1172"/>
                <a:gd name="T40" fmla="*/ 10 w 1170"/>
                <a:gd name="T41" fmla="*/ 704 h 1172"/>
                <a:gd name="T42" fmla="*/ 0 w 1170"/>
                <a:gd name="T43" fmla="*/ 616 h 1172"/>
                <a:gd name="T44" fmla="*/ 0 w 1170"/>
                <a:gd name="T45" fmla="*/ 556 h 1172"/>
                <a:gd name="T46" fmla="*/ 10 w 1170"/>
                <a:gd name="T47" fmla="*/ 468 h 1172"/>
                <a:gd name="T48" fmla="*/ 34 w 1170"/>
                <a:gd name="T49" fmla="*/ 384 h 1172"/>
                <a:gd name="T50" fmla="*/ 70 w 1170"/>
                <a:gd name="T51" fmla="*/ 306 h 1172"/>
                <a:gd name="T52" fmla="*/ 116 w 1170"/>
                <a:gd name="T53" fmla="*/ 236 h 1172"/>
                <a:gd name="T54" fmla="*/ 170 w 1170"/>
                <a:gd name="T55" fmla="*/ 172 h 1172"/>
                <a:gd name="T56" fmla="*/ 234 w 1170"/>
                <a:gd name="T57" fmla="*/ 116 h 1172"/>
                <a:gd name="T58" fmla="*/ 306 w 1170"/>
                <a:gd name="T59" fmla="*/ 70 h 1172"/>
                <a:gd name="T60" fmla="*/ 384 w 1170"/>
                <a:gd name="T61" fmla="*/ 36 h 1172"/>
                <a:gd name="T62" fmla="*/ 466 w 1170"/>
                <a:gd name="T63" fmla="*/ 12 h 1172"/>
                <a:gd name="T64" fmla="*/ 554 w 1170"/>
                <a:gd name="T65" fmla="*/ 0 h 1172"/>
                <a:gd name="T66" fmla="*/ 616 w 1170"/>
                <a:gd name="T67" fmla="*/ 0 h 1172"/>
                <a:gd name="T68" fmla="*/ 704 w 1170"/>
                <a:gd name="T69" fmla="*/ 12 h 1172"/>
                <a:gd name="T70" fmla="*/ 786 w 1170"/>
                <a:gd name="T71" fmla="*/ 36 h 1172"/>
                <a:gd name="T72" fmla="*/ 864 w 1170"/>
                <a:gd name="T73" fmla="*/ 70 h 1172"/>
                <a:gd name="T74" fmla="*/ 936 w 1170"/>
                <a:gd name="T75" fmla="*/ 116 h 1172"/>
                <a:gd name="T76" fmla="*/ 1000 w 1170"/>
                <a:gd name="T77" fmla="*/ 172 h 1172"/>
                <a:gd name="T78" fmla="*/ 1054 w 1170"/>
                <a:gd name="T79" fmla="*/ 236 h 1172"/>
                <a:gd name="T80" fmla="*/ 1100 w 1170"/>
                <a:gd name="T81" fmla="*/ 306 h 1172"/>
                <a:gd name="T82" fmla="*/ 1136 w 1170"/>
                <a:gd name="T83" fmla="*/ 384 h 1172"/>
                <a:gd name="T84" fmla="*/ 1160 w 1170"/>
                <a:gd name="T85" fmla="*/ 468 h 1172"/>
                <a:gd name="T86" fmla="*/ 1170 w 1170"/>
                <a:gd name="T87" fmla="*/ 556 h 1172"/>
                <a:gd name="T88" fmla="*/ 1170 w 1170"/>
                <a:gd name="T89" fmla="*/ 586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70" h="1172">
                  <a:moveTo>
                    <a:pt x="1170" y="586"/>
                  </a:moveTo>
                  <a:lnTo>
                    <a:pt x="1170" y="586"/>
                  </a:lnTo>
                  <a:lnTo>
                    <a:pt x="1170" y="616"/>
                  </a:lnTo>
                  <a:lnTo>
                    <a:pt x="1168" y="646"/>
                  </a:lnTo>
                  <a:lnTo>
                    <a:pt x="1164" y="676"/>
                  </a:lnTo>
                  <a:lnTo>
                    <a:pt x="1160" y="704"/>
                  </a:lnTo>
                  <a:lnTo>
                    <a:pt x="1152" y="732"/>
                  </a:lnTo>
                  <a:lnTo>
                    <a:pt x="1144" y="760"/>
                  </a:lnTo>
                  <a:lnTo>
                    <a:pt x="1136" y="788"/>
                  </a:lnTo>
                  <a:lnTo>
                    <a:pt x="1124" y="814"/>
                  </a:lnTo>
                  <a:lnTo>
                    <a:pt x="1114" y="840"/>
                  </a:lnTo>
                  <a:lnTo>
                    <a:pt x="1100" y="866"/>
                  </a:lnTo>
                  <a:lnTo>
                    <a:pt x="1086" y="890"/>
                  </a:lnTo>
                  <a:lnTo>
                    <a:pt x="1070" y="914"/>
                  </a:lnTo>
                  <a:lnTo>
                    <a:pt x="1054" y="936"/>
                  </a:lnTo>
                  <a:lnTo>
                    <a:pt x="1038" y="958"/>
                  </a:lnTo>
                  <a:lnTo>
                    <a:pt x="1018" y="980"/>
                  </a:lnTo>
                  <a:lnTo>
                    <a:pt x="1000" y="1000"/>
                  </a:lnTo>
                  <a:lnTo>
                    <a:pt x="980" y="1020"/>
                  </a:lnTo>
                  <a:lnTo>
                    <a:pt x="958" y="1038"/>
                  </a:lnTo>
                  <a:lnTo>
                    <a:pt x="936" y="1056"/>
                  </a:lnTo>
                  <a:lnTo>
                    <a:pt x="912" y="1072"/>
                  </a:lnTo>
                  <a:lnTo>
                    <a:pt x="888" y="1088"/>
                  </a:lnTo>
                  <a:lnTo>
                    <a:pt x="864" y="1102"/>
                  </a:lnTo>
                  <a:lnTo>
                    <a:pt x="840" y="1114"/>
                  </a:lnTo>
                  <a:lnTo>
                    <a:pt x="814" y="1126"/>
                  </a:lnTo>
                  <a:lnTo>
                    <a:pt x="786" y="1136"/>
                  </a:lnTo>
                  <a:lnTo>
                    <a:pt x="760" y="1146"/>
                  </a:lnTo>
                  <a:lnTo>
                    <a:pt x="732" y="1154"/>
                  </a:lnTo>
                  <a:lnTo>
                    <a:pt x="704" y="1160"/>
                  </a:lnTo>
                  <a:lnTo>
                    <a:pt x="674" y="1166"/>
                  </a:lnTo>
                  <a:lnTo>
                    <a:pt x="644" y="1170"/>
                  </a:lnTo>
                  <a:lnTo>
                    <a:pt x="616" y="1172"/>
                  </a:lnTo>
                  <a:lnTo>
                    <a:pt x="586" y="1172"/>
                  </a:lnTo>
                  <a:lnTo>
                    <a:pt x="586" y="1172"/>
                  </a:lnTo>
                  <a:lnTo>
                    <a:pt x="554" y="1172"/>
                  </a:lnTo>
                  <a:lnTo>
                    <a:pt x="526" y="1170"/>
                  </a:lnTo>
                  <a:lnTo>
                    <a:pt x="496" y="1166"/>
                  </a:lnTo>
                  <a:lnTo>
                    <a:pt x="466" y="1160"/>
                  </a:lnTo>
                  <a:lnTo>
                    <a:pt x="438" y="1154"/>
                  </a:lnTo>
                  <a:lnTo>
                    <a:pt x="410" y="1146"/>
                  </a:lnTo>
                  <a:lnTo>
                    <a:pt x="384" y="1136"/>
                  </a:lnTo>
                  <a:lnTo>
                    <a:pt x="356" y="1126"/>
                  </a:lnTo>
                  <a:lnTo>
                    <a:pt x="330" y="1114"/>
                  </a:lnTo>
                  <a:lnTo>
                    <a:pt x="306" y="1102"/>
                  </a:lnTo>
                  <a:lnTo>
                    <a:pt x="282" y="1088"/>
                  </a:lnTo>
                  <a:lnTo>
                    <a:pt x="258" y="1072"/>
                  </a:lnTo>
                  <a:lnTo>
                    <a:pt x="234" y="1056"/>
                  </a:lnTo>
                  <a:lnTo>
                    <a:pt x="212" y="1038"/>
                  </a:lnTo>
                  <a:lnTo>
                    <a:pt x="192" y="1020"/>
                  </a:lnTo>
                  <a:lnTo>
                    <a:pt x="170" y="1000"/>
                  </a:lnTo>
                  <a:lnTo>
                    <a:pt x="152" y="980"/>
                  </a:lnTo>
                  <a:lnTo>
                    <a:pt x="132" y="958"/>
                  </a:lnTo>
                  <a:lnTo>
                    <a:pt x="116" y="936"/>
                  </a:lnTo>
                  <a:lnTo>
                    <a:pt x="100" y="914"/>
                  </a:lnTo>
                  <a:lnTo>
                    <a:pt x="84" y="890"/>
                  </a:lnTo>
                  <a:lnTo>
                    <a:pt x="70" y="866"/>
                  </a:lnTo>
                  <a:lnTo>
                    <a:pt x="56" y="840"/>
                  </a:lnTo>
                  <a:lnTo>
                    <a:pt x="46" y="814"/>
                  </a:lnTo>
                  <a:lnTo>
                    <a:pt x="34" y="788"/>
                  </a:lnTo>
                  <a:lnTo>
                    <a:pt x="26" y="760"/>
                  </a:lnTo>
                  <a:lnTo>
                    <a:pt x="18" y="732"/>
                  </a:lnTo>
                  <a:lnTo>
                    <a:pt x="10" y="704"/>
                  </a:lnTo>
                  <a:lnTo>
                    <a:pt x="6" y="676"/>
                  </a:lnTo>
                  <a:lnTo>
                    <a:pt x="2" y="646"/>
                  </a:lnTo>
                  <a:lnTo>
                    <a:pt x="0" y="616"/>
                  </a:lnTo>
                  <a:lnTo>
                    <a:pt x="0" y="586"/>
                  </a:lnTo>
                  <a:lnTo>
                    <a:pt x="0" y="586"/>
                  </a:lnTo>
                  <a:lnTo>
                    <a:pt x="0" y="556"/>
                  </a:lnTo>
                  <a:lnTo>
                    <a:pt x="2" y="526"/>
                  </a:lnTo>
                  <a:lnTo>
                    <a:pt x="6" y="496"/>
                  </a:lnTo>
                  <a:lnTo>
                    <a:pt x="10" y="468"/>
                  </a:lnTo>
                  <a:lnTo>
                    <a:pt x="18" y="440"/>
                  </a:lnTo>
                  <a:lnTo>
                    <a:pt x="26" y="412"/>
                  </a:lnTo>
                  <a:lnTo>
                    <a:pt x="34" y="384"/>
                  </a:lnTo>
                  <a:lnTo>
                    <a:pt x="46" y="358"/>
                  </a:lnTo>
                  <a:lnTo>
                    <a:pt x="56" y="332"/>
                  </a:lnTo>
                  <a:lnTo>
                    <a:pt x="70" y="306"/>
                  </a:lnTo>
                  <a:lnTo>
                    <a:pt x="84" y="282"/>
                  </a:lnTo>
                  <a:lnTo>
                    <a:pt x="100" y="258"/>
                  </a:lnTo>
                  <a:lnTo>
                    <a:pt x="116" y="236"/>
                  </a:lnTo>
                  <a:lnTo>
                    <a:pt x="132" y="214"/>
                  </a:lnTo>
                  <a:lnTo>
                    <a:pt x="152" y="192"/>
                  </a:lnTo>
                  <a:lnTo>
                    <a:pt x="170" y="172"/>
                  </a:lnTo>
                  <a:lnTo>
                    <a:pt x="192" y="152"/>
                  </a:lnTo>
                  <a:lnTo>
                    <a:pt x="212" y="134"/>
                  </a:lnTo>
                  <a:lnTo>
                    <a:pt x="234" y="116"/>
                  </a:lnTo>
                  <a:lnTo>
                    <a:pt x="258" y="100"/>
                  </a:lnTo>
                  <a:lnTo>
                    <a:pt x="282" y="84"/>
                  </a:lnTo>
                  <a:lnTo>
                    <a:pt x="306" y="70"/>
                  </a:lnTo>
                  <a:lnTo>
                    <a:pt x="330" y="58"/>
                  </a:lnTo>
                  <a:lnTo>
                    <a:pt x="356" y="46"/>
                  </a:lnTo>
                  <a:lnTo>
                    <a:pt x="384" y="36"/>
                  </a:lnTo>
                  <a:lnTo>
                    <a:pt x="410" y="26"/>
                  </a:lnTo>
                  <a:lnTo>
                    <a:pt x="438" y="18"/>
                  </a:lnTo>
                  <a:lnTo>
                    <a:pt x="466" y="12"/>
                  </a:lnTo>
                  <a:lnTo>
                    <a:pt x="496" y="6"/>
                  </a:lnTo>
                  <a:lnTo>
                    <a:pt x="526" y="4"/>
                  </a:lnTo>
                  <a:lnTo>
                    <a:pt x="554" y="0"/>
                  </a:lnTo>
                  <a:lnTo>
                    <a:pt x="586" y="0"/>
                  </a:lnTo>
                  <a:lnTo>
                    <a:pt x="586" y="0"/>
                  </a:lnTo>
                  <a:lnTo>
                    <a:pt x="616" y="0"/>
                  </a:lnTo>
                  <a:lnTo>
                    <a:pt x="644" y="4"/>
                  </a:lnTo>
                  <a:lnTo>
                    <a:pt x="674" y="6"/>
                  </a:lnTo>
                  <a:lnTo>
                    <a:pt x="704" y="12"/>
                  </a:lnTo>
                  <a:lnTo>
                    <a:pt x="732" y="18"/>
                  </a:lnTo>
                  <a:lnTo>
                    <a:pt x="760" y="26"/>
                  </a:lnTo>
                  <a:lnTo>
                    <a:pt x="786" y="36"/>
                  </a:lnTo>
                  <a:lnTo>
                    <a:pt x="814" y="46"/>
                  </a:lnTo>
                  <a:lnTo>
                    <a:pt x="840" y="58"/>
                  </a:lnTo>
                  <a:lnTo>
                    <a:pt x="864" y="70"/>
                  </a:lnTo>
                  <a:lnTo>
                    <a:pt x="888" y="84"/>
                  </a:lnTo>
                  <a:lnTo>
                    <a:pt x="912" y="100"/>
                  </a:lnTo>
                  <a:lnTo>
                    <a:pt x="936" y="116"/>
                  </a:lnTo>
                  <a:lnTo>
                    <a:pt x="958" y="134"/>
                  </a:lnTo>
                  <a:lnTo>
                    <a:pt x="980" y="152"/>
                  </a:lnTo>
                  <a:lnTo>
                    <a:pt x="1000" y="172"/>
                  </a:lnTo>
                  <a:lnTo>
                    <a:pt x="1018" y="192"/>
                  </a:lnTo>
                  <a:lnTo>
                    <a:pt x="1038" y="214"/>
                  </a:lnTo>
                  <a:lnTo>
                    <a:pt x="1054" y="236"/>
                  </a:lnTo>
                  <a:lnTo>
                    <a:pt x="1070" y="258"/>
                  </a:lnTo>
                  <a:lnTo>
                    <a:pt x="1086" y="282"/>
                  </a:lnTo>
                  <a:lnTo>
                    <a:pt x="1100" y="306"/>
                  </a:lnTo>
                  <a:lnTo>
                    <a:pt x="1114" y="332"/>
                  </a:lnTo>
                  <a:lnTo>
                    <a:pt x="1124" y="358"/>
                  </a:lnTo>
                  <a:lnTo>
                    <a:pt x="1136" y="384"/>
                  </a:lnTo>
                  <a:lnTo>
                    <a:pt x="1144" y="412"/>
                  </a:lnTo>
                  <a:lnTo>
                    <a:pt x="1152" y="440"/>
                  </a:lnTo>
                  <a:lnTo>
                    <a:pt x="1160" y="468"/>
                  </a:lnTo>
                  <a:lnTo>
                    <a:pt x="1164" y="496"/>
                  </a:lnTo>
                  <a:lnTo>
                    <a:pt x="1168" y="526"/>
                  </a:lnTo>
                  <a:lnTo>
                    <a:pt x="1170" y="556"/>
                  </a:lnTo>
                  <a:lnTo>
                    <a:pt x="1170" y="586"/>
                  </a:lnTo>
                  <a:lnTo>
                    <a:pt x="1170" y="586"/>
                  </a:lnTo>
                  <a:close/>
                  <a:moveTo>
                    <a:pt x="1170" y="586"/>
                  </a:moveTo>
                  <a:lnTo>
                    <a:pt x="1170" y="586"/>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0" name="Freeform 72">
              <a:extLst>
                <a:ext uri="{FF2B5EF4-FFF2-40B4-BE49-F238E27FC236}">
                  <a16:creationId xmlns:a16="http://schemas.microsoft.com/office/drawing/2014/main" id="{DA300858-25A6-40E7-A39B-45562F7EB013}"/>
                </a:ext>
              </a:extLst>
            </p:cNvPr>
            <p:cNvSpPr>
              <a:spLocks/>
            </p:cNvSpPr>
            <p:nvPr/>
          </p:nvSpPr>
          <p:spPr bwMode="auto">
            <a:xfrm>
              <a:off x="-3860800" y="3324225"/>
              <a:ext cx="1857375" cy="1860550"/>
            </a:xfrm>
            <a:custGeom>
              <a:avLst/>
              <a:gdLst>
                <a:gd name="T0" fmla="*/ 1170 w 1170"/>
                <a:gd name="T1" fmla="*/ 616 h 1172"/>
                <a:gd name="T2" fmla="*/ 1160 w 1170"/>
                <a:gd name="T3" fmla="*/ 704 h 1172"/>
                <a:gd name="T4" fmla="*/ 1136 w 1170"/>
                <a:gd name="T5" fmla="*/ 788 h 1172"/>
                <a:gd name="T6" fmla="*/ 1100 w 1170"/>
                <a:gd name="T7" fmla="*/ 866 h 1172"/>
                <a:gd name="T8" fmla="*/ 1054 w 1170"/>
                <a:gd name="T9" fmla="*/ 936 h 1172"/>
                <a:gd name="T10" fmla="*/ 1000 w 1170"/>
                <a:gd name="T11" fmla="*/ 1000 h 1172"/>
                <a:gd name="T12" fmla="*/ 936 w 1170"/>
                <a:gd name="T13" fmla="*/ 1056 h 1172"/>
                <a:gd name="T14" fmla="*/ 864 w 1170"/>
                <a:gd name="T15" fmla="*/ 1102 h 1172"/>
                <a:gd name="T16" fmla="*/ 786 w 1170"/>
                <a:gd name="T17" fmla="*/ 1136 h 1172"/>
                <a:gd name="T18" fmla="*/ 704 w 1170"/>
                <a:gd name="T19" fmla="*/ 1160 h 1172"/>
                <a:gd name="T20" fmla="*/ 616 w 1170"/>
                <a:gd name="T21" fmla="*/ 1172 h 1172"/>
                <a:gd name="T22" fmla="*/ 554 w 1170"/>
                <a:gd name="T23" fmla="*/ 1172 h 1172"/>
                <a:gd name="T24" fmla="*/ 466 w 1170"/>
                <a:gd name="T25" fmla="*/ 1160 h 1172"/>
                <a:gd name="T26" fmla="*/ 384 w 1170"/>
                <a:gd name="T27" fmla="*/ 1136 h 1172"/>
                <a:gd name="T28" fmla="*/ 306 w 1170"/>
                <a:gd name="T29" fmla="*/ 1102 h 1172"/>
                <a:gd name="T30" fmla="*/ 234 w 1170"/>
                <a:gd name="T31" fmla="*/ 1056 h 1172"/>
                <a:gd name="T32" fmla="*/ 170 w 1170"/>
                <a:gd name="T33" fmla="*/ 1000 h 1172"/>
                <a:gd name="T34" fmla="*/ 116 w 1170"/>
                <a:gd name="T35" fmla="*/ 936 h 1172"/>
                <a:gd name="T36" fmla="*/ 70 w 1170"/>
                <a:gd name="T37" fmla="*/ 866 h 1172"/>
                <a:gd name="T38" fmla="*/ 34 w 1170"/>
                <a:gd name="T39" fmla="*/ 788 h 1172"/>
                <a:gd name="T40" fmla="*/ 10 w 1170"/>
                <a:gd name="T41" fmla="*/ 704 h 1172"/>
                <a:gd name="T42" fmla="*/ 0 w 1170"/>
                <a:gd name="T43" fmla="*/ 616 h 1172"/>
                <a:gd name="T44" fmla="*/ 0 w 1170"/>
                <a:gd name="T45" fmla="*/ 556 h 1172"/>
                <a:gd name="T46" fmla="*/ 10 w 1170"/>
                <a:gd name="T47" fmla="*/ 468 h 1172"/>
                <a:gd name="T48" fmla="*/ 34 w 1170"/>
                <a:gd name="T49" fmla="*/ 384 h 1172"/>
                <a:gd name="T50" fmla="*/ 70 w 1170"/>
                <a:gd name="T51" fmla="*/ 306 h 1172"/>
                <a:gd name="T52" fmla="*/ 116 w 1170"/>
                <a:gd name="T53" fmla="*/ 236 h 1172"/>
                <a:gd name="T54" fmla="*/ 170 w 1170"/>
                <a:gd name="T55" fmla="*/ 172 h 1172"/>
                <a:gd name="T56" fmla="*/ 234 w 1170"/>
                <a:gd name="T57" fmla="*/ 116 h 1172"/>
                <a:gd name="T58" fmla="*/ 306 w 1170"/>
                <a:gd name="T59" fmla="*/ 70 h 1172"/>
                <a:gd name="T60" fmla="*/ 384 w 1170"/>
                <a:gd name="T61" fmla="*/ 36 h 1172"/>
                <a:gd name="T62" fmla="*/ 466 w 1170"/>
                <a:gd name="T63" fmla="*/ 12 h 1172"/>
                <a:gd name="T64" fmla="*/ 554 w 1170"/>
                <a:gd name="T65" fmla="*/ 0 h 1172"/>
                <a:gd name="T66" fmla="*/ 616 w 1170"/>
                <a:gd name="T67" fmla="*/ 0 h 1172"/>
                <a:gd name="T68" fmla="*/ 704 w 1170"/>
                <a:gd name="T69" fmla="*/ 12 h 1172"/>
                <a:gd name="T70" fmla="*/ 786 w 1170"/>
                <a:gd name="T71" fmla="*/ 36 h 1172"/>
                <a:gd name="T72" fmla="*/ 864 w 1170"/>
                <a:gd name="T73" fmla="*/ 70 h 1172"/>
                <a:gd name="T74" fmla="*/ 936 w 1170"/>
                <a:gd name="T75" fmla="*/ 116 h 1172"/>
                <a:gd name="T76" fmla="*/ 1000 w 1170"/>
                <a:gd name="T77" fmla="*/ 172 h 1172"/>
                <a:gd name="T78" fmla="*/ 1054 w 1170"/>
                <a:gd name="T79" fmla="*/ 236 h 1172"/>
                <a:gd name="T80" fmla="*/ 1100 w 1170"/>
                <a:gd name="T81" fmla="*/ 306 h 1172"/>
                <a:gd name="T82" fmla="*/ 1136 w 1170"/>
                <a:gd name="T83" fmla="*/ 384 h 1172"/>
                <a:gd name="T84" fmla="*/ 1160 w 1170"/>
                <a:gd name="T85" fmla="*/ 468 h 1172"/>
                <a:gd name="T86" fmla="*/ 1170 w 1170"/>
                <a:gd name="T87" fmla="*/ 556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70" h="1172">
                  <a:moveTo>
                    <a:pt x="1170" y="586"/>
                  </a:moveTo>
                  <a:lnTo>
                    <a:pt x="1170" y="586"/>
                  </a:lnTo>
                  <a:lnTo>
                    <a:pt x="1170" y="616"/>
                  </a:lnTo>
                  <a:lnTo>
                    <a:pt x="1168" y="646"/>
                  </a:lnTo>
                  <a:lnTo>
                    <a:pt x="1164" y="676"/>
                  </a:lnTo>
                  <a:lnTo>
                    <a:pt x="1160" y="704"/>
                  </a:lnTo>
                  <a:lnTo>
                    <a:pt x="1152" y="732"/>
                  </a:lnTo>
                  <a:lnTo>
                    <a:pt x="1144" y="760"/>
                  </a:lnTo>
                  <a:lnTo>
                    <a:pt x="1136" y="788"/>
                  </a:lnTo>
                  <a:lnTo>
                    <a:pt x="1124" y="814"/>
                  </a:lnTo>
                  <a:lnTo>
                    <a:pt x="1114" y="840"/>
                  </a:lnTo>
                  <a:lnTo>
                    <a:pt x="1100" y="866"/>
                  </a:lnTo>
                  <a:lnTo>
                    <a:pt x="1086" y="890"/>
                  </a:lnTo>
                  <a:lnTo>
                    <a:pt x="1070" y="914"/>
                  </a:lnTo>
                  <a:lnTo>
                    <a:pt x="1054" y="936"/>
                  </a:lnTo>
                  <a:lnTo>
                    <a:pt x="1038" y="958"/>
                  </a:lnTo>
                  <a:lnTo>
                    <a:pt x="1018" y="980"/>
                  </a:lnTo>
                  <a:lnTo>
                    <a:pt x="1000" y="1000"/>
                  </a:lnTo>
                  <a:lnTo>
                    <a:pt x="980" y="1020"/>
                  </a:lnTo>
                  <a:lnTo>
                    <a:pt x="958" y="1038"/>
                  </a:lnTo>
                  <a:lnTo>
                    <a:pt x="936" y="1056"/>
                  </a:lnTo>
                  <a:lnTo>
                    <a:pt x="912" y="1072"/>
                  </a:lnTo>
                  <a:lnTo>
                    <a:pt x="888" y="1088"/>
                  </a:lnTo>
                  <a:lnTo>
                    <a:pt x="864" y="1102"/>
                  </a:lnTo>
                  <a:lnTo>
                    <a:pt x="840" y="1114"/>
                  </a:lnTo>
                  <a:lnTo>
                    <a:pt x="814" y="1126"/>
                  </a:lnTo>
                  <a:lnTo>
                    <a:pt x="786" y="1136"/>
                  </a:lnTo>
                  <a:lnTo>
                    <a:pt x="760" y="1146"/>
                  </a:lnTo>
                  <a:lnTo>
                    <a:pt x="732" y="1154"/>
                  </a:lnTo>
                  <a:lnTo>
                    <a:pt x="704" y="1160"/>
                  </a:lnTo>
                  <a:lnTo>
                    <a:pt x="674" y="1166"/>
                  </a:lnTo>
                  <a:lnTo>
                    <a:pt x="644" y="1170"/>
                  </a:lnTo>
                  <a:lnTo>
                    <a:pt x="616" y="1172"/>
                  </a:lnTo>
                  <a:lnTo>
                    <a:pt x="586" y="1172"/>
                  </a:lnTo>
                  <a:lnTo>
                    <a:pt x="586" y="1172"/>
                  </a:lnTo>
                  <a:lnTo>
                    <a:pt x="554" y="1172"/>
                  </a:lnTo>
                  <a:lnTo>
                    <a:pt x="526" y="1170"/>
                  </a:lnTo>
                  <a:lnTo>
                    <a:pt x="496" y="1166"/>
                  </a:lnTo>
                  <a:lnTo>
                    <a:pt x="466" y="1160"/>
                  </a:lnTo>
                  <a:lnTo>
                    <a:pt x="438" y="1154"/>
                  </a:lnTo>
                  <a:lnTo>
                    <a:pt x="410" y="1146"/>
                  </a:lnTo>
                  <a:lnTo>
                    <a:pt x="384" y="1136"/>
                  </a:lnTo>
                  <a:lnTo>
                    <a:pt x="356" y="1126"/>
                  </a:lnTo>
                  <a:lnTo>
                    <a:pt x="330" y="1114"/>
                  </a:lnTo>
                  <a:lnTo>
                    <a:pt x="306" y="1102"/>
                  </a:lnTo>
                  <a:lnTo>
                    <a:pt x="282" y="1088"/>
                  </a:lnTo>
                  <a:lnTo>
                    <a:pt x="258" y="1072"/>
                  </a:lnTo>
                  <a:lnTo>
                    <a:pt x="234" y="1056"/>
                  </a:lnTo>
                  <a:lnTo>
                    <a:pt x="212" y="1038"/>
                  </a:lnTo>
                  <a:lnTo>
                    <a:pt x="192" y="1020"/>
                  </a:lnTo>
                  <a:lnTo>
                    <a:pt x="170" y="1000"/>
                  </a:lnTo>
                  <a:lnTo>
                    <a:pt x="152" y="980"/>
                  </a:lnTo>
                  <a:lnTo>
                    <a:pt x="132" y="958"/>
                  </a:lnTo>
                  <a:lnTo>
                    <a:pt x="116" y="936"/>
                  </a:lnTo>
                  <a:lnTo>
                    <a:pt x="100" y="914"/>
                  </a:lnTo>
                  <a:lnTo>
                    <a:pt x="84" y="890"/>
                  </a:lnTo>
                  <a:lnTo>
                    <a:pt x="70" y="866"/>
                  </a:lnTo>
                  <a:lnTo>
                    <a:pt x="56" y="840"/>
                  </a:lnTo>
                  <a:lnTo>
                    <a:pt x="46" y="814"/>
                  </a:lnTo>
                  <a:lnTo>
                    <a:pt x="34" y="788"/>
                  </a:lnTo>
                  <a:lnTo>
                    <a:pt x="26" y="760"/>
                  </a:lnTo>
                  <a:lnTo>
                    <a:pt x="18" y="732"/>
                  </a:lnTo>
                  <a:lnTo>
                    <a:pt x="10" y="704"/>
                  </a:lnTo>
                  <a:lnTo>
                    <a:pt x="6" y="676"/>
                  </a:lnTo>
                  <a:lnTo>
                    <a:pt x="2" y="646"/>
                  </a:lnTo>
                  <a:lnTo>
                    <a:pt x="0" y="616"/>
                  </a:lnTo>
                  <a:lnTo>
                    <a:pt x="0" y="586"/>
                  </a:lnTo>
                  <a:lnTo>
                    <a:pt x="0" y="586"/>
                  </a:lnTo>
                  <a:lnTo>
                    <a:pt x="0" y="556"/>
                  </a:lnTo>
                  <a:lnTo>
                    <a:pt x="2" y="526"/>
                  </a:lnTo>
                  <a:lnTo>
                    <a:pt x="6" y="496"/>
                  </a:lnTo>
                  <a:lnTo>
                    <a:pt x="10" y="468"/>
                  </a:lnTo>
                  <a:lnTo>
                    <a:pt x="18" y="440"/>
                  </a:lnTo>
                  <a:lnTo>
                    <a:pt x="26" y="412"/>
                  </a:lnTo>
                  <a:lnTo>
                    <a:pt x="34" y="384"/>
                  </a:lnTo>
                  <a:lnTo>
                    <a:pt x="46" y="358"/>
                  </a:lnTo>
                  <a:lnTo>
                    <a:pt x="56" y="332"/>
                  </a:lnTo>
                  <a:lnTo>
                    <a:pt x="70" y="306"/>
                  </a:lnTo>
                  <a:lnTo>
                    <a:pt x="84" y="282"/>
                  </a:lnTo>
                  <a:lnTo>
                    <a:pt x="100" y="258"/>
                  </a:lnTo>
                  <a:lnTo>
                    <a:pt x="116" y="236"/>
                  </a:lnTo>
                  <a:lnTo>
                    <a:pt x="132" y="214"/>
                  </a:lnTo>
                  <a:lnTo>
                    <a:pt x="152" y="192"/>
                  </a:lnTo>
                  <a:lnTo>
                    <a:pt x="170" y="172"/>
                  </a:lnTo>
                  <a:lnTo>
                    <a:pt x="192" y="152"/>
                  </a:lnTo>
                  <a:lnTo>
                    <a:pt x="212" y="134"/>
                  </a:lnTo>
                  <a:lnTo>
                    <a:pt x="234" y="116"/>
                  </a:lnTo>
                  <a:lnTo>
                    <a:pt x="258" y="100"/>
                  </a:lnTo>
                  <a:lnTo>
                    <a:pt x="282" y="84"/>
                  </a:lnTo>
                  <a:lnTo>
                    <a:pt x="306" y="70"/>
                  </a:lnTo>
                  <a:lnTo>
                    <a:pt x="330" y="58"/>
                  </a:lnTo>
                  <a:lnTo>
                    <a:pt x="356" y="46"/>
                  </a:lnTo>
                  <a:lnTo>
                    <a:pt x="384" y="36"/>
                  </a:lnTo>
                  <a:lnTo>
                    <a:pt x="410" y="26"/>
                  </a:lnTo>
                  <a:lnTo>
                    <a:pt x="438" y="18"/>
                  </a:lnTo>
                  <a:lnTo>
                    <a:pt x="466" y="12"/>
                  </a:lnTo>
                  <a:lnTo>
                    <a:pt x="496" y="6"/>
                  </a:lnTo>
                  <a:lnTo>
                    <a:pt x="526" y="4"/>
                  </a:lnTo>
                  <a:lnTo>
                    <a:pt x="554" y="0"/>
                  </a:lnTo>
                  <a:lnTo>
                    <a:pt x="586" y="0"/>
                  </a:lnTo>
                  <a:lnTo>
                    <a:pt x="586" y="0"/>
                  </a:lnTo>
                  <a:lnTo>
                    <a:pt x="616" y="0"/>
                  </a:lnTo>
                  <a:lnTo>
                    <a:pt x="644" y="4"/>
                  </a:lnTo>
                  <a:lnTo>
                    <a:pt x="674" y="6"/>
                  </a:lnTo>
                  <a:lnTo>
                    <a:pt x="704" y="12"/>
                  </a:lnTo>
                  <a:lnTo>
                    <a:pt x="732" y="18"/>
                  </a:lnTo>
                  <a:lnTo>
                    <a:pt x="760" y="26"/>
                  </a:lnTo>
                  <a:lnTo>
                    <a:pt x="786" y="36"/>
                  </a:lnTo>
                  <a:lnTo>
                    <a:pt x="814" y="46"/>
                  </a:lnTo>
                  <a:lnTo>
                    <a:pt x="840" y="58"/>
                  </a:lnTo>
                  <a:lnTo>
                    <a:pt x="864" y="70"/>
                  </a:lnTo>
                  <a:lnTo>
                    <a:pt x="888" y="84"/>
                  </a:lnTo>
                  <a:lnTo>
                    <a:pt x="912" y="100"/>
                  </a:lnTo>
                  <a:lnTo>
                    <a:pt x="936" y="116"/>
                  </a:lnTo>
                  <a:lnTo>
                    <a:pt x="958" y="134"/>
                  </a:lnTo>
                  <a:lnTo>
                    <a:pt x="980" y="152"/>
                  </a:lnTo>
                  <a:lnTo>
                    <a:pt x="1000" y="172"/>
                  </a:lnTo>
                  <a:lnTo>
                    <a:pt x="1018" y="192"/>
                  </a:lnTo>
                  <a:lnTo>
                    <a:pt x="1038" y="214"/>
                  </a:lnTo>
                  <a:lnTo>
                    <a:pt x="1054" y="236"/>
                  </a:lnTo>
                  <a:lnTo>
                    <a:pt x="1070" y="258"/>
                  </a:lnTo>
                  <a:lnTo>
                    <a:pt x="1086" y="282"/>
                  </a:lnTo>
                  <a:lnTo>
                    <a:pt x="1100" y="306"/>
                  </a:lnTo>
                  <a:lnTo>
                    <a:pt x="1114" y="332"/>
                  </a:lnTo>
                  <a:lnTo>
                    <a:pt x="1124" y="358"/>
                  </a:lnTo>
                  <a:lnTo>
                    <a:pt x="1136" y="384"/>
                  </a:lnTo>
                  <a:lnTo>
                    <a:pt x="1144" y="412"/>
                  </a:lnTo>
                  <a:lnTo>
                    <a:pt x="1152" y="440"/>
                  </a:lnTo>
                  <a:lnTo>
                    <a:pt x="1160" y="468"/>
                  </a:lnTo>
                  <a:lnTo>
                    <a:pt x="1164" y="496"/>
                  </a:lnTo>
                  <a:lnTo>
                    <a:pt x="1168" y="526"/>
                  </a:lnTo>
                  <a:lnTo>
                    <a:pt x="1170" y="556"/>
                  </a:lnTo>
                  <a:lnTo>
                    <a:pt x="1170" y="586"/>
                  </a:lnTo>
                  <a:lnTo>
                    <a:pt x="1170" y="5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Line 73">
              <a:extLst>
                <a:ext uri="{FF2B5EF4-FFF2-40B4-BE49-F238E27FC236}">
                  <a16:creationId xmlns:a16="http://schemas.microsoft.com/office/drawing/2014/main" id="{2D366BAE-A604-4A29-AD08-511F74EB6696}"/>
                </a:ext>
              </a:extLst>
            </p:cNvPr>
            <p:cNvSpPr>
              <a:spLocks noChangeShapeType="1"/>
            </p:cNvSpPr>
            <p:nvPr/>
          </p:nvSpPr>
          <p:spPr bwMode="auto">
            <a:xfrm>
              <a:off x="-2003425" y="42545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74">
              <a:extLst>
                <a:ext uri="{FF2B5EF4-FFF2-40B4-BE49-F238E27FC236}">
                  <a16:creationId xmlns:a16="http://schemas.microsoft.com/office/drawing/2014/main" id="{386BC119-D295-408E-A9AF-5A2D06240DDE}"/>
                </a:ext>
              </a:extLst>
            </p:cNvPr>
            <p:cNvSpPr>
              <a:spLocks noEditPoints="1"/>
            </p:cNvSpPr>
            <p:nvPr/>
          </p:nvSpPr>
          <p:spPr bwMode="auto">
            <a:xfrm>
              <a:off x="-4003675" y="3181350"/>
              <a:ext cx="2143125" cy="2146300"/>
            </a:xfrm>
            <a:custGeom>
              <a:avLst/>
              <a:gdLst>
                <a:gd name="T0" fmla="*/ 606 w 1350"/>
                <a:gd name="T1" fmla="*/ 1348 h 1352"/>
                <a:gd name="T2" fmla="*/ 474 w 1350"/>
                <a:gd name="T3" fmla="*/ 1322 h 1352"/>
                <a:gd name="T4" fmla="*/ 354 w 1350"/>
                <a:gd name="T5" fmla="*/ 1270 h 1352"/>
                <a:gd name="T6" fmla="*/ 246 w 1350"/>
                <a:gd name="T7" fmla="*/ 1198 h 1352"/>
                <a:gd name="T8" fmla="*/ 154 w 1350"/>
                <a:gd name="T9" fmla="*/ 1106 h 1352"/>
                <a:gd name="T10" fmla="*/ 82 w 1350"/>
                <a:gd name="T11" fmla="*/ 998 h 1352"/>
                <a:gd name="T12" fmla="*/ 30 w 1350"/>
                <a:gd name="T13" fmla="*/ 876 h 1352"/>
                <a:gd name="T14" fmla="*/ 2 w 1350"/>
                <a:gd name="T15" fmla="*/ 746 h 1352"/>
                <a:gd name="T16" fmla="*/ 0 w 1350"/>
                <a:gd name="T17" fmla="*/ 642 h 1352"/>
                <a:gd name="T18" fmla="*/ 20 w 1350"/>
                <a:gd name="T19" fmla="*/ 508 h 1352"/>
                <a:gd name="T20" fmla="*/ 66 w 1350"/>
                <a:gd name="T21" fmla="*/ 384 h 1352"/>
                <a:gd name="T22" fmla="*/ 134 w 1350"/>
                <a:gd name="T23" fmla="*/ 272 h 1352"/>
                <a:gd name="T24" fmla="*/ 222 w 1350"/>
                <a:gd name="T25" fmla="*/ 176 h 1352"/>
                <a:gd name="T26" fmla="*/ 326 w 1350"/>
                <a:gd name="T27" fmla="*/ 98 h 1352"/>
                <a:gd name="T28" fmla="*/ 442 w 1350"/>
                <a:gd name="T29" fmla="*/ 42 h 1352"/>
                <a:gd name="T30" fmla="*/ 572 w 1350"/>
                <a:gd name="T31" fmla="*/ 8 h 1352"/>
                <a:gd name="T32" fmla="*/ 676 w 1350"/>
                <a:gd name="T33" fmla="*/ 0 h 1352"/>
                <a:gd name="T34" fmla="*/ 810 w 1350"/>
                <a:gd name="T35" fmla="*/ 14 h 1352"/>
                <a:gd name="T36" fmla="*/ 938 w 1350"/>
                <a:gd name="T37" fmla="*/ 54 h 1352"/>
                <a:gd name="T38" fmla="*/ 1052 w 1350"/>
                <a:gd name="T39" fmla="*/ 116 h 1352"/>
                <a:gd name="T40" fmla="*/ 1152 w 1350"/>
                <a:gd name="T41" fmla="*/ 198 h 1352"/>
                <a:gd name="T42" fmla="*/ 1236 w 1350"/>
                <a:gd name="T43" fmla="*/ 298 h 1352"/>
                <a:gd name="T44" fmla="*/ 1298 w 1350"/>
                <a:gd name="T45" fmla="*/ 414 h 1352"/>
                <a:gd name="T46" fmla="*/ 1336 w 1350"/>
                <a:gd name="T47" fmla="*/ 540 h 1352"/>
                <a:gd name="T48" fmla="*/ 1350 w 1350"/>
                <a:gd name="T49" fmla="*/ 676 h 1352"/>
                <a:gd name="T50" fmla="*/ 1342 w 1350"/>
                <a:gd name="T51" fmla="*/ 778 h 1352"/>
                <a:gd name="T52" fmla="*/ 1310 w 1350"/>
                <a:gd name="T53" fmla="*/ 908 h 1352"/>
                <a:gd name="T54" fmla="*/ 1252 w 1350"/>
                <a:gd name="T55" fmla="*/ 1026 h 1352"/>
                <a:gd name="T56" fmla="*/ 1174 w 1350"/>
                <a:gd name="T57" fmla="*/ 1130 h 1352"/>
                <a:gd name="T58" fmla="*/ 1078 w 1350"/>
                <a:gd name="T59" fmla="*/ 1218 h 1352"/>
                <a:gd name="T60" fmla="*/ 968 w 1350"/>
                <a:gd name="T61" fmla="*/ 1284 h 1352"/>
                <a:gd name="T62" fmla="*/ 844 w 1350"/>
                <a:gd name="T63" fmla="*/ 1330 h 1352"/>
                <a:gd name="T64" fmla="*/ 710 w 1350"/>
                <a:gd name="T65" fmla="*/ 1350 h 1352"/>
                <a:gd name="T66" fmla="*/ 676 w 1350"/>
                <a:gd name="T67" fmla="*/ 180 h 1352"/>
                <a:gd name="T68" fmla="*/ 576 w 1350"/>
                <a:gd name="T69" fmla="*/ 190 h 1352"/>
                <a:gd name="T70" fmla="*/ 482 w 1350"/>
                <a:gd name="T71" fmla="*/ 218 h 1352"/>
                <a:gd name="T72" fmla="*/ 324 w 1350"/>
                <a:gd name="T73" fmla="*/ 326 h 1352"/>
                <a:gd name="T74" fmla="*/ 218 w 1350"/>
                <a:gd name="T75" fmla="*/ 484 h 1352"/>
                <a:gd name="T76" fmla="*/ 188 w 1350"/>
                <a:gd name="T77" fmla="*/ 576 h 1352"/>
                <a:gd name="T78" fmla="*/ 178 w 1350"/>
                <a:gd name="T79" fmla="*/ 676 h 1352"/>
                <a:gd name="T80" fmla="*/ 184 w 1350"/>
                <a:gd name="T81" fmla="*/ 752 h 1352"/>
                <a:gd name="T82" fmla="*/ 208 w 1350"/>
                <a:gd name="T83" fmla="*/ 846 h 1352"/>
                <a:gd name="T84" fmla="*/ 292 w 1350"/>
                <a:gd name="T85" fmla="*/ 992 h 1352"/>
                <a:gd name="T86" fmla="*/ 438 w 1350"/>
                <a:gd name="T87" fmla="*/ 1112 h 1352"/>
                <a:gd name="T88" fmla="*/ 552 w 1350"/>
                <a:gd name="T89" fmla="*/ 1156 h 1352"/>
                <a:gd name="T90" fmla="*/ 650 w 1350"/>
                <a:gd name="T91" fmla="*/ 1172 h 1352"/>
                <a:gd name="T92" fmla="*/ 726 w 1350"/>
                <a:gd name="T93" fmla="*/ 1170 h 1352"/>
                <a:gd name="T94" fmla="*/ 822 w 1350"/>
                <a:gd name="T95" fmla="*/ 1150 h 1352"/>
                <a:gd name="T96" fmla="*/ 952 w 1350"/>
                <a:gd name="T97" fmla="*/ 1088 h 1352"/>
                <a:gd name="T98" fmla="*/ 1086 w 1350"/>
                <a:gd name="T99" fmla="*/ 954 h 1352"/>
                <a:gd name="T100" fmla="*/ 1150 w 1350"/>
                <a:gd name="T101" fmla="*/ 824 h 1352"/>
                <a:gd name="T102" fmla="*/ 1168 w 1350"/>
                <a:gd name="T103" fmla="*/ 726 h 1352"/>
                <a:gd name="T104" fmla="*/ 1170 w 1350"/>
                <a:gd name="T105" fmla="*/ 650 h 1352"/>
                <a:gd name="T106" fmla="*/ 1156 w 1350"/>
                <a:gd name="T107" fmla="*/ 552 h 1352"/>
                <a:gd name="T108" fmla="*/ 1112 w 1350"/>
                <a:gd name="T109" fmla="*/ 440 h 1352"/>
                <a:gd name="T110" fmla="*/ 990 w 1350"/>
                <a:gd name="T111" fmla="*/ 294 h 1352"/>
                <a:gd name="T112" fmla="*/ 846 w 1350"/>
                <a:gd name="T113" fmla="*/ 210 h 1352"/>
                <a:gd name="T114" fmla="*/ 750 w 1350"/>
                <a:gd name="T115" fmla="*/ 186 h 1352"/>
                <a:gd name="T116" fmla="*/ 676 w 1350"/>
                <a:gd name="T117" fmla="*/ 180 h 1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50" h="1352">
                  <a:moveTo>
                    <a:pt x="676" y="1352"/>
                  </a:moveTo>
                  <a:lnTo>
                    <a:pt x="676" y="1352"/>
                  </a:lnTo>
                  <a:lnTo>
                    <a:pt x="640" y="1350"/>
                  </a:lnTo>
                  <a:lnTo>
                    <a:pt x="606" y="1348"/>
                  </a:lnTo>
                  <a:lnTo>
                    <a:pt x="572" y="1344"/>
                  </a:lnTo>
                  <a:lnTo>
                    <a:pt x="540" y="1338"/>
                  </a:lnTo>
                  <a:lnTo>
                    <a:pt x="506" y="1330"/>
                  </a:lnTo>
                  <a:lnTo>
                    <a:pt x="474" y="1322"/>
                  </a:lnTo>
                  <a:lnTo>
                    <a:pt x="442" y="1310"/>
                  </a:lnTo>
                  <a:lnTo>
                    <a:pt x="412" y="1298"/>
                  </a:lnTo>
                  <a:lnTo>
                    <a:pt x="382" y="1284"/>
                  </a:lnTo>
                  <a:lnTo>
                    <a:pt x="354" y="1270"/>
                  </a:lnTo>
                  <a:lnTo>
                    <a:pt x="326" y="1254"/>
                  </a:lnTo>
                  <a:lnTo>
                    <a:pt x="298" y="1236"/>
                  </a:lnTo>
                  <a:lnTo>
                    <a:pt x="272" y="1218"/>
                  </a:lnTo>
                  <a:lnTo>
                    <a:pt x="246" y="1198"/>
                  </a:lnTo>
                  <a:lnTo>
                    <a:pt x="222" y="1176"/>
                  </a:lnTo>
                  <a:lnTo>
                    <a:pt x="198" y="1154"/>
                  </a:lnTo>
                  <a:lnTo>
                    <a:pt x="176" y="1130"/>
                  </a:lnTo>
                  <a:lnTo>
                    <a:pt x="154" y="1106"/>
                  </a:lnTo>
                  <a:lnTo>
                    <a:pt x="134" y="1080"/>
                  </a:lnTo>
                  <a:lnTo>
                    <a:pt x="116" y="1054"/>
                  </a:lnTo>
                  <a:lnTo>
                    <a:pt x="98" y="1026"/>
                  </a:lnTo>
                  <a:lnTo>
                    <a:pt x="82" y="998"/>
                  </a:lnTo>
                  <a:lnTo>
                    <a:pt x="66" y="968"/>
                  </a:lnTo>
                  <a:lnTo>
                    <a:pt x="52" y="938"/>
                  </a:lnTo>
                  <a:lnTo>
                    <a:pt x="40" y="908"/>
                  </a:lnTo>
                  <a:lnTo>
                    <a:pt x="30" y="876"/>
                  </a:lnTo>
                  <a:lnTo>
                    <a:pt x="20" y="844"/>
                  </a:lnTo>
                  <a:lnTo>
                    <a:pt x="14" y="812"/>
                  </a:lnTo>
                  <a:lnTo>
                    <a:pt x="8" y="778"/>
                  </a:lnTo>
                  <a:lnTo>
                    <a:pt x="2" y="746"/>
                  </a:lnTo>
                  <a:lnTo>
                    <a:pt x="0" y="710"/>
                  </a:lnTo>
                  <a:lnTo>
                    <a:pt x="0" y="676"/>
                  </a:lnTo>
                  <a:lnTo>
                    <a:pt x="0" y="676"/>
                  </a:lnTo>
                  <a:lnTo>
                    <a:pt x="0" y="642"/>
                  </a:lnTo>
                  <a:lnTo>
                    <a:pt x="2" y="608"/>
                  </a:lnTo>
                  <a:lnTo>
                    <a:pt x="8" y="574"/>
                  </a:lnTo>
                  <a:lnTo>
                    <a:pt x="14" y="540"/>
                  </a:lnTo>
                  <a:lnTo>
                    <a:pt x="20" y="508"/>
                  </a:lnTo>
                  <a:lnTo>
                    <a:pt x="30" y="476"/>
                  </a:lnTo>
                  <a:lnTo>
                    <a:pt x="40" y="444"/>
                  </a:lnTo>
                  <a:lnTo>
                    <a:pt x="52" y="414"/>
                  </a:lnTo>
                  <a:lnTo>
                    <a:pt x="66" y="384"/>
                  </a:lnTo>
                  <a:lnTo>
                    <a:pt x="82" y="354"/>
                  </a:lnTo>
                  <a:lnTo>
                    <a:pt x="98" y="326"/>
                  </a:lnTo>
                  <a:lnTo>
                    <a:pt x="116" y="298"/>
                  </a:lnTo>
                  <a:lnTo>
                    <a:pt x="134" y="272"/>
                  </a:lnTo>
                  <a:lnTo>
                    <a:pt x="154" y="246"/>
                  </a:lnTo>
                  <a:lnTo>
                    <a:pt x="176" y="222"/>
                  </a:lnTo>
                  <a:lnTo>
                    <a:pt x="198" y="198"/>
                  </a:lnTo>
                  <a:lnTo>
                    <a:pt x="222" y="176"/>
                  </a:lnTo>
                  <a:lnTo>
                    <a:pt x="246" y="154"/>
                  </a:lnTo>
                  <a:lnTo>
                    <a:pt x="272" y="134"/>
                  </a:lnTo>
                  <a:lnTo>
                    <a:pt x="298" y="116"/>
                  </a:lnTo>
                  <a:lnTo>
                    <a:pt x="326" y="98"/>
                  </a:lnTo>
                  <a:lnTo>
                    <a:pt x="354" y="82"/>
                  </a:lnTo>
                  <a:lnTo>
                    <a:pt x="382" y="68"/>
                  </a:lnTo>
                  <a:lnTo>
                    <a:pt x="412" y="54"/>
                  </a:lnTo>
                  <a:lnTo>
                    <a:pt x="442" y="42"/>
                  </a:lnTo>
                  <a:lnTo>
                    <a:pt x="474" y="30"/>
                  </a:lnTo>
                  <a:lnTo>
                    <a:pt x="506" y="22"/>
                  </a:lnTo>
                  <a:lnTo>
                    <a:pt x="540" y="14"/>
                  </a:lnTo>
                  <a:lnTo>
                    <a:pt x="572" y="8"/>
                  </a:lnTo>
                  <a:lnTo>
                    <a:pt x="606" y="4"/>
                  </a:lnTo>
                  <a:lnTo>
                    <a:pt x="640" y="2"/>
                  </a:lnTo>
                  <a:lnTo>
                    <a:pt x="676" y="0"/>
                  </a:lnTo>
                  <a:lnTo>
                    <a:pt x="676" y="0"/>
                  </a:lnTo>
                  <a:lnTo>
                    <a:pt x="710" y="2"/>
                  </a:lnTo>
                  <a:lnTo>
                    <a:pt x="744" y="4"/>
                  </a:lnTo>
                  <a:lnTo>
                    <a:pt x="778" y="8"/>
                  </a:lnTo>
                  <a:lnTo>
                    <a:pt x="810" y="14"/>
                  </a:lnTo>
                  <a:lnTo>
                    <a:pt x="844" y="22"/>
                  </a:lnTo>
                  <a:lnTo>
                    <a:pt x="876" y="30"/>
                  </a:lnTo>
                  <a:lnTo>
                    <a:pt x="908" y="42"/>
                  </a:lnTo>
                  <a:lnTo>
                    <a:pt x="938" y="54"/>
                  </a:lnTo>
                  <a:lnTo>
                    <a:pt x="968" y="68"/>
                  </a:lnTo>
                  <a:lnTo>
                    <a:pt x="996" y="82"/>
                  </a:lnTo>
                  <a:lnTo>
                    <a:pt x="1026" y="98"/>
                  </a:lnTo>
                  <a:lnTo>
                    <a:pt x="1052" y="116"/>
                  </a:lnTo>
                  <a:lnTo>
                    <a:pt x="1078" y="134"/>
                  </a:lnTo>
                  <a:lnTo>
                    <a:pt x="1104" y="154"/>
                  </a:lnTo>
                  <a:lnTo>
                    <a:pt x="1128" y="176"/>
                  </a:lnTo>
                  <a:lnTo>
                    <a:pt x="1152" y="198"/>
                  </a:lnTo>
                  <a:lnTo>
                    <a:pt x="1174" y="222"/>
                  </a:lnTo>
                  <a:lnTo>
                    <a:pt x="1196" y="246"/>
                  </a:lnTo>
                  <a:lnTo>
                    <a:pt x="1216" y="272"/>
                  </a:lnTo>
                  <a:lnTo>
                    <a:pt x="1236" y="298"/>
                  </a:lnTo>
                  <a:lnTo>
                    <a:pt x="1252" y="326"/>
                  </a:lnTo>
                  <a:lnTo>
                    <a:pt x="1268" y="354"/>
                  </a:lnTo>
                  <a:lnTo>
                    <a:pt x="1284" y="384"/>
                  </a:lnTo>
                  <a:lnTo>
                    <a:pt x="1298" y="414"/>
                  </a:lnTo>
                  <a:lnTo>
                    <a:pt x="1310" y="444"/>
                  </a:lnTo>
                  <a:lnTo>
                    <a:pt x="1320" y="476"/>
                  </a:lnTo>
                  <a:lnTo>
                    <a:pt x="1330" y="508"/>
                  </a:lnTo>
                  <a:lnTo>
                    <a:pt x="1336" y="540"/>
                  </a:lnTo>
                  <a:lnTo>
                    <a:pt x="1342" y="574"/>
                  </a:lnTo>
                  <a:lnTo>
                    <a:pt x="1348" y="608"/>
                  </a:lnTo>
                  <a:lnTo>
                    <a:pt x="1350" y="642"/>
                  </a:lnTo>
                  <a:lnTo>
                    <a:pt x="1350" y="676"/>
                  </a:lnTo>
                  <a:lnTo>
                    <a:pt x="1350" y="676"/>
                  </a:lnTo>
                  <a:lnTo>
                    <a:pt x="1350" y="710"/>
                  </a:lnTo>
                  <a:lnTo>
                    <a:pt x="1348" y="746"/>
                  </a:lnTo>
                  <a:lnTo>
                    <a:pt x="1342" y="778"/>
                  </a:lnTo>
                  <a:lnTo>
                    <a:pt x="1336" y="812"/>
                  </a:lnTo>
                  <a:lnTo>
                    <a:pt x="1330" y="844"/>
                  </a:lnTo>
                  <a:lnTo>
                    <a:pt x="1320" y="876"/>
                  </a:lnTo>
                  <a:lnTo>
                    <a:pt x="1310" y="908"/>
                  </a:lnTo>
                  <a:lnTo>
                    <a:pt x="1298" y="938"/>
                  </a:lnTo>
                  <a:lnTo>
                    <a:pt x="1284" y="968"/>
                  </a:lnTo>
                  <a:lnTo>
                    <a:pt x="1268" y="998"/>
                  </a:lnTo>
                  <a:lnTo>
                    <a:pt x="1252" y="1026"/>
                  </a:lnTo>
                  <a:lnTo>
                    <a:pt x="1236" y="1054"/>
                  </a:lnTo>
                  <a:lnTo>
                    <a:pt x="1216" y="1080"/>
                  </a:lnTo>
                  <a:lnTo>
                    <a:pt x="1196" y="1106"/>
                  </a:lnTo>
                  <a:lnTo>
                    <a:pt x="1174" y="1130"/>
                  </a:lnTo>
                  <a:lnTo>
                    <a:pt x="1152" y="1154"/>
                  </a:lnTo>
                  <a:lnTo>
                    <a:pt x="1128" y="1176"/>
                  </a:lnTo>
                  <a:lnTo>
                    <a:pt x="1104" y="1198"/>
                  </a:lnTo>
                  <a:lnTo>
                    <a:pt x="1078" y="1218"/>
                  </a:lnTo>
                  <a:lnTo>
                    <a:pt x="1052" y="1236"/>
                  </a:lnTo>
                  <a:lnTo>
                    <a:pt x="1026" y="1254"/>
                  </a:lnTo>
                  <a:lnTo>
                    <a:pt x="996" y="1270"/>
                  </a:lnTo>
                  <a:lnTo>
                    <a:pt x="968" y="1284"/>
                  </a:lnTo>
                  <a:lnTo>
                    <a:pt x="938" y="1298"/>
                  </a:lnTo>
                  <a:lnTo>
                    <a:pt x="908" y="1310"/>
                  </a:lnTo>
                  <a:lnTo>
                    <a:pt x="876" y="1322"/>
                  </a:lnTo>
                  <a:lnTo>
                    <a:pt x="844" y="1330"/>
                  </a:lnTo>
                  <a:lnTo>
                    <a:pt x="810" y="1338"/>
                  </a:lnTo>
                  <a:lnTo>
                    <a:pt x="778" y="1344"/>
                  </a:lnTo>
                  <a:lnTo>
                    <a:pt x="744" y="1348"/>
                  </a:lnTo>
                  <a:lnTo>
                    <a:pt x="710" y="1350"/>
                  </a:lnTo>
                  <a:lnTo>
                    <a:pt x="676" y="1352"/>
                  </a:lnTo>
                  <a:lnTo>
                    <a:pt x="676" y="1352"/>
                  </a:lnTo>
                  <a:close/>
                  <a:moveTo>
                    <a:pt x="676" y="180"/>
                  </a:moveTo>
                  <a:lnTo>
                    <a:pt x="676" y="180"/>
                  </a:lnTo>
                  <a:lnTo>
                    <a:pt x="650" y="180"/>
                  </a:lnTo>
                  <a:lnTo>
                    <a:pt x="624" y="182"/>
                  </a:lnTo>
                  <a:lnTo>
                    <a:pt x="600" y="186"/>
                  </a:lnTo>
                  <a:lnTo>
                    <a:pt x="576" y="190"/>
                  </a:lnTo>
                  <a:lnTo>
                    <a:pt x="552" y="196"/>
                  </a:lnTo>
                  <a:lnTo>
                    <a:pt x="528" y="202"/>
                  </a:lnTo>
                  <a:lnTo>
                    <a:pt x="504" y="210"/>
                  </a:lnTo>
                  <a:lnTo>
                    <a:pt x="482" y="218"/>
                  </a:lnTo>
                  <a:lnTo>
                    <a:pt x="438" y="240"/>
                  </a:lnTo>
                  <a:lnTo>
                    <a:pt x="398" y="264"/>
                  </a:lnTo>
                  <a:lnTo>
                    <a:pt x="360" y="294"/>
                  </a:lnTo>
                  <a:lnTo>
                    <a:pt x="324" y="326"/>
                  </a:lnTo>
                  <a:lnTo>
                    <a:pt x="292" y="360"/>
                  </a:lnTo>
                  <a:lnTo>
                    <a:pt x="264" y="398"/>
                  </a:lnTo>
                  <a:lnTo>
                    <a:pt x="238" y="440"/>
                  </a:lnTo>
                  <a:lnTo>
                    <a:pt x="218" y="484"/>
                  </a:lnTo>
                  <a:lnTo>
                    <a:pt x="208" y="506"/>
                  </a:lnTo>
                  <a:lnTo>
                    <a:pt x="200" y="528"/>
                  </a:lnTo>
                  <a:lnTo>
                    <a:pt x="194" y="552"/>
                  </a:lnTo>
                  <a:lnTo>
                    <a:pt x="188" y="576"/>
                  </a:lnTo>
                  <a:lnTo>
                    <a:pt x="184" y="600"/>
                  </a:lnTo>
                  <a:lnTo>
                    <a:pt x="182" y="626"/>
                  </a:lnTo>
                  <a:lnTo>
                    <a:pt x="180" y="650"/>
                  </a:lnTo>
                  <a:lnTo>
                    <a:pt x="178" y="676"/>
                  </a:lnTo>
                  <a:lnTo>
                    <a:pt x="178" y="676"/>
                  </a:lnTo>
                  <a:lnTo>
                    <a:pt x="180" y="702"/>
                  </a:lnTo>
                  <a:lnTo>
                    <a:pt x="182" y="726"/>
                  </a:lnTo>
                  <a:lnTo>
                    <a:pt x="184" y="752"/>
                  </a:lnTo>
                  <a:lnTo>
                    <a:pt x="188" y="776"/>
                  </a:lnTo>
                  <a:lnTo>
                    <a:pt x="194" y="800"/>
                  </a:lnTo>
                  <a:lnTo>
                    <a:pt x="200" y="824"/>
                  </a:lnTo>
                  <a:lnTo>
                    <a:pt x="208" y="846"/>
                  </a:lnTo>
                  <a:lnTo>
                    <a:pt x="218" y="870"/>
                  </a:lnTo>
                  <a:lnTo>
                    <a:pt x="238" y="912"/>
                  </a:lnTo>
                  <a:lnTo>
                    <a:pt x="264" y="954"/>
                  </a:lnTo>
                  <a:lnTo>
                    <a:pt x="292" y="992"/>
                  </a:lnTo>
                  <a:lnTo>
                    <a:pt x="324" y="1026"/>
                  </a:lnTo>
                  <a:lnTo>
                    <a:pt x="360" y="1058"/>
                  </a:lnTo>
                  <a:lnTo>
                    <a:pt x="398" y="1088"/>
                  </a:lnTo>
                  <a:lnTo>
                    <a:pt x="438" y="1112"/>
                  </a:lnTo>
                  <a:lnTo>
                    <a:pt x="482" y="1134"/>
                  </a:lnTo>
                  <a:lnTo>
                    <a:pt x="504" y="1142"/>
                  </a:lnTo>
                  <a:lnTo>
                    <a:pt x="528" y="1150"/>
                  </a:lnTo>
                  <a:lnTo>
                    <a:pt x="552" y="1156"/>
                  </a:lnTo>
                  <a:lnTo>
                    <a:pt x="576" y="1162"/>
                  </a:lnTo>
                  <a:lnTo>
                    <a:pt x="600" y="1166"/>
                  </a:lnTo>
                  <a:lnTo>
                    <a:pt x="624" y="1170"/>
                  </a:lnTo>
                  <a:lnTo>
                    <a:pt x="650" y="1172"/>
                  </a:lnTo>
                  <a:lnTo>
                    <a:pt x="676" y="1172"/>
                  </a:lnTo>
                  <a:lnTo>
                    <a:pt x="676" y="1172"/>
                  </a:lnTo>
                  <a:lnTo>
                    <a:pt x="700" y="1172"/>
                  </a:lnTo>
                  <a:lnTo>
                    <a:pt x="726" y="1170"/>
                  </a:lnTo>
                  <a:lnTo>
                    <a:pt x="750" y="1166"/>
                  </a:lnTo>
                  <a:lnTo>
                    <a:pt x="774" y="1162"/>
                  </a:lnTo>
                  <a:lnTo>
                    <a:pt x="798" y="1156"/>
                  </a:lnTo>
                  <a:lnTo>
                    <a:pt x="822" y="1150"/>
                  </a:lnTo>
                  <a:lnTo>
                    <a:pt x="846" y="1142"/>
                  </a:lnTo>
                  <a:lnTo>
                    <a:pt x="868" y="1134"/>
                  </a:lnTo>
                  <a:lnTo>
                    <a:pt x="912" y="1112"/>
                  </a:lnTo>
                  <a:lnTo>
                    <a:pt x="952" y="1088"/>
                  </a:lnTo>
                  <a:lnTo>
                    <a:pt x="990" y="1058"/>
                  </a:lnTo>
                  <a:lnTo>
                    <a:pt x="1026" y="1026"/>
                  </a:lnTo>
                  <a:lnTo>
                    <a:pt x="1058" y="992"/>
                  </a:lnTo>
                  <a:lnTo>
                    <a:pt x="1086" y="954"/>
                  </a:lnTo>
                  <a:lnTo>
                    <a:pt x="1112" y="912"/>
                  </a:lnTo>
                  <a:lnTo>
                    <a:pt x="1132" y="870"/>
                  </a:lnTo>
                  <a:lnTo>
                    <a:pt x="1142" y="846"/>
                  </a:lnTo>
                  <a:lnTo>
                    <a:pt x="1150" y="824"/>
                  </a:lnTo>
                  <a:lnTo>
                    <a:pt x="1156" y="800"/>
                  </a:lnTo>
                  <a:lnTo>
                    <a:pt x="1162" y="776"/>
                  </a:lnTo>
                  <a:lnTo>
                    <a:pt x="1166" y="752"/>
                  </a:lnTo>
                  <a:lnTo>
                    <a:pt x="1168" y="726"/>
                  </a:lnTo>
                  <a:lnTo>
                    <a:pt x="1170" y="702"/>
                  </a:lnTo>
                  <a:lnTo>
                    <a:pt x="1172" y="676"/>
                  </a:lnTo>
                  <a:lnTo>
                    <a:pt x="1172" y="676"/>
                  </a:lnTo>
                  <a:lnTo>
                    <a:pt x="1170" y="650"/>
                  </a:lnTo>
                  <a:lnTo>
                    <a:pt x="1168" y="626"/>
                  </a:lnTo>
                  <a:lnTo>
                    <a:pt x="1166" y="600"/>
                  </a:lnTo>
                  <a:lnTo>
                    <a:pt x="1162" y="576"/>
                  </a:lnTo>
                  <a:lnTo>
                    <a:pt x="1156" y="552"/>
                  </a:lnTo>
                  <a:lnTo>
                    <a:pt x="1150" y="528"/>
                  </a:lnTo>
                  <a:lnTo>
                    <a:pt x="1142" y="506"/>
                  </a:lnTo>
                  <a:lnTo>
                    <a:pt x="1132" y="484"/>
                  </a:lnTo>
                  <a:lnTo>
                    <a:pt x="1112" y="440"/>
                  </a:lnTo>
                  <a:lnTo>
                    <a:pt x="1086" y="398"/>
                  </a:lnTo>
                  <a:lnTo>
                    <a:pt x="1058" y="360"/>
                  </a:lnTo>
                  <a:lnTo>
                    <a:pt x="1026" y="326"/>
                  </a:lnTo>
                  <a:lnTo>
                    <a:pt x="990" y="294"/>
                  </a:lnTo>
                  <a:lnTo>
                    <a:pt x="952" y="264"/>
                  </a:lnTo>
                  <a:lnTo>
                    <a:pt x="912" y="240"/>
                  </a:lnTo>
                  <a:lnTo>
                    <a:pt x="868" y="218"/>
                  </a:lnTo>
                  <a:lnTo>
                    <a:pt x="846" y="210"/>
                  </a:lnTo>
                  <a:lnTo>
                    <a:pt x="822" y="202"/>
                  </a:lnTo>
                  <a:lnTo>
                    <a:pt x="798" y="196"/>
                  </a:lnTo>
                  <a:lnTo>
                    <a:pt x="774" y="190"/>
                  </a:lnTo>
                  <a:lnTo>
                    <a:pt x="750" y="186"/>
                  </a:lnTo>
                  <a:lnTo>
                    <a:pt x="726" y="182"/>
                  </a:lnTo>
                  <a:lnTo>
                    <a:pt x="700" y="180"/>
                  </a:lnTo>
                  <a:lnTo>
                    <a:pt x="676" y="180"/>
                  </a:lnTo>
                  <a:lnTo>
                    <a:pt x="676" y="180"/>
                  </a:lnTo>
                  <a:close/>
                  <a:moveTo>
                    <a:pt x="676" y="180"/>
                  </a:moveTo>
                  <a:lnTo>
                    <a:pt x="676" y="18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3" name="Freeform 75">
              <a:extLst>
                <a:ext uri="{FF2B5EF4-FFF2-40B4-BE49-F238E27FC236}">
                  <a16:creationId xmlns:a16="http://schemas.microsoft.com/office/drawing/2014/main" id="{DF54E223-F8CC-46A6-95C7-74FF909FFB2C}"/>
                </a:ext>
              </a:extLst>
            </p:cNvPr>
            <p:cNvSpPr>
              <a:spLocks/>
            </p:cNvSpPr>
            <p:nvPr/>
          </p:nvSpPr>
          <p:spPr bwMode="auto">
            <a:xfrm>
              <a:off x="-4003675" y="3181350"/>
              <a:ext cx="2143125" cy="2146300"/>
            </a:xfrm>
            <a:custGeom>
              <a:avLst/>
              <a:gdLst>
                <a:gd name="T0" fmla="*/ 640 w 1350"/>
                <a:gd name="T1" fmla="*/ 1350 h 1352"/>
                <a:gd name="T2" fmla="*/ 540 w 1350"/>
                <a:gd name="T3" fmla="*/ 1338 h 1352"/>
                <a:gd name="T4" fmla="*/ 442 w 1350"/>
                <a:gd name="T5" fmla="*/ 1310 h 1352"/>
                <a:gd name="T6" fmla="*/ 354 w 1350"/>
                <a:gd name="T7" fmla="*/ 1270 h 1352"/>
                <a:gd name="T8" fmla="*/ 272 w 1350"/>
                <a:gd name="T9" fmla="*/ 1218 h 1352"/>
                <a:gd name="T10" fmla="*/ 198 w 1350"/>
                <a:gd name="T11" fmla="*/ 1154 h 1352"/>
                <a:gd name="T12" fmla="*/ 134 w 1350"/>
                <a:gd name="T13" fmla="*/ 1080 h 1352"/>
                <a:gd name="T14" fmla="*/ 82 w 1350"/>
                <a:gd name="T15" fmla="*/ 998 h 1352"/>
                <a:gd name="T16" fmla="*/ 40 w 1350"/>
                <a:gd name="T17" fmla="*/ 908 h 1352"/>
                <a:gd name="T18" fmla="*/ 14 w 1350"/>
                <a:gd name="T19" fmla="*/ 812 h 1352"/>
                <a:gd name="T20" fmla="*/ 0 w 1350"/>
                <a:gd name="T21" fmla="*/ 710 h 1352"/>
                <a:gd name="T22" fmla="*/ 0 w 1350"/>
                <a:gd name="T23" fmla="*/ 642 h 1352"/>
                <a:gd name="T24" fmla="*/ 14 w 1350"/>
                <a:gd name="T25" fmla="*/ 540 h 1352"/>
                <a:gd name="T26" fmla="*/ 40 w 1350"/>
                <a:gd name="T27" fmla="*/ 444 h 1352"/>
                <a:gd name="T28" fmla="*/ 82 w 1350"/>
                <a:gd name="T29" fmla="*/ 354 h 1352"/>
                <a:gd name="T30" fmla="*/ 134 w 1350"/>
                <a:gd name="T31" fmla="*/ 272 h 1352"/>
                <a:gd name="T32" fmla="*/ 198 w 1350"/>
                <a:gd name="T33" fmla="*/ 198 h 1352"/>
                <a:gd name="T34" fmla="*/ 272 w 1350"/>
                <a:gd name="T35" fmla="*/ 134 h 1352"/>
                <a:gd name="T36" fmla="*/ 354 w 1350"/>
                <a:gd name="T37" fmla="*/ 82 h 1352"/>
                <a:gd name="T38" fmla="*/ 442 w 1350"/>
                <a:gd name="T39" fmla="*/ 42 h 1352"/>
                <a:gd name="T40" fmla="*/ 540 w 1350"/>
                <a:gd name="T41" fmla="*/ 14 h 1352"/>
                <a:gd name="T42" fmla="*/ 640 w 1350"/>
                <a:gd name="T43" fmla="*/ 2 h 1352"/>
                <a:gd name="T44" fmla="*/ 710 w 1350"/>
                <a:gd name="T45" fmla="*/ 2 h 1352"/>
                <a:gd name="T46" fmla="*/ 810 w 1350"/>
                <a:gd name="T47" fmla="*/ 14 h 1352"/>
                <a:gd name="T48" fmla="*/ 908 w 1350"/>
                <a:gd name="T49" fmla="*/ 42 h 1352"/>
                <a:gd name="T50" fmla="*/ 996 w 1350"/>
                <a:gd name="T51" fmla="*/ 82 h 1352"/>
                <a:gd name="T52" fmla="*/ 1078 w 1350"/>
                <a:gd name="T53" fmla="*/ 134 h 1352"/>
                <a:gd name="T54" fmla="*/ 1152 w 1350"/>
                <a:gd name="T55" fmla="*/ 198 h 1352"/>
                <a:gd name="T56" fmla="*/ 1216 w 1350"/>
                <a:gd name="T57" fmla="*/ 272 h 1352"/>
                <a:gd name="T58" fmla="*/ 1268 w 1350"/>
                <a:gd name="T59" fmla="*/ 354 h 1352"/>
                <a:gd name="T60" fmla="*/ 1310 w 1350"/>
                <a:gd name="T61" fmla="*/ 444 h 1352"/>
                <a:gd name="T62" fmla="*/ 1336 w 1350"/>
                <a:gd name="T63" fmla="*/ 540 h 1352"/>
                <a:gd name="T64" fmla="*/ 1350 w 1350"/>
                <a:gd name="T65" fmla="*/ 642 h 1352"/>
                <a:gd name="T66" fmla="*/ 1350 w 1350"/>
                <a:gd name="T67" fmla="*/ 710 h 1352"/>
                <a:gd name="T68" fmla="*/ 1336 w 1350"/>
                <a:gd name="T69" fmla="*/ 812 h 1352"/>
                <a:gd name="T70" fmla="*/ 1310 w 1350"/>
                <a:gd name="T71" fmla="*/ 908 h 1352"/>
                <a:gd name="T72" fmla="*/ 1268 w 1350"/>
                <a:gd name="T73" fmla="*/ 998 h 1352"/>
                <a:gd name="T74" fmla="*/ 1216 w 1350"/>
                <a:gd name="T75" fmla="*/ 1080 h 1352"/>
                <a:gd name="T76" fmla="*/ 1152 w 1350"/>
                <a:gd name="T77" fmla="*/ 1154 h 1352"/>
                <a:gd name="T78" fmla="*/ 1078 w 1350"/>
                <a:gd name="T79" fmla="*/ 1218 h 1352"/>
                <a:gd name="T80" fmla="*/ 996 w 1350"/>
                <a:gd name="T81" fmla="*/ 1270 h 1352"/>
                <a:gd name="T82" fmla="*/ 908 w 1350"/>
                <a:gd name="T83" fmla="*/ 1310 h 1352"/>
                <a:gd name="T84" fmla="*/ 810 w 1350"/>
                <a:gd name="T85" fmla="*/ 1338 h 1352"/>
                <a:gd name="T86" fmla="*/ 710 w 1350"/>
                <a:gd name="T87" fmla="*/ 1350 h 1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50" h="1352">
                  <a:moveTo>
                    <a:pt x="676" y="1352"/>
                  </a:moveTo>
                  <a:lnTo>
                    <a:pt x="676" y="1352"/>
                  </a:lnTo>
                  <a:lnTo>
                    <a:pt x="640" y="1350"/>
                  </a:lnTo>
                  <a:lnTo>
                    <a:pt x="606" y="1348"/>
                  </a:lnTo>
                  <a:lnTo>
                    <a:pt x="572" y="1344"/>
                  </a:lnTo>
                  <a:lnTo>
                    <a:pt x="540" y="1338"/>
                  </a:lnTo>
                  <a:lnTo>
                    <a:pt x="506" y="1330"/>
                  </a:lnTo>
                  <a:lnTo>
                    <a:pt x="474" y="1322"/>
                  </a:lnTo>
                  <a:lnTo>
                    <a:pt x="442" y="1310"/>
                  </a:lnTo>
                  <a:lnTo>
                    <a:pt x="412" y="1298"/>
                  </a:lnTo>
                  <a:lnTo>
                    <a:pt x="382" y="1284"/>
                  </a:lnTo>
                  <a:lnTo>
                    <a:pt x="354" y="1270"/>
                  </a:lnTo>
                  <a:lnTo>
                    <a:pt x="326" y="1254"/>
                  </a:lnTo>
                  <a:lnTo>
                    <a:pt x="298" y="1236"/>
                  </a:lnTo>
                  <a:lnTo>
                    <a:pt x="272" y="1218"/>
                  </a:lnTo>
                  <a:lnTo>
                    <a:pt x="246" y="1198"/>
                  </a:lnTo>
                  <a:lnTo>
                    <a:pt x="222" y="1176"/>
                  </a:lnTo>
                  <a:lnTo>
                    <a:pt x="198" y="1154"/>
                  </a:lnTo>
                  <a:lnTo>
                    <a:pt x="176" y="1130"/>
                  </a:lnTo>
                  <a:lnTo>
                    <a:pt x="154" y="1106"/>
                  </a:lnTo>
                  <a:lnTo>
                    <a:pt x="134" y="1080"/>
                  </a:lnTo>
                  <a:lnTo>
                    <a:pt x="116" y="1054"/>
                  </a:lnTo>
                  <a:lnTo>
                    <a:pt x="98" y="1026"/>
                  </a:lnTo>
                  <a:lnTo>
                    <a:pt x="82" y="998"/>
                  </a:lnTo>
                  <a:lnTo>
                    <a:pt x="66" y="968"/>
                  </a:lnTo>
                  <a:lnTo>
                    <a:pt x="52" y="938"/>
                  </a:lnTo>
                  <a:lnTo>
                    <a:pt x="40" y="908"/>
                  </a:lnTo>
                  <a:lnTo>
                    <a:pt x="30" y="876"/>
                  </a:lnTo>
                  <a:lnTo>
                    <a:pt x="20" y="844"/>
                  </a:lnTo>
                  <a:lnTo>
                    <a:pt x="14" y="812"/>
                  </a:lnTo>
                  <a:lnTo>
                    <a:pt x="8" y="778"/>
                  </a:lnTo>
                  <a:lnTo>
                    <a:pt x="2" y="746"/>
                  </a:lnTo>
                  <a:lnTo>
                    <a:pt x="0" y="710"/>
                  </a:lnTo>
                  <a:lnTo>
                    <a:pt x="0" y="676"/>
                  </a:lnTo>
                  <a:lnTo>
                    <a:pt x="0" y="676"/>
                  </a:lnTo>
                  <a:lnTo>
                    <a:pt x="0" y="642"/>
                  </a:lnTo>
                  <a:lnTo>
                    <a:pt x="2" y="608"/>
                  </a:lnTo>
                  <a:lnTo>
                    <a:pt x="8" y="574"/>
                  </a:lnTo>
                  <a:lnTo>
                    <a:pt x="14" y="540"/>
                  </a:lnTo>
                  <a:lnTo>
                    <a:pt x="20" y="508"/>
                  </a:lnTo>
                  <a:lnTo>
                    <a:pt x="30" y="476"/>
                  </a:lnTo>
                  <a:lnTo>
                    <a:pt x="40" y="444"/>
                  </a:lnTo>
                  <a:lnTo>
                    <a:pt x="52" y="414"/>
                  </a:lnTo>
                  <a:lnTo>
                    <a:pt x="66" y="384"/>
                  </a:lnTo>
                  <a:lnTo>
                    <a:pt x="82" y="354"/>
                  </a:lnTo>
                  <a:lnTo>
                    <a:pt x="98" y="326"/>
                  </a:lnTo>
                  <a:lnTo>
                    <a:pt x="116" y="298"/>
                  </a:lnTo>
                  <a:lnTo>
                    <a:pt x="134" y="272"/>
                  </a:lnTo>
                  <a:lnTo>
                    <a:pt x="154" y="246"/>
                  </a:lnTo>
                  <a:lnTo>
                    <a:pt x="176" y="222"/>
                  </a:lnTo>
                  <a:lnTo>
                    <a:pt x="198" y="198"/>
                  </a:lnTo>
                  <a:lnTo>
                    <a:pt x="222" y="176"/>
                  </a:lnTo>
                  <a:lnTo>
                    <a:pt x="246" y="154"/>
                  </a:lnTo>
                  <a:lnTo>
                    <a:pt x="272" y="134"/>
                  </a:lnTo>
                  <a:lnTo>
                    <a:pt x="298" y="116"/>
                  </a:lnTo>
                  <a:lnTo>
                    <a:pt x="326" y="98"/>
                  </a:lnTo>
                  <a:lnTo>
                    <a:pt x="354" y="82"/>
                  </a:lnTo>
                  <a:lnTo>
                    <a:pt x="382" y="68"/>
                  </a:lnTo>
                  <a:lnTo>
                    <a:pt x="412" y="54"/>
                  </a:lnTo>
                  <a:lnTo>
                    <a:pt x="442" y="42"/>
                  </a:lnTo>
                  <a:lnTo>
                    <a:pt x="474" y="30"/>
                  </a:lnTo>
                  <a:lnTo>
                    <a:pt x="506" y="22"/>
                  </a:lnTo>
                  <a:lnTo>
                    <a:pt x="540" y="14"/>
                  </a:lnTo>
                  <a:lnTo>
                    <a:pt x="572" y="8"/>
                  </a:lnTo>
                  <a:lnTo>
                    <a:pt x="606" y="4"/>
                  </a:lnTo>
                  <a:lnTo>
                    <a:pt x="640" y="2"/>
                  </a:lnTo>
                  <a:lnTo>
                    <a:pt x="676" y="0"/>
                  </a:lnTo>
                  <a:lnTo>
                    <a:pt x="676" y="0"/>
                  </a:lnTo>
                  <a:lnTo>
                    <a:pt x="710" y="2"/>
                  </a:lnTo>
                  <a:lnTo>
                    <a:pt x="744" y="4"/>
                  </a:lnTo>
                  <a:lnTo>
                    <a:pt x="778" y="8"/>
                  </a:lnTo>
                  <a:lnTo>
                    <a:pt x="810" y="14"/>
                  </a:lnTo>
                  <a:lnTo>
                    <a:pt x="844" y="22"/>
                  </a:lnTo>
                  <a:lnTo>
                    <a:pt x="876" y="30"/>
                  </a:lnTo>
                  <a:lnTo>
                    <a:pt x="908" y="42"/>
                  </a:lnTo>
                  <a:lnTo>
                    <a:pt x="938" y="54"/>
                  </a:lnTo>
                  <a:lnTo>
                    <a:pt x="968" y="68"/>
                  </a:lnTo>
                  <a:lnTo>
                    <a:pt x="996" y="82"/>
                  </a:lnTo>
                  <a:lnTo>
                    <a:pt x="1026" y="98"/>
                  </a:lnTo>
                  <a:lnTo>
                    <a:pt x="1052" y="116"/>
                  </a:lnTo>
                  <a:lnTo>
                    <a:pt x="1078" y="134"/>
                  </a:lnTo>
                  <a:lnTo>
                    <a:pt x="1104" y="154"/>
                  </a:lnTo>
                  <a:lnTo>
                    <a:pt x="1128" y="176"/>
                  </a:lnTo>
                  <a:lnTo>
                    <a:pt x="1152" y="198"/>
                  </a:lnTo>
                  <a:lnTo>
                    <a:pt x="1174" y="222"/>
                  </a:lnTo>
                  <a:lnTo>
                    <a:pt x="1196" y="246"/>
                  </a:lnTo>
                  <a:lnTo>
                    <a:pt x="1216" y="272"/>
                  </a:lnTo>
                  <a:lnTo>
                    <a:pt x="1236" y="298"/>
                  </a:lnTo>
                  <a:lnTo>
                    <a:pt x="1252" y="326"/>
                  </a:lnTo>
                  <a:lnTo>
                    <a:pt x="1268" y="354"/>
                  </a:lnTo>
                  <a:lnTo>
                    <a:pt x="1284" y="384"/>
                  </a:lnTo>
                  <a:lnTo>
                    <a:pt x="1298" y="414"/>
                  </a:lnTo>
                  <a:lnTo>
                    <a:pt x="1310" y="444"/>
                  </a:lnTo>
                  <a:lnTo>
                    <a:pt x="1320" y="476"/>
                  </a:lnTo>
                  <a:lnTo>
                    <a:pt x="1330" y="508"/>
                  </a:lnTo>
                  <a:lnTo>
                    <a:pt x="1336" y="540"/>
                  </a:lnTo>
                  <a:lnTo>
                    <a:pt x="1342" y="574"/>
                  </a:lnTo>
                  <a:lnTo>
                    <a:pt x="1348" y="608"/>
                  </a:lnTo>
                  <a:lnTo>
                    <a:pt x="1350" y="642"/>
                  </a:lnTo>
                  <a:lnTo>
                    <a:pt x="1350" y="676"/>
                  </a:lnTo>
                  <a:lnTo>
                    <a:pt x="1350" y="676"/>
                  </a:lnTo>
                  <a:lnTo>
                    <a:pt x="1350" y="710"/>
                  </a:lnTo>
                  <a:lnTo>
                    <a:pt x="1348" y="746"/>
                  </a:lnTo>
                  <a:lnTo>
                    <a:pt x="1342" y="778"/>
                  </a:lnTo>
                  <a:lnTo>
                    <a:pt x="1336" y="812"/>
                  </a:lnTo>
                  <a:lnTo>
                    <a:pt x="1330" y="844"/>
                  </a:lnTo>
                  <a:lnTo>
                    <a:pt x="1320" y="876"/>
                  </a:lnTo>
                  <a:lnTo>
                    <a:pt x="1310" y="908"/>
                  </a:lnTo>
                  <a:lnTo>
                    <a:pt x="1298" y="938"/>
                  </a:lnTo>
                  <a:lnTo>
                    <a:pt x="1284" y="968"/>
                  </a:lnTo>
                  <a:lnTo>
                    <a:pt x="1268" y="998"/>
                  </a:lnTo>
                  <a:lnTo>
                    <a:pt x="1252" y="1026"/>
                  </a:lnTo>
                  <a:lnTo>
                    <a:pt x="1236" y="1054"/>
                  </a:lnTo>
                  <a:lnTo>
                    <a:pt x="1216" y="1080"/>
                  </a:lnTo>
                  <a:lnTo>
                    <a:pt x="1196" y="1106"/>
                  </a:lnTo>
                  <a:lnTo>
                    <a:pt x="1174" y="1130"/>
                  </a:lnTo>
                  <a:lnTo>
                    <a:pt x="1152" y="1154"/>
                  </a:lnTo>
                  <a:lnTo>
                    <a:pt x="1128" y="1176"/>
                  </a:lnTo>
                  <a:lnTo>
                    <a:pt x="1104" y="1198"/>
                  </a:lnTo>
                  <a:lnTo>
                    <a:pt x="1078" y="1218"/>
                  </a:lnTo>
                  <a:lnTo>
                    <a:pt x="1052" y="1236"/>
                  </a:lnTo>
                  <a:lnTo>
                    <a:pt x="1026" y="1254"/>
                  </a:lnTo>
                  <a:lnTo>
                    <a:pt x="996" y="1270"/>
                  </a:lnTo>
                  <a:lnTo>
                    <a:pt x="968" y="1284"/>
                  </a:lnTo>
                  <a:lnTo>
                    <a:pt x="938" y="1298"/>
                  </a:lnTo>
                  <a:lnTo>
                    <a:pt x="908" y="1310"/>
                  </a:lnTo>
                  <a:lnTo>
                    <a:pt x="876" y="1322"/>
                  </a:lnTo>
                  <a:lnTo>
                    <a:pt x="844" y="1330"/>
                  </a:lnTo>
                  <a:lnTo>
                    <a:pt x="810" y="1338"/>
                  </a:lnTo>
                  <a:lnTo>
                    <a:pt x="778" y="1344"/>
                  </a:lnTo>
                  <a:lnTo>
                    <a:pt x="744" y="1348"/>
                  </a:lnTo>
                  <a:lnTo>
                    <a:pt x="710" y="1350"/>
                  </a:lnTo>
                  <a:lnTo>
                    <a:pt x="676" y="1352"/>
                  </a:lnTo>
                  <a:lnTo>
                    <a:pt x="676" y="13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76">
              <a:extLst>
                <a:ext uri="{FF2B5EF4-FFF2-40B4-BE49-F238E27FC236}">
                  <a16:creationId xmlns:a16="http://schemas.microsoft.com/office/drawing/2014/main" id="{68380348-9B53-4F09-B2EF-A41611873DD9}"/>
                </a:ext>
              </a:extLst>
            </p:cNvPr>
            <p:cNvSpPr>
              <a:spLocks/>
            </p:cNvSpPr>
            <p:nvPr/>
          </p:nvSpPr>
          <p:spPr bwMode="auto">
            <a:xfrm>
              <a:off x="-3721100" y="3467100"/>
              <a:ext cx="1577975" cy="1574800"/>
            </a:xfrm>
            <a:custGeom>
              <a:avLst/>
              <a:gdLst>
                <a:gd name="T0" fmla="*/ 498 w 994"/>
                <a:gd name="T1" fmla="*/ 0 h 992"/>
                <a:gd name="T2" fmla="*/ 446 w 994"/>
                <a:gd name="T3" fmla="*/ 2 h 992"/>
                <a:gd name="T4" fmla="*/ 398 w 994"/>
                <a:gd name="T5" fmla="*/ 10 h 992"/>
                <a:gd name="T6" fmla="*/ 350 w 994"/>
                <a:gd name="T7" fmla="*/ 22 h 992"/>
                <a:gd name="T8" fmla="*/ 304 w 994"/>
                <a:gd name="T9" fmla="*/ 38 h 992"/>
                <a:gd name="T10" fmla="*/ 220 w 994"/>
                <a:gd name="T11" fmla="*/ 84 h 992"/>
                <a:gd name="T12" fmla="*/ 146 w 994"/>
                <a:gd name="T13" fmla="*/ 146 h 992"/>
                <a:gd name="T14" fmla="*/ 86 w 994"/>
                <a:gd name="T15" fmla="*/ 218 h 992"/>
                <a:gd name="T16" fmla="*/ 40 w 994"/>
                <a:gd name="T17" fmla="*/ 304 h 992"/>
                <a:gd name="T18" fmla="*/ 22 w 994"/>
                <a:gd name="T19" fmla="*/ 348 h 992"/>
                <a:gd name="T20" fmla="*/ 10 w 994"/>
                <a:gd name="T21" fmla="*/ 396 h 992"/>
                <a:gd name="T22" fmla="*/ 4 w 994"/>
                <a:gd name="T23" fmla="*/ 446 h 992"/>
                <a:gd name="T24" fmla="*/ 0 w 994"/>
                <a:gd name="T25" fmla="*/ 496 h 992"/>
                <a:gd name="T26" fmla="*/ 2 w 994"/>
                <a:gd name="T27" fmla="*/ 522 h 992"/>
                <a:gd name="T28" fmla="*/ 6 w 994"/>
                <a:gd name="T29" fmla="*/ 572 h 992"/>
                <a:gd name="T30" fmla="*/ 16 w 994"/>
                <a:gd name="T31" fmla="*/ 620 h 992"/>
                <a:gd name="T32" fmla="*/ 30 w 994"/>
                <a:gd name="T33" fmla="*/ 666 h 992"/>
                <a:gd name="T34" fmla="*/ 60 w 994"/>
                <a:gd name="T35" fmla="*/ 732 h 992"/>
                <a:gd name="T36" fmla="*/ 114 w 994"/>
                <a:gd name="T37" fmla="*/ 812 h 992"/>
                <a:gd name="T38" fmla="*/ 182 w 994"/>
                <a:gd name="T39" fmla="*/ 878 h 992"/>
                <a:gd name="T40" fmla="*/ 260 w 994"/>
                <a:gd name="T41" fmla="*/ 932 h 992"/>
                <a:gd name="T42" fmla="*/ 326 w 994"/>
                <a:gd name="T43" fmla="*/ 962 h 992"/>
                <a:gd name="T44" fmla="*/ 374 w 994"/>
                <a:gd name="T45" fmla="*/ 976 h 992"/>
                <a:gd name="T46" fmla="*/ 422 w 994"/>
                <a:gd name="T47" fmla="*/ 986 h 992"/>
                <a:gd name="T48" fmla="*/ 472 w 994"/>
                <a:gd name="T49" fmla="*/ 992 h 992"/>
                <a:gd name="T50" fmla="*/ 498 w 994"/>
                <a:gd name="T51" fmla="*/ 992 h 992"/>
                <a:gd name="T52" fmla="*/ 548 w 994"/>
                <a:gd name="T53" fmla="*/ 990 h 992"/>
                <a:gd name="T54" fmla="*/ 596 w 994"/>
                <a:gd name="T55" fmla="*/ 982 h 992"/>
                <a:gd name="T56" fmla="*/ 644 w 994"/>
                <a:gd name="T57" fmla="*/ 970 h 992"/>
                <a:gd name="T58" fmla="*/ 690 w 994"/>
                <a:gd name="T59" fmla="*/ 954 h 992"/>
                <a:gd name="T60" fmla="*/ 774 w 994"/>
                <a:gd name="T61" fmla="*/ 908 h 992"/>
                <a:gd name="T62" fmla="*/ 848 w 994"/>
                <a:gd name="T63" fmla="*/ 846 h 992"/>
                <a:gd name="T64" fmla="*/ 908 w 994"/>
                <a:gd name="T65" fmla="*/ 774 h 992"/>
                <a:gd name="T66" fmla="*/ 954 w 994"/>
                <a:gd name="T67" fmla="*/ 690 h 992"/>
                <a:gd name="T68" fmla="*/ 972 w 994"/>
                <a:gd name="T69" fmla="*/ 644 h 992"/>
                <a:gd name="T70" fmla="*/ 984 w 994"/>
                <a:gd name="T71" fmla="*/ 596 h 992"/>
                <a:gd name="T72" fmla="*/ 990 w 994"/>
                <a:gd name="T73" fmla="*/ 546 h 992"/>
                <a:gd name="T74" fmla="*/ 994 w 994"/>
                <a:gd name="T75" fmla="*/ 496 h 992"/>
                <a:gd name="T76" fmla="*/ 992 w 994"/>
                <a:gd name="T77" fmla="*/ 470 h 992"/>
                <a:gd name="T78" fmla="*/ 988 w 994"/>
                <a:gd name="T79" fmla="*/ 420 h 992"/>
                <a:gd name="T80" fmla="*/ 978 w 994"/>
                <a:gd name="T81" fmla="*/ 372 h 992"/>
                <a:gd name="T82" fmla="*/ 964 w 994"/>
                <a:gd name="T83" fmla="*/ 326 h 992"/>
                <a:gd name="T84" fmla="*/ 934 w 994"/>
                <a:gd name="T85" fmla="*/ 260 h 992"/>
                <a:gd name="T86" fmla="*/ 880 w 994"/>
                <a:gd name="T87" fmla="*/ 180 h 992"/>
                <a:gd name="T88" fmla="*/ 812 w 994"/>
                <a:gd name="T89" fmla="*/ 114 h 992"/>
                <a:gd name="T90" fmla="*/ 734 w 994"/>
                <a:gd name="T91" fmla="*/ 60 h 992"/>
                <a:gd name="T92" fmla="*/ 668 w 994"/>
                <a:gd name="T93" fmla="*/ 30 h 992"/>
                <a:gd name="T94" fmla="*/ 620 w 994"/>
                <a:gd name="T95" fmla="*/ 16 h 992"/>
                <a:gd name="T96" fmla="*/ 572 w 994"/>
                <a:gd name="T97" fmla="*/ 6 h 992"/>
                <a:gd name="T98" fmla="*/ 522 w 994"/>
                <a:gd name="T99" fmla="*/ 0 h 992"/>
                <a:gd name="T100" fmla="*/ 498 w 994"/>
                <a:gd name="T101" fmla="*/ 0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94" h="992">
                  <a:moveTo>
                    <a:pt x="498" y="0"/>
                  </a:moveTo>
                  <a:lnTo>
                    <a:pt x="498" y="0"/>
                  </a:lnTo>
                  <a:lnTo>
                    <a:pt x="472" y="0"/>
                  </a:lnTo>
                  <a:lnTo>
                    <a:pt x="446" y="2"/>
                  </a:lnTo>
                  <a:lnTo>
                    <a:pt x="422" y="6"/>
                  </a:lnTo>
                  <a:lnTo>
                    <a:pt x="398" y="10"/>
                  </a:lnTo>
                  <a:lnTo>
                    <a:pt x="374" y="16"/>
                  </a:lnTo>
                  <a:lnTo>
                    <a:pt x="350" y="22"/>
                  </a:lnTo>
                  <a:lnTo>
                    <a:pt x="326" y="30"/>
                  </a:lnTo>
                  <a:lnTo>
                    <a:pt x="304" y="38"/>
                  </a:lnTo>
                  <a:lnTo>
                    <a:pt x="260" y="60"/>
                  </a:lnTo>
                  <a:lnTo>
                    <a:pt x="220" y="84"/>
                  </a:lnTo>
                  <a:lnTo>
                    <a:pt x="182" y="114"/>
                  </a:lnTo>
                  <a:lnTo>
                    <a:pt x="146" y="146"/>
                  </a:lnTo>
                  <a:lnTo>
                    <a:pt x="114" y="180"/>
                  </a:lnTo>
                  <a:lnTo>
                    <a:pt x="86" y="218"/>
                  </a:lnTo>
                  <a:lnTo>
                    <a:pt x="60" y="260"/>
                  </a:lnTo>
                  <a:lnTo>
                    <a:pt x="40" y="304"/>
                  </a:lnTo>
                  <a:lnTo>
                    <a:pt x="30" y="326"/>
                  </a:lnTo>
                  <a:lnTo>
                    <a:pt x="22" y="348"/>
                  </a:lnTo>
                  <a:lnTo>
                    <a:pt x="16" y="372"/>
                  </a:lnTo>
                  <a:lnTo>
                    <a:pt x="10" y="396"/>
                  </a:lnTo>
                  <a:lnTo>
                    <a:pt x="6" y="420"/>
                  </a:lnTo>
                  <a:lnTo>
                    <a:pt x="4" y="446"/>
                  </a:lnTo>
                  <a:lnTo>
                    <a:pt x="2" y="470"/>
                  </a:lnTo>
                  <a:lnTo>
                    <a:pt x="0" y="496"/>
                  </a:lnTo>
                  <a:lnTo>
                    <a:pt x="0" y="496"/>
                  </a:lnTo>
                  <a:lnTo>
                    <a:pt x="2" y="522"/>
                  </a:lnTo>
                  <a:lnTo>
                    <a:pt x="4" y="546"/>
                  </a:lnTo>
                  <a:lnTo>
                    <a:pt x="6" y="572"/>
                  </a:lnTo>
                  <a:lnTo>
                    <a:pt x="10" y="596"/>
                  </a:lnTo>
                  <a:lnTo>
                    <a:pt x="16" y="620"/>
                  </a:lnTo>
                  <a:lnTo>
                    <a:pt x="22" y="644"/>
                  </a:lnTo>
                  <a:lnTo>
                    <a:pt x="30" y="666"/>
                  </a:lnTo>
                  <a:lnTo>
                    <a:pt x="40" y="690"/>
                  </a:lnTo>
                  <a:lnTo>
                    <a:pt x="60" y="732"/>
                  </a:lnTo>
                  <a:lnTo>
                    <a:pt x="86" y="774"/>
                  </a:lnTo>
                  <a:lnTo>
                    <a:pt x="114" y="812"/>
                  </a:lnTo>
                  <a:lnTo>
                    <a:pt x="146" y="846"/>
                  </a:lnTo>
                  <a:lnTo>
                    <a:pt x="182" y="878"/>
                  </a:lnTo>
                  <a:lnTo>
                    <a:pt x="220" y="908"/>
                  </a:lnTo>
                  <a:lnTo>
                    <a:pt x="260" y="932"/>
                  </a:lnTo>
                  <a:lnTo>
                    <a:pt x="304" y="954"/>
                  </a:lnTo>
                  <a:lnTo>
                    <a:pt x="326" y="962"/>
                  </a:lnTo>
                  <a:lnTo>
                    <a:pt x="350" y="970"/>
                  </a:lnTo>
                  <a:lnTo>
                    <a:pt x="374" y="976"/>
                  </a:lnTo>
                  <a:lnTo>
                    <a:pt x="398" y="982"/>
                  </a:lnTo>
                  <a:lnTo>
                    <a:pt x="422" y="986"/>
                  </a:lnTo>
                  <a:lnTo>
                    <a:pt x="446" y="990"/>
                  </a:lnTo>
                  <a:lnTo>
                    <a:pt x="472" y="992"/>
                  </a:lnTo>
                  <a:lnTo>
                    <a:pt x="498" y="992"/>
                  </a:lnTo>
                  <a:lnTo>
                    <a:pt x="498" y="992"/>
                  </a:lnTo>
                  <a:lnTo>
                    <a:pt x="522" y="992"/>
                  </a:lnTo>
                  <a:lnTo>
                    <a:pt x="548" y="990"/>
                  </a:lnTo>
                  <a:lnTo>
                    <a:pt x="572" y="986"/>
                  </a:lnTo>
                  <a:lnTo>
                    <a:pt x="596" y="982"/>
                  </a:lnTo>
                  <a:lnTo>
                    <a:pt x="620" y="976"/>
                  </a:lnTo>
                  <a:lnTo>
                    <a:pt x="644" y="970"/>
                  </a:lnTo>
                  <a:lnTo>
                    <a:pt x="668" y="962"/>
                  </a:lnTo>
                  <a:lnTo>
                    <a:pt x="690" y="954"/>
                  </a:lnTo>
                  <a:lnTo>
                    <a:pt x="734" y="932"/>
                  </a:lnTo>
                  <a:lnTo>
                    <a:pt x="774" y="908"/>
                  </a:lnTo>
                  <a:lnTo>
                    <a:pt x="812" y="878"/>
                  </a:lnTo>
                  <a:lnTo>
                    <a:pt x="848" y="846"/>
                  </a:lnTo>
                  <a:lnTo>
                    <a:pt x="880" y="812"/>
                  </a:lnTo>
                  <a:lnTo>
                    <a:pt x="908" y="774"/>
                  </a:lnTo>
                  <a:lnTo>
                    <a:pt x="934" y="732"/>
                  </a:lnTo>
                  <a:lnTo>
                    <a:pt x="954" y="690"/>
                  </a:lnTo>
                  <a:lnTo>
                    <a:pt x="964" y="666"/>
                  </a:lnTo>
                  <a:lnTo>
                    <a:pt x="972" y="644"/>
                  </a:lnTo>
                  <a:lnTo>
                    <a:pt x="978" y="620"/>
                  </a:lnTo>
                  <a:lnTo>
                    <a:pt x="984" y="596"/>
                  </a:lnTo>
                  <a:lnTo>
                    <a:pt x="988" y="572"/>
                  </a:lnTo>
                  <a:lnTo>
                    <a:pt x="990" y="546"/>
                  </a:lnTo>
                  <a:lnTo>
                    <a:pt x="992" y="522"/>
                  </a:lnTo>
                  <a:lnTo>
                    <a:pt x="994" y="496"/>
                  </a:lnTo>
                  <a:lnTo>
                    <a:pt x="994" y="496"/>
                  </a:lnTo>
                  <a:lnTo>
                    <a:pt x="992" y="470"/>
                  </a:lnTo>
                  <a:lnTo>
                    <a:pt x="990" y="446"/>
                  </a:lnTo>
                  <a:lnTo>
                    <a:pt x="988" y="420"/>
                  </a:lnTo>
                  <a:lnTo>
                    <a:pt x="984" y="396"/>
                  </a:lnTo>
                  <a:lnTo>
                    <a:pt x="978" y="372"/>
                  </a:lnTo>
                  <a:lnTo>
                    <a:pt x="972" y="348"/>
                  </a:lnTo>
                  <a:lnTo>
                    <a:pt x="964" y="326"/>
                  </a:lnTo>
                  <a:lnTo>
                    <a:pt x="954" y="304"/>
                  </a:lnTo>
                  <a:lnTo>
                    <a:pt x="934" y="260"/>
                  </a:lnTo>
                  <a:lnTo>
                    <a:pt x="908" y="218"/>
                  </a:lnTo>
                  <a:lnTo>
                    <a:pt x="880" y="180"/>
                  </a:lnTo>
                  <a:lnTo>
                    <a:pt x="848" y="146"/>
                  </a:lnTo>
                  <a:lnTo>
                    <a:pt x="812" y="114"/>
                  </a:lnTo>
                  <a:lnTo>
                    <a:pt x="774" y="84"/>
                  </a:lnTo>
                  <a:lnTo>
                    <a:pt x="734" y="60"/>
                  </a:lnTo>
                  <a:lnTo>
                    <a:pt x="690" y="38"/>
                  </a:lnTo>
                  <a:lnTo>
                    <a:pt x="668" y="30"/>
                  </a:lnTo>
                  <a:lnTo>
                    <a:pt x="644" y="22"/>
                  </a:lnTo>
                  <a:lnTo>
                    <a:pt x="620" y="16"/>
                  </a:lnTo>
                  <a:lnTo>
                    <a:pt x="596" y="10"/>
                  </a:lnTo>
                  <a:lnTo>
                    <a:pt x="572" y="6"/>
                  </a:lnTo>
                  <a:lnTo>
                    <a:pt x="548" y="2"/>
                  </a:lnTo>
                  <a:lnTo>
                    <a:pt x="522" y="0"/>
                  </a:lnTo>
                  <a:lnTo>
                    <a:pt x="498" y="0"/>
                  </a:lnTo>
                  <a:lnTo>
                    <a:pt x="4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Line 77">
              <a:extLst>
                <a:ext uri="{FF2B5EF4-FFF2-40B4-BE49-F238E27FC236}">
                  <a16:creationId xmlns:a16="http://schemas.microsoft.com/office/drawing/2014/main" id="{AEBD3A84-A423-42C3-B926-5A71958E28FD}"/>
                </a:ext>
              </a:extLst>
            </p:cNvPr>
            <p:cNvSpPr>
              <a:spLocks noChangeShapeType="1"/>
            </p:cNvSpPr>
            <p:nvPr/>
          </p:nvSpPr>
          <p:spPr bwMode="auto">
            <a:xfrm>
              <a:off x="-2930525"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78">
              <a:extLst>
                <a:ext uri="{FF2B5EF4-FFF2-40B4-BE49-F238E27FC236}">
                  <a16:creationId xmlns:a16="http://schemas.microsoft.com/office/drawing/2014/main" id="{E8BF85A3-945B-410A-9349-60E8ADFDA3BE}"/>
                </a:ext>
              </a:extLst>
            </p:cNvPr>
            <p:cNvSpPr>
              <a:spLocks noEditPoints="1"/>
            </p:cNvSpPr>
            <p:nvPr/>
          </p:nvSpPr>
          <p:spPr bwMode="auto">
            <a:xfrm>
              <a:off x="-4860925" y="2095500"/>
              <a:ext cx="771525" cy="771525"/>
            </a:xfrm>
            <a:custGeom>
              <a:avLst/>
              <a:gdLst>
                <a:gd name="T0" fmla="*/ 486 w 486"/>
                <a:gd name="T1" fmla="*/ 244 h 486"/>
                <a:gd name="T2" fmla="*/ 482 w 486"/>
                <a:gd name="T3" fmla="*/ 292 h 486"/>
                <a:gd name="T4" fmla="*/ 468 w 486"/>
                <a:gd name="T5" fmla="*/ 338 h 486"/>
                <a:gd name="T6" fmla="*/ 446 w 486"/>
                <a:gd name="T7" fmla="*/ 380 h 486"/>
                <a:gd name="T8" fmla="*/ 416 w 486"/>
                <a:gd name="T9" fmla="*/ 416 h 486"/>
                <a:gd name="T10" fmla="*/ 380 w 486"/>
                <a:gd name="T11" fmla="*/ 444 h 486"/>
                <a:gd name="T12" fmla="*/ 338 w 486"/>
                <a:gd name="T13" fmla="*/ 468 h 486"/>
                <a:gd name="T14" fmla="*/ 292 w 486"/>
                <a:gd name="T15" fmla="*/ 482 h 486"/>
                <a:gd name="T16" fmla="*/ 244 w 486"/>
                <a:gd name="T17" fmla="*/ 486 h 486"/>
                <a:gd name="T18" fmla="*/ 218 w 486"/>
                <a:gd name="T19" fmla="*/ 486 h 486"/>
                <a:gd name="T20" fmla="*/ 172 w 486"/>
                <a:gd name="T21" fmla="*/ 476 h 486"/>
                <a:gd name="T22" fmla="*/ 128 w 486"/>
                <a:gd name="T23" fmla="*/ 458 h 486"/>
                <a:gd name="T24" fmla="*/ 88 w 486"/>
                <a:gd name="T25" fmla="*/ 430 h 486"/>
                <a:gd name="T26" fmla="*/ 56 w 486"/>
                <a:gd name="T27" fmla="*/ 398 h 486"/>
                <a:gd name="T28" fmla="*/ 30 w 486"/>
                <a:gd name="T29" fmla="*/ 360 h 486"/>
                <a:gd name="T30" fmla="*/ 12 w 486"/>
                <a:gd name="T31" fmla="*/ 316 h 486"/>
                <a:gd name="T32" fmla="*/ 2 w 486"/>
                <a:gd name="T33" fmla="*/ 268 h 486"/>
                <a:gd name="T34" fmla="*/ 0 w 486"/>
                <a:gd name="T35" fmla="*/ 244 h 486"/>
                <a:gd name="T36" fmla="*/ 6 w 486"/>
                <a:gd name="T37" fmla="*/ 194 h 486"/>
                <a:gd name="T38" fmla="*/ 20 w 486"/>
                <a:gd name="T39" fmla="*/ 148 h 486"/>
                <a:gd name="T40" fmla="*/ 42 w 486"/>
                <a:gd name="T41" fmla="*/ 106 h 486"/>
                <a:gd name="T42" fmla="*/ 72 w 486"/>
                <a:gd name="T43" fmla="*/ 70 h 486"/>
                <a:gd name="T44" fmla="*/ 108 w 486"/>
                <a:gd name="T45" fmla="*/ 42 h 486"/>
                <a:gd name="T46" fmla="*/ 148 w 486"/>
                <a:gd name="T47" fmla="*/ 18 h 486"/>
                <a:gd name="T48" fmla="*/ 194 w 486"/>
                <a:gd name="T49" fmla="*/ 4 h 486"/>
                <a:gd name="T50" fmla="*/ 244 w 486"/>
                <a:gd name="T51" fmla="*/ 0 h 486"/>
                <a:gd name="T52" fmla="*/ 268 w 486"/>
                <a:gd name="T53" fmla="*/ 0 h 486"/>
                <a:gd name="T54" fmla="*/ 316 w 486"/>
                <a:gd name="T55" fmla="*/ 10 h 486"/>
                <a:gd name="T56" fmla="*/ 360 w 486"/>
                <a:gd name="T57" fmla="*/ 28 h 486"/>
                <a:gd name="T58" fmla="*/ 398 w 486"/>
                <a:gd name="T59" fmla="*/ 56 h 486"/>
                <a:gd name="T60" fmla="*/ 432 w 486"/>
                <a:gd name="T61" fmla="*/ 88 h 486"/>
                <a:gd name="T62" fmla="*/ 458 w 486"/>
                <a:gd name="T63" fmla="*/ 128 h 486"/>
                <a:gd name="T64" fmla="*/ 476 w 486"/>
                <a:gd name="T65" fmla="*/ 170 h 486"/>
                <a:gd name="T66" fmla="*/ 486 w 486"/>
                <a:gd name="T67" fmla="*/ 218 h 486"/>
                <a:gd name="T68" fmla="*/ 486 w 486"/>
                <a:gd name="T69" fmla="*/ 244 h 486"/>
                <a:gd name="T70" fmla="*/ 486 w 486"/>
                <a:gd name="T71" fmla="*/ 24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6" h="486">
                  <a:moveTo>
                    <a:pt x="486" y="244"/>
                  </a:moveTo>
                  <a:lnTo>
                    <a:pt x="486" y="244"/>
                  </a:lnTo>
                  <a:lnTo>
                    <a:pt x="486" y="268"/>
                  </a:lnTo>
                  <a:lnTo>
                    <a:pt x="482" y="292"/>
                  </a:lnTo>
                  <a:lnTo>
                    <a:pt x="476" y="316"/>
                  </a:lnTo>
                  <a:lnTo>
                    <a:pt x="468" y="338"/>
                  </a:lnTo>
                  <a:lnTo>
                    <a:pt x="458" y="360"/>
                  </a:lnTo>
                  <a:lnTo>
                    <a:pt x="446" y="380"/>
                  </a:lnTo>
                  <a:lnTo>
                    <a:pt x="432" y="398"/>
                  </a:lnTo>
                  <a:lnTo>
                    <a:pt x="416" y="416"/>
                  </a:lnTo>
                  <a:lnTo>
                    <a:pt x="398" y="430"/>
                  </a:lnTo>
                  <a:lnTo>
                    <a:pt x="380" y="444"/>
                  </a:lnTo>
                  <a:lnTo>
                    <a:pt x="360" y="458"/>
                  </a:lnTo>
                  <a:lnTo>
                    <a:pt x="338" y="468"/>
                  </a:lnTo>
                  <a:lnTo>
                    <a:pt x="316" y="476"/>
                  </a:lnTo>
                  <a:lnTo>
                    <a:pt x="292" y="482"/>
                  </a:lnTo>
                  <a:lnTo>
                    <a:pt x="268" y="486"/>
                  </a:lnTo>
                  <a:lnTo>
                    <a:pt x="244" y="486"/>
                  </a:lnTo>
                  <a:lnTo>
                    <a:pt x="244" y="486"/>
                  </a:lnTo>
                  <a:lnTo>
                    <a:pt x="218" y="486"/>
                  </a:lnTo>
                  <a:lnTo>
                    <a:pt x="194" y="482"/>
                  </a:lnTo>
                  <a:lnTo>
                    <a:pt x="172" y="476"/>
                  </a:lnTo>
                  <a:lnTo>
                    <a:pt x="148" y="468"/>
                  </a:lnTo>
                  <a:lnTo>
                    <a:pt x="128" y="458"/>
                  </a:lnTo>
                  <a:lnTo>
                    <a:pt x="108" y="444"/>
                  </a:lnTo>
                  <a:lnTo>
                    <a:pt x="88" y="430"/>
                  </a:lnTo>
                  <a:lnTo>
                    <a:pt x="72" y="416"/>
                  </a:lnTo>
                  <a:lnTo>
                    <a:pt x="56" y="398"/>
                  </a:lnTo>
                  <a:lnTo>
                    <a:pt x="42" y="380"/>
                  </a:lnTo>
                  <a:lnTo>
                    <a:pt x="30" y="360"/>
                  </a:lnTo>
                  <a:lnTo>
                    <a:pt x="20" y="338"/>
                  </a:lnTo>
                  <a:lnTo>
                    <a:pt x="12" y="316"/>
                  </a:lnTo>
                  <a:lnTo>
                    <a:pt x="6" y="292"/>
                  </a:lnTo>
                  <a:lnTo>
                    <a:pt x="2" y="268"/>
                  </a:lnTo>
                  <a:lnTo>
                    <a:pt x="0" y="244"/>
                  </a:lnTo>
                  <a:lnTo>
                    <a:pt x="0" y="244"/>
                  </a:lnTo>
                  <a:lnTo>
                    <a:pt x="2" y="218"/>
                  </a:lnTo>
                  <a:lnTo>
                    <a:pt x="6" y="194"/>
                  </a:lnTo>
                  <a:lnTo>
                    <a:pt x="12" y="170"/>
                  </a:lnTo>
                  <a:lnTo>
                    <a:pt x="20" y="148"/>
                  </a:lnTo>
                  <a:lnTo>
                    <a:pt x="30" y="128"/>
                  </a:lnTo>
                  <a:lnTo>
                    <a:pt x="42" y="106"/>
                  </a:lnTo>
                  <a:lnTo>
                    <a:pt x="56" y="88"/>
                  </a:lnTo>
                  <a:lnTo>
                    <a:pt x="72" y="70"/>
                  </a:lnTo>
                  <a:lnTo>
                    <a:pt x="88" y="56"/>
                  </a:lnTo>
                  <a:lnTo>
                    <a:pt x="108" y="42"/>
                  </a:lnTo>
                  <a:lnTo>
                    <a:pt x="128" y="28"/>
                  </a:lnTo>
                  <a:lnTo>
                    <a:pt x="148" y="18"/>
                  </a:lnTo>
                  <a:lnTo>
                    <a:pt x="172" y="10"/>
                  </a:lnTo>
                  <a:lnTo>
                    <a:pt x="194" y="4"/>
                  </a:lnTo>
                  <a:lnTo>
                    <a:pt x="218" y="0"/>
                  </a:lnTo>
                  <a:lnTo>
                    <a:pt x="244" y="0"/>
                  </a:lnTo>
                  <a:lnTo>
                    <a:pt x="244" y="0"/>
                  </a:lnTo>
                  <a:lnTo>
                    <a:pt x="268" y="0"/>
                  </a:lnTo>
                  <a:lnTo>
                    <a:pt x="292" y="4"/>
                  </a:lnTo>
                  <a:lnTo>
                    <a:pt x="316" y="10"/>
                  </a:lnTo>
                  <a:lnTo>
                    <a:pt x="338" y="18"/>
                  </a:lnTo>
                  <a:lnTo>
                    <a:pt x="360" y="28"/>
                  </a:lnTo>
                  <a:lnTo>
                    <a:pt x="380" y="42"/>
                  </a:lnTo>
                  <a:lnTo>
                    <a:pt x="398" y="56"/>
                  </a:lnTo>
                  <a:lnTo>
                    <a:pt x="416" y="70"/>
                  </a:lnTo>
                  <a:lnTo>
                    <a:pt x="432" y="88"/>
                  </a:lnTo>
                  <a:lnTo>
                    <a:pt x="446" y="106"/>
                  </a:lnTo>
                  <a:lnTo>
                    <a:pt x="458" y="128"/>
                  </a:lnTo>
                  <a:lnTo>
                    <a:pt x="468" y="148"/>
                  </a:lnTo>
                  <a:lnTo>
                    <a:pt x="476" y="170"/>
                  </a:lnTo>
                  <a:lnTo>
                    <a:pt x="482" y="194"/>
                  </a:lnTo>
                  <a:lnTo>
                    <a:pt x="486" y="218"/>
                  </a:lnTo>
                  <a:lnTo>
                    <a:pt x="486" y="244"/>
                  </a:lnTo>
                  <a:lnTo>
                    <a:pt x="486" y="244"/>
                  </a:lnTo>
                  <a:close/>
                  <a:moveTo>
                    <a:pt x="486" y="244"/>
                  </a:moveTo>
                  <a:lnTo>
                    <a:pt x="486" y="244"/>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7" name="Freeform 79">
              <a:extLst>
                <a:ext uri="{FF2B5EF4-FFF2-40B4-BE49-F238E27FC236}">
                  <a16:creationId xmlns:a16="http://schemas.microsoft.com/office/drawing/2014/main" id="{64C3C1FB-44C9-4339-9006-A3A76DCABEB1}"/>
                </a:ext>
              </a:extLst>
            </p:cNvPr>
            <p:cNvSpPr>
              <a:spLocks/>
            </p:cNvSpPr>
            <p:nvPr/>
          </p:nvSpPr>
          <p:spPr bwMode="auto">
            <a:xfrm>
              <a:off x="-4860925" y="2095500"/>
              <a:ext cx="771525" cy="771525"/>
            </a:xfrm>
            <a:custGeom>
              <a:avLst/>
              <a:gdLst>
                <a:gd name="T0" fmla="*/ 486 w 486"/>
                <a:gd name="T1" fmla="*/ 244 h 486"/>
                <a:gd name="T2" fmla="*/ 482 w 486"/>
                <a:gd name="T3" fmla="*/ 292 h 486"/>
                <a:gd name="T4" fmla="*/ 468 w 486"/>
                <a:gd name="T5" fmla="*/ 338 h 486"/>
                <a:gd name="T6" fmla="*/ 446 w 486"/>
                <a:gd name="T7" fmla="*/ 380 h 486"/>
                <a:gd name="T8" fmla="*/ 416 w 486"/>
                <a:gd name="T9" fmla="*/ 416 h 486"/>
                <a:gd name="T10" fmla="*/ 380 w 486"/>
                <a:gd name="T11" fmla="*/ 444 h 486"/>
                <a:gd name="T12" fmla="*/ 338 w 486"/>
                <a:gd name="T13" fmla="*/ 468 h 486"/>
                <a:gd name="T14" fmla="*/ 292 w 486"/>
                <a:gd name="T15" fmla="*/ 482 h 486"/>
                <a:gd name="T16" fmla="*/ 244 w 486"/>
                <a:gd name="T17" fmla="*/ 486 h 486"/>
                <a:gd name="T18" fmla="*/ 218 w 486"/>
                <a:gd name="T19" fmla="*/ 486 h 486"/>
                <a:gd name="T20" fmla="*/ 172 w 486"/>
                <a:gd name="T21" fmla="*/ 476 h 486"/>
                <a:gd name="T22" fmla="*/ 128 w 486"/>
                <a:gd name="T23" fmla="*/ 458 h 486"/>
                <a:gd name="T24" fmla="*/ 88 w 486"/>
                <a:gd name="T25" fmla="*/ 430 h 486"/>
                <a:gd name="T26" fmla="*/ 56 w 486"/>
                <a:gd name="T27" fmla="*/ 398 h 486"/>
                <a:gd name="T28" fmla="*/ 30 w 486"/>
                <a:gd name="T29" fmla="*/ 360 h 486"/>
                <a:gd name="T30" fmla="*/ 12 w 486"/>
                <a:gd name="T31" fmla="*/ 316 h 486"/>
                <a:gd name="T32" fmla="*/ 2 w 486"/>
                <a:gd name="T33" fmla="*/ 268 h 486"/>
                <a:gd name="T34" fmla="*/ 0 w 486"/>
                <a:gd name="T35" fmla="*/ 244 h 486"/>
                <a:gd name="T36" fmla="*/ 6 w 486"/>
                <a:gd name="T37" fmla="*/ 194 h 486"/>
                <a:gd name="T38" fmla="*/ 20 w 486"/>
                <a:gd name="T39" fmla="*/ 148 h 486"/>
                <a:gd name="T40" fmla="*/ 42 w 486"/>
                <a:gd name="T41" fmla="*/ 106 h 486"/>
                <a:gd name="T42" fmla="*/ 72 w 486"/>
                <a:gd name="T43" fmla="*/ 70 h 486"/>
                <a:gd name="T44" fmla="*/ 108 w 486"/>
                <a:gd name="T45" fmla="*/ 42 h 486"/>
                <a:gd name="T46" fmla="*/ 148 w 486"/>
                <a:gd name="T47" fmla="*/ 18 h 486"/>
                <a:gd name="T48" fmla="*/ 194 w 486"/>
                <a:gd name="T49" fmla="*/ 4 h 486"/>
                <a:gd name="T50" fmla="*/ 244 w 486"/>
                <a:gd name="T51" fmla="*/ 0 h 486"/>
                <a:gd name="T52" fmla="*/ 268 w 486"/>
                <a:gd name="T53" fmla="*/ 0 h 486"/>
                <a:gd name="T54" fmla="*/ 316 w 486"/>
                <a:gd name="T55" fmla="*/ 10 h 486"/>
                <a:gd name="T56" fmla="*/ 360 w 486"/>
                <a:gd name="T57" fmla="*/ 28 h 486"/>
                <a:gd name="T58" fmla="*/ 398 w 486"/>
                <a:gd name="T59" fmla="*/ 56 h 486"/>
                <a:gd name="T60" fmla="*/ 432 w 486"/>
                <a:gd name="T61" fmla="*/ 88 h 486"/>
                <a:gd name="T62" fmla="*/ 458 w 486"/>
                <a:gd name="T63" fmla="*/ 128 h 486"/>
                <a:gd name="T64" fmla="*/ 476 w 486"/>
                <a:gd name="T65" fmla="*/ 170 h 486"/>
                <a:gd name="T66" fmla="*/ 486 w 486"/>
                <a:gd name="T67" fmla="*/ 218 h 486"/>
                <a:gd name="T68" fmla="*/ 486 w 486"/>
                <a:gd name="T69" fmla="*/ 24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6" h="486">
                  <a:moveTo>
                    <a:pt x="486" y="244"/>
                  </a:moveTo>
                  <a:lnTo>
                    <a:pt x="486" y="244"/>
                  </a:lnTo>
                  <a:lnTo>
                    <a:pt x="486" y="268"/>
                  </a:lnTo>
                  <a:lnTo>
                    <a:pt x="482" y="292"/>
                  </a:lnTo>
                  <a:lnTo>
                    <a:pt x="476" y="316"/>
                  </a:lnTo>
                  <a:lnTo>
                    <a:pt x="468" y="338"/>
                  </a:lnTo>
                  <a:lnTo>
                    <a:pt x="458" y="360"/>
                  </a:lnTo>
                  <a:lnTo>
                    <a:pt x="446" y="380"/>
                  </a:lnTo>
                  <a:lnTo>
                    <a:pt x="432" y="398"/>
                  </a:lnTo>
                  <a:lnTo>
                    <a:pt x="416" y="416"/>
                  </a:lnTo>
                  <a:lnTo>
                    <a:pt x="398" y="430"/>
                  </a:lnTo>
                  <a:lnTo>
                    <a:pt x="380" y="444"/>
                  </a:lnTo>
                  <a:lnTo>
                    <a:pt x="360" y="458"/>
                  </a:lnTo>
                  <a:lnTo>
                    <a:pt x="338" y="468"/>
                  </a:lnTo>
                  <a:lnTo>
                    <a:pt x="316" y="476"/>
                  </a:lnTo>
                  <a:lnTo>
                    <a:pt x="292" y="482"/>
                  </a:lnTo>
                  <a:lnTo>
                    <a:pt x="268" y="486"/>
                  </a:lnTo>
                  <a:lnTo>
                    <a:pt x="244" y="486"/>
                  </a:lnTo>
                  <a:lnTo>
                    <a:pt x="244" y="486"/>
                  </a:lnTo>
                  <a:lnTo>
                    <a:pt x="218" y="486"/>
                  </a:lnTo>
                  <a:lnTo>
                    <a:pt x="194" y="482"/>
                  </a:lnTo>
                  <a:lnTo>
                    <a:pt x="172" y="476"/>
                  </a:lnTo>
                  <a:lnTo>
                    <a:pt x="148" y="468"/>
                  </a:lnTo>
                  <a:lnTo>
                    <a:pt x="128" y="458"/>
                  </a:lnTo>
                  <a:lnTo>
                    <a:pt x="108" y="444"/>
                  </a:lnTo>
                  <a:lnTo>
                    <a:pt x="88" y="430"/>
                  </a:lnTo>
                  <a:lnTo>
                    <a:pt x="72" y="416"/>
                  </a:lnTo>
                  <a:lnTo>
                    <a:pt x="56" y="398"/>
                  </a:lnTo>
                  <a:lnTo>
                    <a:pt x="42" y="380"/>
                  </a:lnTo>
                  <a:lnTo>
                    <a:pt x="30" y="360"/>
                  </a:lnTo>
                  <a:lnTo>
                    <a:pt x="20" y="338"/>
                  </a:lnTo>
                  <a:lnTo>
                    <a:pt x="12" y="316"/>
                  </a:lnTo>
                  <a:lnTo>
                    <a:pt x="6" y="292"/>
                  </a:lnTo>
                  <a:lnTo>
                    <a:pt x="2" y="268"/>
                  </a:lnTo>
                  <a:lnTo>
                    <a:pt x="0" y="244"/>
                  </a:lnTo>
                  <a:lnTo>
                    <a:pt x="0" y="244"/>
                  </a:lnTo>
                  <a:lnTo>
                    <a:pt x="2" y="218"/>
                  </a:lnTo>
                  <a:lnTo>
                    <a:pt x="6" y="194"/>
                  </a:lnTo>
                  <a:lnTo>
                    <a:pt x="12" y="170"/>
                  </a:lnTo>
                  <a:lnTo>
                    <a:pt x="20" y="148"/>
                  </a:lnTo>
                  <a:lnTo>
                    <a:pt x="30" y="128"/>
                  </a:lnTo>
                  <a:lnTo>
                    <a:pt x="42" y="106"/>
                  </a:lnTo>
                  <a:lnTo>
                    <a:pt x="56" y="88"/>
                  </a:lnTo>
                  <a:lnTo>
                    <a:pt x="72" y="70"/>
                  </a:lnTo>
                  <a:lnTo>
                    <a:pt x="88" y="56"/>
                  </a:lnTo>
                  <a:lnTo>
                    <a:pt x="108" y="42"/>
                  </a:lnTo>
                  <a:lnTo>
                    <a:pt x="128" y="28"/>
                  </a:lnTo>
                  <a:lnTo>
                    <a:pt x="148" y="18"/>
                  </a:lnTo>
                  <a:lnTo>
                    <a:pt x="172" y="10"/>
                  </a:lnTo>
                  <a:lnTo>
                    <a:pt x="194" y="4"/>
                  </a:lnTo>
                  <a:lnTo>
                    <a:pt x="218" y="0"/>
                  </a:lnTo>
                  <a:lnTo>
                    <a:pt x="244" y="0"/>
                  </a:lnTo>
                  <a:lnTo>
                    <a:pt x="244" y="0"/>
                  </a:lnTo>
                  <a:lnTo>
                    <a:pt x="268" y="0"/>
                  </a:lnTo>
                  <a:lnTo>
                    <a:pt x="292" y="4"/>
                  </a:lnTo>
                  <a:lnTo>
                    <a:pt x="316" y="10"/>
                  </a:lnTo>
                  <a:lnTo>
                    <a:pt x="338" y="18"/>
                  </a:lnTo>
                  <a:lnTo>
                    <a:pt x="360" y="28"/>
                  </a:lnTo>
                  <a:lnTo>
                    <a:pt x="380" y="42"/>
                  </a:lnTo>
                  <a:lnTo>
                    <a:pt x="398" y="56"/>
                  </a:lnTo>
                  <a:lnTo>
                    <a:pt x="416" y="70"/>
                  </a:lnTo>
                  <a:lnTo>
                    <a:pt x="432" y="88"/>
                  </a:lnTo>
                  <a:lnTo>
                    <a:pt x="446" y="106"/>
                  </a:lnTo>
                  <a:lnTo>
                    <a:pt x="458" y="128"/>
                  </a:lnTo>
                  <a:lnTo>
                    <a:pt x="468" y="148"/>
                  </a:lnTo>
                  <a:lnTo>
                    <a:pt x="476" y="170"/>
                  </a:lnTo>
                  <a:lnTo>
                    <a:pt x="482" y="194"/>
                  </a:lnTo>
                  <a:lnTo>
                    <a:pt x="486" y="218"/>
                  </a:lnTo>
                  <a:lnTo>
                    <a:pt x="486" y="244"/>
                  </a:lnTo>
                  <a:lnTo>
                    <a:pt x="486" y="2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Line 80">
              <a:extLst>
                <a:ext uri="{FF2B5EF4-FFF2-40B4-BE49-F238E27FC236}">
                  <a16:creationId xmlns:a16="http://schemas.microsoft.com/office/drawing/2014/main" id="{ABB8CA27-9FAF-4997-94DA-C8D706AA78EB}"/>
                </a:ext>
              </a:extLst>
            </p:cNvPr>
            <p:cNvSpPr>
              <a:spLocks noChangeShapeType="1"/>
            </p:cNvSpPr>
            <p:nvPr/>
          </p:nvSpPr>
          <p:spPr bwMode="auto">
            <a:xfrm>
              <a:off x="-4089400" y="24828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81">
              <a:extLst>
                <a:ext uri="{FF2B5EF4-FFF2-40B4-BE49-F238E27FC236}">
                  <a16:creationId xmlns:a16="http://schemas.microsoft.com/office/drawing/2014/main" id="{9931E9AD-B5E5-4BA5-ACB5-E3CF669CAFAF}"/>
                </a:ext>
              </a:extLst>
            </p:cNvPr>
            <p:cNvSpPr>
              <a:spLocks noEditPoints="1"/>
            </p:cNvSpPr>
            <p:nvPr/>
          </p:nvSpPr>
          <p:spPr bwMode="auto">
            <a:xfrm>
              <a:off x="-5003800" y="1952625"/>
              <a:ext cx="1057275" cy="1057275"/>
            </a:xfrm>
            <a:custGeom>
              <a:avLst/>
              <a:gdLst>
                <a:gd name="T0" fmla="*/ 300 w 666"/>
                <a:gd name="T1" fmla="*/ 664 h 666"/>
                <a:gd name="T2" fmla="*/ 204 w 666"/>
                <a:gd name="T3" fmla="*/ 640 h 666"/>
                <a:gd name="T4" fmla="*/ 122 w 666"/>
                <a:gd name="T5" fmla="*/ 590 h 666"/>
                <a:gd name="T6" fmla="*/ 58 w 666"/>
                <a:gd name="T7" fmla="*/ 520 h 666"/>
                <a:gd name="T8" fmla="*/ 16 w 666"/>
                <a:gd name="T9" fmla="*/ 432 h 666"/>
                <a:gd name="T10" fmla="*/ 0 w 666"/>
                <a:gd name="T11" fmla="*/ 334 h 666"/>
                <a:gd name="T12" fmla="*/ 8 w 666"/>
                <a:gd name="T13" fmla="*/ 266 h 666"/>
                <a:gd name="T14" fmla="*/ 40 w 666"/>
                <a:gd name="T15" fmla="*/ 174 h 666"/>
                <a:gd name="T16" fmla="*/ 98 w 666"/>
                <a:gd name="T17" fmla="*/ 98 h 666"/>
                <a:gd name="T18" fmla="*/ 174 w 666"/>
                <a:gd name="T19" fmla="*/ 40 h 666"/>
                <a:gd name="T20" fmla="*/ 266 w 666"/>
                <a:gd name="T21" fmla="*/ 6 h 666"/>
                <a:gd name="T22" fmla="*/ 334 w 666"/>
                <a:gd name="T23" fmla="*/ 0 h 666"/>
                <a:gd name="T24" fmla="*/ 432 w 666"/>
                <a:gd name="T25" fmla="*/ 14 h 666"/>
                <a:gd name="T26" fmla="*/ 520 w 666"/>
                <a:gd name="T27" fmla="*/ 56 h 666"/>
                <a:gd name="T28" fmla="*/ 590 w 666"/>
                <a:gd name="T29" fmla="*/ 122 h 666"/>
                <a:gd name="T30" fmla="*/ 640 w 666"/>
                <a:gd name="T31" fmla="*/ 204 h 666"/>
                <a:gd name="T32" fmla="*/ 664 w 666"/>
                <a:gd name="T33" fmla="*/ 300 h 666"/>
                <a:gd name="T34" fmla="*/ 664 w 666"/>
                <a:gd name="T35" fmla="*/ 368 h 666"/>
                <a:gd name="T36" fmla="*/ 640 w 666"/>
                <a:gd name="T37" fmla="*/ 462 h 666"/>
                <a:gd name="T38" fmla="*/ 590 w 666"/>
                <a:gd name="T39" fmla="*/ 544 h 666"/>
                <a:gd name="T40" fmla="*/ 520 w 666"/>
                <a:gd name="T41" fmla="*/ 610 h 666"/>
                <a:gd name="T42" fmla="*/ 432 w 666"/>
                <a:gd name="T43" fmla="*/ 652 h 666"/>
                <a:gd name="T44" fmla="*/ 334 w 666"/>
                <a:gd name="T45" fmla="*/ 666 h 666"/>
                <a:gd name="T46" fmla="*/ 334 w 666"/>
                <a:gd name="T47" fmla="*/ 180 h 666"/>
                <a:gd name="T48" fmla="*/ 288 w 666"/>
                <a:gd name="T49" fmla="*/ 186 h 666"/>
                <a:gd name="T50" fmla="*/ 248 w 666"/>
                <a:gd name="T51" fmla="*/ 206 h 666"/>
                <a:gd name="T52" fmla="*/ 214 w 666"/>
                <a:gd name="T53" fmla="*/ 236 h 666"/>
                <a:gd name="T54" fmla="*/ 192 w 666"/>
                <a:gd name="T55" fmla="*/ 274 h 666"/>
                <a:gd name="T56" fmla="*/ 180 w 666"/>
                <a:gd name="T57" fmla="*/ 318 h 666"/>
                <a:gd name="T58" fmla="*/ 180 w 666"/>
                <a:gd name="T59" fmla="*/ 348 h 666"/>
                <a:gd name="T60" fmla="*/ 192 w 666"/>
                <a:gd name="T61" fmla="*/ 392 h 666"/>
                <a:gd name="T62" fmla="*/ 214 w 666"/>
                <a:gd name="T63" fmla="*/ 430 h 666"/>
                <a:gd name="T64" fmla="*/ 248 w 666"/>
                <a:gd name="T65" fmla="*/ 460 h 666"/>
                <a:gd name="T66" fmla="*/ 288 w 666"/>
                <a:gd name="T67" fmla="*/ 480 h 666"/>
                <a:gd name="T68" fmla="*/ 334 w 666"/>
                <a:gd name="T69" fmla="*/ 486 h 666"/>
                <a:gd name="T70" fmla="*/ 364 w 666"/>
                <a:gd name="T71" fmla="*/ 484 h 666"/>
                <a:gd name="T72" fmla="*/ 406 w 666"/>
                <a:gd name="T73" fmla="*/ 468 h 666"/>
                <a:gd name="T74" fmla="*/ 442 w 666"/>
                <a:gd name="T75" fmla="*/ 442 h 666"/>
                <a:gd name="T76" fmla="*/ 468 w 666"/>
                <a:gd name="T77" fmla="*/ 406 h 666"/>
                <a:gd name="T78" fmla="*/ 484 w 666"/>
                <a:gd name="T79" fmla="*/ 364 h 666"/>
                <a:gd name="T80" fmla="*/ 488 w 666"/>
                <a:gd name="T81" fmla="*/ 334 h 666"/>
                <a:gd name="T82" fmla="*/ 480 w 666"/>
                <a:gd name="T83" fmla="*/ 288 h 666"/>
                <a:gd name="T84" fmla="*/ 462 w 666"/>
                <a:gd name="T85" fmla="*/ 248 h 666"/>
                <a:gd name="T86" fmla="*/ 432 w 666"/>
                <a:gd name="T87" fmla="*/ 214 h 666"/>
                <a:gd name="T88" fmla="*/ 394 w 666"/>
                <a:gd name="T89" fmla="*/ 192 h 666"/>
                <a:gd name="T90" fmla="*/ 350 w 666"/>
                <a:gd name="T91" fmla="*/ 180 h 666"/>
                <a:gd name="T92" fmla="*/ 334 w 666"/>
                <a:gd name="T93" fmla="*/ 18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66" h="666">
                  <a:moveTo>
                    <a:pt x="334" y="666"/>
                  </a:moveTo>
                  <a:lnTo>
                    <a:pt x="334" y="666"/>
                  </a:lnTo>
                  <a:lnTo>
                    <a:pt x="300" y="664"/>
                  </a:lnTo>
                  <a:lnTo>
                    <a:pt x="266" y="660"/>
                  </a:lnTo>
                  <a:lnTo>
                    <a:pt x="234" y="652"/>
                  </a:lnTo>
                  <a:lnTo>
                    <a:pt x="204" y="640"/>
                  </a:lnTo>
                  <a:lnTo>
                    <a:pt x="174" y="626"/>
                  </a:lnTo>
                  <a:lnTo>
                    <a:pt x="148" y="610"/>
                  </a:lnTo>
                  <a:lnTo>
                    <a:pt x="122" y="590"/>
                  </a:lnTo>
                  <a:lnTo>
                    <a:pt x="98" y="568"/>
                  </a:lnTo>
                  <a:lnTo>
                    <a:pt x="76" y="544"/>
                  </a:lnTo>
                  <a:lnTo>
                    <a:pt x="58" y="520"/>
                  </a:lnTo>
                  <a:lnTo>
                    <a:pt x="40" y="492"/>
                  </a:lnTo>
                  <a:lnTo>
                    <a:pt x="26" y="462"/>
                  </a:lnTo>
                  <a:lnTo>
                    <a:pt x="16" y="432"/>
                  </a:lnTo>
                  <a:lnTo>
                    <a:pt x="8" y="400"/>
                  </a:lnTo>
                  <a:lnTo>
                    <a:pt x="2" y="368"/>
                  </a:lnTo>
                  <a:lnTo>
                    <a:pt x="0" y="334"/>
                  </a:lnTo>
                  <a:lnTo>
                    <a:pt x="0" y="334"/>
                  </a:lnTo>
                  <a:lnTo>
                    <a:pt x="2" y="300"/>
                  </a:lnTo>
                  <a:lnTo>
                    <a:pt x="8" y="266"/>
                  </a:lnTo>
                  <a:lnTo>
                    <a:pt x="16" y="234"/>
                  </a:lnTo>
                  <a:lnTo>
                    <a:pt x="26" y="204"/>
                  </a:lnTo>
                  <a:lnTo>
                    <a:pt x="40" y="174"/>
                  </a:lnTo>
                  <a:lnTo>
                    <a:pt x="58" y="146"/>
                  </a:lnTo>
                  <a:lnTo>
                    <a:pt x="76" y="122"/>
                  </a:lnTo>
                  <a:lnTo>
                    <a:pt x="98" y="98"/>
                  </a:lnTo>
                  <a:lnTo>
                    <a:pt x="122" y="76"/>
                  </a:lnTo>
                  <a:lnTo>
                    <a:pt x="148" y="56"/>
                  </a:lnTo>
                  <a:lnTo>
                    <a:pt x="174" y="40"/>
                  </a:lnTo>
                  <a:lnTo>
                    <a:pt x="204" y="26"/>
                  </a:lnTo>
                  <a:lnTo>
                    <a:pt x="234" y="14"/>
                  </a:lnTo>
                  <a:lnTo>
                    <a:pt x="266" y="6"/>
                  </a:lnTo>
                  <a:lnTo>
                    <a:pt x="300" y="2"/>
                  </a:lnTo>
                  <a:lnTo>
                    <a:pt x="334" y="0"/>
                  </a:lnTo>
                  <a:lnTo>
                    <a:pt x="334" y="0"/>
                  </a:lnTo>
                  <a:lnTo>
                    <a:pt x="368" y="2"/>
                  </a:lnTo>
                  <a:lnTo>
                    <a:pt x="400" y="6"/>
                  </a:lnTo>
                  <a:lnTo>
                    <a:pt x="432" y="14"/>
                  </a:lnTo>
                  <a:lnTo>
                    <a:pt x="464" y="26"/>
                  </a:lnTo>
                  <a:lnTo>
                    <a:pt x="492" y="40"/>
                  </a:lnTo>
                  <a:lnTo>
                    <a:pt x="520" y="56"/>
                  </a:lnTo>
                  <a:lnTo>
                    <a:pt x="546" y="76"/>
                  </a:lnTo>
                  <a:lnTo>
                    <a:pt x="568" y="98"/>
                  </a:lnTo>
                  <a:lnTo>
                    <a:pt x="590" y="122"/>
                  </a:lnTo>
                  <a:lnTo>
                    <a:pt x="610" y="146"/>
                  </a:lnTo>
                  <a:lnTo>
                    <a:pt x="626" y="174"/>
                  </a:lnTo>
                  <a:lnTo>
                    <a:pt x="640" y="204"/>
                  </a:lnTo>
                  <a:lnTo>
                    <a:pt x="652" y="234"/>
                  </a:lnTo>
                  <a:lnTo>
                    <a:pt x="660" y="266"/>
                  </a:lnTo>
                  <a:lnTo>
                    <a:pt x="664" y="300"/>
                  </a:lnTo>
                  <a:lnTo>
                    <a:pt x="666" y="334"/>
                  </a:lnTo>
                  <a:lnTo>
                    <a:pt x="666" y="334"/>
                  </a:lnTo>
                  <a:lnTo>
                    <a:pt x="664" y="368"/>
                  </a:lnTo>
                  <a:lnTo>
                    <a:pt x="660" y="400"/>
                  </a:lnTo>
                  <a:lnTo>
                    <a:pt x="652" y="432"/>
                  </a:lnTo>
                  <a:lnTo>
                    <a:pt x="640" y="462"/>
                  </a:lnTo>
                  <a:lnTo>
                    <a:pt x="626" y="492"/>
                  </a:lnTo>
                  <a:lnTo>
                    <a:pt x="610" y="520"/>
                  </a:lnTo>
                  <a:lnTo>
                    <a:pt x="590" y="544"/>
                  </a:lnTo>
                  <a:lnTo>
                    <a:pt x="568" y="568"/>
                  </a:lnTo>
                  <a:lnTo>
                    <a:pt x="546" y="590"/>
                  </a:lnTo>
                  <a:lnTo>
                    <a:pt x="520" y="610"/>
                  </a:lnTo>
                  <a:lnTo>
                    <a:pt x="492" y="626"/>
                  </a:lnTo>
                  <a:lnTo>
                    <a:pt x="464" y="640"/>
                  </a:lnTo>
                  <a:lnTo>
                    <a:pt x="432" y="652"/>
                  </a:lnTo>
                  <a:lnTo>
                    <a:pt x="400" y="660"/>
                  </a:lnTo>
                  <a:lnTo>
                    <a:pt x="368" y="664"/>
                  </a:lnTo>
                  <a:lnTo>
                    <a:pt x="334" y="666"/>
                  </a:lnTo>
                  <a:lnTo>
                    <a:pt x="334" y="666"/>
                  </a:lnTo>
                  <a:close/>
                  <a:moveTo>
                    <a:pt x="334" y="180"/>
                  </a:moveTo>
                  <a:lnTo>
                    <a:pt x="334" y="180"/>
                  </a:lnTo>
                  <a:lnTo>
                    <a:pt x="318" y="180"/>
                  </a:lnTo>
                  <a:lnTo>
                    <a:pt x="302" y="182"/>
                  </a:lnTo>
                  <a:lnTo>
                    <a:pt x="288" y="186"/>
                  </a:lnTo>
                  <a:lnTo>
                    <a:pt x="274" y="192"/>
                  </a:lnTo>
                  <a:lnTo>
                    <a:pt x="260" y="198"/>
                  </a:lnTo>
                  <a:lnTo>
                    <a:pt x="248" y="206"/>
                  </a:lnTo>
                  <a:lnTo>
                    <a:pt x="236" y="214"/>
                  </a:lnTo>
                  <a:lnTo>
                    <a:pt x="224" y="224"/>
                  </a:lnTo>
                  <a:lnTo>
                    <a:pt x="214" y="236"/>
                  </a:lnTo>
                  <a:lnTo>
                    <a:pt x="206" y="248"/>
                  </a:lnTo>
                  <a:lnTo>
                    <a:pt x="198" y="260"/>
                  </a:lnTo>
                  <a:lnTo>
                    <a:pt x="192" y="274"/>
                  </a:lnTo>
                  <a:lnTo>
                    <a:pt x="186" y="288"/>
                  </a:lnTo>
                  <a:lnTo>
                    <a:pt x="182" y="302"/>
                  </a:lnTo>
                  <a:lnTo>
                    <a:pt x="180" y="318"/>
                  </a:lnTo>
                  <a:lnTo>
                    <a:pt x="180" y="334"/>
                  </a:lnTo>
                  <a:lnTo>
                    <a:pt x="180" y="334"/>
                  </a:lnTo>
                  <a:lnTo>
                    <a:pt x="180" y="348"/>
                  </a:lnTo>
                  <a:lnTo>
                    <a:pt x="182" y="364"/>
                  </a:lnTo>
                  <a:lnTo>
                    <a:pt x="186" y="378"/>
                  </a:lnTo>
                  <a:lnTo>
                    <a:pt x="192" y="392"/>
                  </a:lnTo>
                  <a:lnTo>
                    <a:pt x="198" y="406"/>
                  </a:lnTo>
                  <a:lnTo>
                    <a:pt x="206" y="420"/>
                  </a:lnTo>
                  <a:lnTo>
                    <a:pt x="214" y="430"/>
                  </a:lnTo>
                  <a:lnTo>
                    <a:pt x="224" y="442"/>
                  </a:lnTo>
                  <a:lnTo>
                    <a:pt x="236" y="452"/>
                  </a:lnTo>
                  <a:lnTo>
                    <a:pt x="248" y="460"/>
                  </a:lnTo>
                  <a:lnTo>
                    <a:pt x="260" y="468"/>
                  </a:lnTo>
                  <a:lnTo>
                    <a:pt x="274" y="474"/>
                  </a:lnTo>
                  <a:lnTo>
                    <a:pt x="288" y="480"/>
                  </a:lnTo>
                  <a:lnTo>
                    <a:pt x="302" y="484"/>
                  </a:lnTo>
                  <a:lnTo>
                    <a:pt x="318" y="486"/>
                  </a:lnTo>
                  <a:lnTo>
                    <a:pt x="334" y="486"/>
                  </a:lnTo>
                  <a:lnTo>
                    <a:pt x="334" y="486"/>
                  </a:lnTo>
                  <a:lnTo>
                    <a:pt x="350" y="486"/>
                  </a:lnTo>
                  <a:lnTo>
                    <a:pt x="364" y="484"/>
                  </a:lnTo>
                  <a:lnTo>
                    <a:pt x="380" y="480"/>
                  </a:lnTo>
                  <a:lnTo>
                    <a:pt x="394" y="474"/>
                  </a:lnTo>
                  <a:lnTo>
                    <a:pt x="406" y="468"/>
                  </a:lnTo>
                  <a:lnTo>
                    <a:pt x="420" y="460"/>
                  </a:lnTo>
                  <a:lnTo>
                    <a:pt x="432" y="452"/>
                  </a:lnTo>
                  <a:lnTo>
                    <a:pt x="442" y="442"/>
                  </a:lnTo>
                  <a:lnTo>
                    <a:pt x="452" y="430"/>
                  </a:lnTo>
                  <a:lnTo>
                    <a:pt x="462" y="420"/>
                  </a:lnTo>
                  <a:lnTo>
                    <a:pt x="468" y="406"/>
                  </a:lnTo>
                  <a:lnTo>
                    <a:pt x="476" y="392"/>
                  </a:lnTo>
                  <a:lnTo>
                    <a:pt x="480" y="378"/>
                  </a:lnTo>
                  <a:lnTo>
                    <a:pt x="484" y="364"/>
                  </a:lnTo>
                  <a:lnTo>
                    <a:pt x="486" y="348"/>
                  </a:lnTo>
                  <a:lnTo>
                    <a:pt x="488" y="334"/>
                  </a:lnTo>
                  <a:lnTo>
                    <a:pt x="488" y="334"/>
                  </a:lnTo>
                  <a:lnTo>
                    <a:pt x="486" y="318"/>
                  </a:lnTo>
                  <a:lnTo>
                    <a:pt x="484" y="302"/>
                  </a:lnTo>
                  <a:lnTo>
                    <a:pt x="480" y="288"/>
                  </a:lnTo>
                  <a:lnTo>
                    <a:pt x="476" y="274"/>
                  </a:lnTo>
                  <a:lnTo>
                    <a:pt x="468" y="260"/>
                  </a:lnTo>
                  <a:lnTo>
                    <a:pt x="462" y="248"/>
                  </a:lnTo>
                  <a:lnTo>
                    <a:pt x="452" y="236"/>
                  </a:lnTo>
                  <a:lnTo>
                    <a:pt x="442" y="224"/>
                  </a:lnTo>
                  <a:lnTo>
                    <a:pt x="432" y="214"/>
                  </a:lnTo>
                  <a:lnTo>
                    <a:pt x="420" y="206"/>
                  </a:lnTo>
                  <a:lnTo>
                    <a:pt x="406" y="198"/>
                  </a:lnTo>
                  <a:lnTo>
                    <a:pt x="394" y="192"/>
                  </a:lnTo>
                  <a:lnTo>
                    <a:pt x="380" y="186"/>
                  </a:lnTo>
                  <a:lnTo>
                    <a:pt x="364" y="182"/>
                  </a:lnTo>
                  <a:lnTo>
                    <a:pt x="350" y="180"/>
                  </a:lnTo>
                  <a:lnTo>
                    <a:pt x="334" y="180"/>
                  </a:lnTo>
                  <a:lnTo>
                    <a:pt x="334" y="180"/>
                  </a:lnTo>
                  <a:close/>
                  <a:moveTo>
                    <a:pt x="334" y="180"/>
                  </a:moveTo>
                  <a:lnTo>
                    <a:pt x="334" y="18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0" name="Line 84">
              <a:extLst>
                <a:ext uri="{FF2B5EF4-FFF2-40B4-BE49-F238E27FC236}">
                  <a16:creationId xmlns:a16="http://schemas.microsoft.com/office/drawing/2014/main" id="{443ADA01-FE58-451B-8A81-5ACD7FCD4F7D}"/>
                </a:ext>
              </a:extLst>
            </p:cNvPr>
            <p:cNvSpPr>
              <a:spLocks noChangeShapeType="1"/>
            </p:cNvSpPr>
            <p:nvPr/>
          </p:nvSpPr>
          <p:spPr bwMode="auto">
            <a:xfrm>
              <a:off x="-4473575" y="223837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85">
              <a:extLst>
                <a:ext uri="{FF2B5EF4-FFF2-40B4-BE49-F238E27FC236}">
                  <a16:creationId xmlns:a16="http://schemas.microsoft.com/office/drawing/2014/main" id="{152E898F-DAE6-4C67-BB3E-4688687A6BA3}"/>
                </a:ext>
              </a:extLst>
            </p:cNvPr>
            <p:cNvSpPr>
              <a:spLocks noEditPoints="1"/>
            </p:cNvSpPr>
            <p:nvPr/>
          </p:nvSpPr>
          <p:spPr bwMode="auto">
            <a:xfrm>
              <a:off x="-2974975" y="5730875"/>
              <a:ext cx="1130300" cy="1127125"/>
            </a:xfrm>
            <a:custGeom>
              <a:avLst/>
              <a:gdLst>
                <a:gd name="T0" fmla="*/ 320 w 712"/>
                <a:gd name="T1" fmla="*/ 708 h 710"/>
                <a:gd name="T2" fmla="*/ 218 w 712"/>
                <a:gd name="T3" fmla="*/ 682 h 710"/>
                <a:gd name="T4" fmla="*/ 130 w 712"/>
                <a:gd name="T5" fmla="*/ 630 h 710"/>
                <a:gd name="T6" fmla="*/ 62 w 712"/>
                <a:gd name="T7" fmla="*/ 554 h 710"/>
                <a:gd name="T8" fmla="*/ 16 w 712"/>
                <a:gd name="T9" fmla="*/ 460 h 710"/>
                <a:gd name="T10" fmla="*/ 0 w 712"/>
                <a:gd name="T11" fmla="*/ 356 h 710"/>
                <a:gd name="T12" fmla="*/ 8 w 712"/>
                <a:gd name="T13" fmla="*/ 284 h 710"/>
                <a:gd name="T14" fmla="*/ 44 w 712"/>
                <a:gd name="T15" fmla="*/ 186 h 710"/>
                <a:gd name="T16" fmla="*/ 104 w 712"/>
                <a:gd name="T17" fmla="*/ 104 h 710"/>
                <a:gd name="T18" fmla="*/ 186 w 712"/>
                <a:gd name="T19" fmla="*/ 42 h 710"/>
                <a:gd name="T20" fmla="*/ 284 w 712"/>
                <a:gd name="T21" fmla="*/ 8 h 710"/>
                <a:gd name="T22" fmla="*/ 356 w 712"/>
                <a:gd name="T23" fmla="*/ 0 h 710"/>
                <a:gd name="T24" fmla="*/ 462 w 712"/>
                <a:gd name="T25" fmla="*/ 16 h 710"/>
                <a:gd name="T26" fmla="*/ 554 w 712"/>
                <a:gd name="T27" fmla="*/ 60 h 710"/>
                <a:gd name="T28" fmla="*/ 630 w 712"/>
                <a:gd name="T29" fmla="*/ 130 h 710"/>
                <a:gd name="T30" fmla="*/ 684 w 712"/>
                <a:gd name="T31" fmla="*/ 218 h 710"/>
                <a:gd name="T32" fmla="*/ 710 w 712"/>
                <a:gd name="T33" fmla="*/ 320 h 710"/>
                <a:gd name="T34" fmla="*/ 710 w 712"/>
                <a:gd name="T35" fmla="*/ 392 h 710"/>
                <a:gd name="T36" fmla="*/ 684 w 712"/>
                <a:gd name="T37" fmla="*/ 494 h 710"/>
                <a:gd name="T38" fmla="*/ 630 w 712"/>
                <a:gd name="T39" fmla="*/ 582 h 710"/>
                <a:gd name="T40" fmla="*/ 554 w 712"/>
                <a:gd name="T41" fmla="*/ 650 h 710"/>
                <a:gd name="T42" fmla="*/ 462 w 712"/>
                <a:gd name="T43" fmla="*/ 694 h 710"/>
                <a:gd name="T44" fmla="*/ 356 w 712"/>
                <a:gd name="T45" fmla="*/ 710 h 710"/>
                <a:gd name="T46" fmla="*/ 356 w 712"/>
                <a:gd name="T47" fmla="*/ 180 h 710"/>
                <a:gd name="T48" fmla="*/ 304 w 712"/>
                <a:gd name="T49" fmla="*/ 188 h 710"/>
                <a:gd name="T50" fmla="*/ 258 w 712"/>
                <a:gd name="T51" fmla="*/ 210 h 710"/>
                <a:gd name="T52" fmla="*/ 220 w 712"/>
                <a:gd name="T53" fmla="*/ 244 h 710"/>
                <a:gd name="T54" fmla="*/ 194 w 712"/>
                <a:gd name="T55" fmla="*/ 286 h 710"/>
                <a:gd name="T56" fmla="*/ 180 w 712"/>
                <a:gd name="T57" fmla="*/ 338 h 710"/>
                <a:gd name="T58" fmla="*/ 180 w 712"/>
                <a:gd name="T59" fmla="*/ 374 h 710"/>
                <a:gd name="T60" fmla="*/ 194 w 712"/>
                <a:gd name="T61" fmla="*/ 424 h 710"/>
                <a:gd name="T62" fmla="*/ 220 w 712"/>
                <a:gd name="T63" fmla="*/ 468 h 710"/>
                <a:gd name="T64" fmla="*/ 258 w 712"/>
                <a:gd name="T65" fmla="*/ 502 h 710"/>
                <a:gd name="T66" fmla="*/ 304 w 712"/>
                <a:gd name="T67" fmla="*/ 524 h 710"/>
                <a:gd name="T68" fmla="*/ 356 w 712"/>
                <a:gd name="T69" fmla="*/ 532 h 710"/>
                <a:gd name="T70" fmla="*/ 392 w 712"/>
                <a:gd name="T71" fmla="*/ 528 h 710"/>
                <a:gd name="T72" fmla="*/ 440 w 712"/>
                <a:gd name="T73" fmla="*/ 510 h 710"/>
                <a:gd name="T74" fmla="*/ 480 w 712"/>
                <a:gd name="T75" fmla="*/ 480 h 710"/>
                <a:gd name="T76" fmla="*/ 510 w 712"/>
                <a:gd name="T77" fmla="*/ 440 h 710"/>
                <a:gd name="T78" fmla="*/ 528 w 712"/>
                <a:gd name="T79" fmla="*/ 390 h 710"/>
                <a:gd name="T80" fmla="*/ 532 w 712"/>
                <a:gd name="T81" fmla="*/ 356 h 710"/>
                <a:gd name="T82" fmla="*/ 524 w 712"/>
                <a:gd name="T83" fmla="*/ 304 h 710"/>
                <a:gd name="T84" fmla="*/ 502 w 712"/>
                <a:gd name="T85" fmla="*/ 256 h 710"/>
                <a:gd name="T86" fmla="*/ 468 w 712"/>
                <a:gd name="T87" fmla="*/ 220 h 710"/>
                <a:gd name="T88" fmla="*/ 424 w 712"/>
                <a:gd name="T89" fmla="*/ 194 h 710"/>
                <a:gd name="T90" fmla="*/ 374 w 712"/>
                <a:gd name="T91" fmla="*/ 180 h 710"/>
                <a:gd name="T92" fmla="*/ 356 w 712"/>
                <a:gd name="T93" fmla="*/ 18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12" h="710">
                  <a:moveTo>
                    <a:pt x="356" y="710"/>
                  </a:moveTo>
                  <a:lnTo>
                    <a:pt x="356" y="710"/>
                  </a:lnTo>
                  <a:lnTo>
                    <a:pt x="320" y="708"/>
                  </a:lnTo>
                  <a:lnTo>
                    <a:pt x="284" y="704"/>
                  </a:lnTo>
                  <a:lnTo>
                    <a:pt x="250" y="694"/>
                  </a:lnTo>
                  <a:lnTo>
                    <a:pt x="218" y="682"/>
                  </a:lnTo>
                  <a:lnTo>
                    <a:pt x="186" y="668"/>
                  </a:lnTo>
                  <a:lnTo>
                    <a:pt x="158" y="650"/>
                  </a:lnTo>
                  <a:lnTo>
                    <a:pt x="130" y="630"/>
                  </a:lnTo>
                  <a:lnTo>
                    <a:pt x="104" y="606"/>
                  </a:lnTo>
                  <a:lnTo>
                    <a:pt x="82" y="582"/>
                  </a:lnTo>
                  <a:lnTo>
                    <a:pt x="62" y="554"/>
                  </a:lnTo>
                  <a:lnTo>
                    <a:pt x="44" y="524"/>
                  </a:lnTo>
                  <a:lnTo>
                    <a:pt x="28" y="494"/>
                  </a:lnTo>
                  <a:lnTo>
                    <a:pt x="16" y="460"/>
                  </a:lnTo>
                  <a:lnTo>
                    <a:pt x="8" y="426"/>
                  </a:lnTo>
                  <a:lnTo>
                    <a:pt x="2" y="392"/>
                  </a:lnTo>
                  <a:lnTo>
                    <a:pt x="0" y="356"/>
                  </a:lnTo>
                  <a:lnTo>
                    <a:pt x="0" y="356"/>
                  </a:lnTo>
                  <a:lnTo>
                    <a:pt x="2" y="320"/>
                  </a:lnTo>
                  <a:lnTo>
                    <a:pt x="8" y="284"/>
                  </a:lnTo>
                  <a:lnTo>
                    <a:pt x="16" y="250"/>
                  </a:lnTo>
                  <a:lnTo>
                    <a:pt x="28" y="218"/>
                  </a:lnTo>
                  <a:lnTo>
                    <a:pt x="44" y="186"/>
                  </a:lnTo>
                  <a:lnTo>
                    <a:pt x="62" y="156"/>
                  </a:lnTo>
                  <a:lnTo>
                    <a:pt x="82" y="130"/>
                  </a:lnTo>
                  <a:lnTo>
                    <a:pt x="104" y="104"/>
                  </a:lnTo>
                  <a:lnTo>
                    <a:pt x="130" y="82"/>
                  </a:lnTo>
                  <a:lnTo>
                    <a:pt x="158" y="60"/>
                  </a:lnTo>
                  <a:lnTo>
                    <a:pt x="186" y="42"/>
                  </a:lnTo>
                  <a:lnTo>
                    <a:pt x="218" y="28"/>
                  </a:lnTo>
                  <a:lnTo>
                    <a:pt x="250" y="16"/>
                  </a:lnTo>
                  <a:lnTo>
                    <a:pt x="284" y="8"/>
                  </a:lnTo>
                  <a:lnTo>
                    <a:pt x="320" y="2"/>
                  </a:lnTo>
                  <a:lnTo>
                    <a:pt x="356" y="0"/>
                  </a:lnTo>
                  <a:lnTo>
                    <a:pt x="356" y="0"/>
                  </a:lnTo>
                  <a:lnTo>
                    <a:pt x="392" y="2"/>
                  </a:lnTo>
                  <a:lnTo>
                    <a:pt x="428" y="8"/>
                  </a:lnTo>
                  <a:lnTo>
                    <a:pt x="462" y="16"/>
                  </a:lnTo>
                  <a:lnTo>
                    <a:pt x="494" y="28"/>
                  </a:lnTo>
                  <a:lnTo>
                    <a:pt x="526" y="42"/>
                  </a:lnTo>
                  <a:lnTo>
                    <a:pt x="554" y="60"/>
                  </a:lnTo>
                  <a:lnTo>
                    <a:pt x="582" y="82"/>
                  </a:lnTo>
                  <a:lnTo>
                    <a:pt x="608" y="104"/>
                  </a:lnTo>
                  <a:lnTo>
                    <a:pt x="630" y="130"/>
                  </a:lnTo>
                  <a:lnTo>
                    <a:pt x="650" y="156"/>
                  </a:lnTo>
                  <a:lnTo>
                    <a:pt x="668" y="186"/>
                  </a:lnTo>
                  <a:lnTo>
                    <a:pt x="684" y="218"/>
                  </a:lnTo>
                  <a:lnTo>
                    <a:pt x="696" y="250"/>
                  </a:lnTo>
                  <a:lnTo>
                    <a:pt x="704" y="284"/>
                  </a:lnTo>
                  <a:lnTo>
                    <a:pt x="710" y="320"/>
                  </a:lnTo>
                  <a:lnTo>
                    <a:pt x="712" y="356"/>
                  </a:lnTo>
                  <a:lnTo>
                    <a:pt x="712" y="356"/>
                  </a:lnTo>
                  <a:lnTo>
                    <a:pt x="710" y="392"/>
                  </a:lnTo>
                  <a:lnTo>
                    <a:pt x="704" y="426"/>
                  </a:lnTo>
                  <a:lnTo>
                    <a:pt x="696" y="460"/>
                  </a:lnTo>
                  <a:lnTo>
                    <a:pt x="684" y="494"/>
                  </a:lnTo>
                  <a:lnTo>
                    <a:pt x="668" y="524"/>
                  </a:lnTo>
                  <a:lnTo>
                    <a:pt x="650" y="554"/>
                  </a:lnTo>
                  <a:lnTo>
                    <a:pt x="630" y="582"/>
                  </a:lnTo>
                  <a:lnTo>
                    <a:pt x="608" y="606"/>
                  </a:lnTo>
                  <a:lnTo>
                    <a:pt x="582" y="630"/>
                  </a:lnTo>
                  <a:lnTo>
                    <a:pt x="554" y="650"/>
                  </a:lnTo>
                  <a:lnTo>
                    <a:pt x="526" y="668"/>
                  </a:lnTo>
                  <a:lnTo>
                    <a:pt x="494" y="682"/>
                  </a:lnTo>
                  <a:lnTo>
                    <a:pt x="462" y="694"/>
                  </a:lnTo>
                  <a:lnTo>
                    <a:pt x="428" y="704"/>
                  </a:lnTo>
                  <a:lnTo>
                    <a:pt x="392" y="708"/>
                  </a:lnTo>
                  <a:lnTo>
                    <a:pt x="356" y="710"/>
                  </a:lnTo>
                  <a:lnTo>
                    <a:pt x="356" y="710"/>
                  </a:lnTo>
                  <a:close/>
                  <a:moveTo>
                    <a:pt x="356" y="180"/>
                  </a:moveTo>
                  <a:lnTo>
                    <a:pt x="356" y="180"/>
                  </a:lnTo>
                  <a:lnTo>
                    <a:pt x="338" y="180"/>
                  </a:lnTo>
                  <a:lnTo>
                    <a:pt x="320" y="182"/>
                  </a:lnTo>
                  <a:lnTo>
                    <a:pt x="304" y="188"/>
                  </a:lnTo>
                  <a:lnTo>
                    <a:pt x="288" y="194"/>
                  </a:lnTo>
                  <a:lnTo>
                    <a:pt x="272" y="200"/>
                  </a:lnTo>
                  <a:lnTo>
                    <a:pt x="258" y="210"/>
                  </a:lnTo>
                  <a:lnTo>
                    <a:pt x="244" y="220"/>
                  </a:lnTo>
                  <a:lnTo>
                    <a:pt x="232" y="230"/>
                  </a:lnTo>
                  <a:lnTo>
                    <a:pt x="220" y="244"/>
                  </a:lnTo>
                  <a:lnTo>
                    <a:pt x="210" y="256"/>
                  </a:lnTo>
                  <a:lnTo>
                    <a:pt x="202" y="272"/>
                  </a:lnTo>
                  <a:lnTo>
                    <a:pt x="194" y="286"/>
                  </a:lnTo>
                  <a:lnTo>
                    <a:pt x="188" y="304"/>
                  </a:lnTo>
                  <a:lnTo>
                    <a:pt x="184" y="320"/>
                  </a:lnTo>
                  <a:lnTo>
                    <a:pt x="180" y="338"/>
                  </a:lnTo>
                  <a:lnTo>
                    <a:pt x="180" y="356"/>
                  </a:lnTo>
                  <a:lnTo>
                    <a:pt x="180" y="356"/>
                  </a:lnTo>
                  <a:lnTo>
                    <a:pt x="180" y="374"/>
                  </a:lnTo>
                  <a:lnTo>
                    <a:pt x="184" y="390"/>
                  </a:lnTo>
                  <a:lnTo>
                    <a:pt x="188" y="408"/>
                  </a:lnTo>
                  <a:lnTo>
                    <a:pt x="194" y="424"/>
                  </a:lnTo>
                  <a:lnTo>
                    <a:pt x="202" y="440"/>
                  </a:lnTo>
                  <a:lnTo>
                    <a:pt x="210" y="454"/>
                  </a:lnTo>
                  <a:lnTo>
                    <a:pt x="220" y="468"/>
                  </a:lnTo>
                  <a:lnTo>
                    <a:pt x="232" y="480"/>
                  </a:lnTo>
                  <a:lnTo>
                    <a:pt x="244" y="492"/>
                  </a:lnTo>
                  <a:lnTo>
                    <a:pt x="258" y="502"/>
                  </a:lnTo>
                  <a:lnTo>
                    <a:pt x="272" y="510"/>
                  </a:lnTo>
                  <a:lnTo>
                    <a:pt x="288" y="518"/>
                  </a:lnTo>
                  <a:lnTo>
                    <a:pt x="304" y="524"/>
                  </a:lnTo>
                  <a:lnTo>
                    <a:pt x="320" y="528"/>
                  </a:lnTo>
                  <a:lnTo>
                    <a:pt x="338" y="530"/>
                  </a:lnTo>
                  <a:lnTo>
                    <a:pt x="356" y="532"/>
                  </a:lnTo>
                  <a:lnTo>
                    <a:pt x="356" y="532"/>
                  </a:lnTo>
                  <a:lnTo>
                    <a:pt x="374" y="530"/>
                  </a:lnTo>
                  <a:lnTo>
                    <a:pt x="392" y="528"/>
                  </a:lnTo>
                  <a:lnTo>
                    <a:pt x="408" y="524"/>
                  </a:lnTo>
                  <a:lnTo>
                    <a:pt x="424" y="518"/>
                  </a:lnTo>
                  <a:lnTo>
                    <a:pt x="440" y="510"/>
                  </a:lnTo>
                  <a:lnTo>
                    <a:pt x="454" y="502"/>
                  </a:lnTo>
                  <a:lnTo>
                    <a:pt x="468" y="492"/>
                  </a:lnTo>
                  <a:lnTo>
                    <a:pt x="480" y="480"/>
                  </a:lnTo>
                  <a:lnTo>
                    <a:pt x="492" y="468"/>
                  </a:lnTo>
                  <a:lnTo>
                    <a:pt x="502" y="454"/>
                  </a:lnTo>
                  <a:lnTo>
                    <a:pt x="510" y="440"/>
                  </a:lnTo>
                  <a:lnTo>
                    <a:pt x="518" y="424"/>
                  </a:lnTo>
                  <a:lnTo>
                    <a:pt x="524" y="408"/>
                  </a:lnTo>
                  <a:lnTo>
                    <a:pt x="528" y="390"/>
                  </a:lnTo>
                  <a:lnTo>
                    <a:pt x="532" y="374"/>
                  </a:lnTo>
                  <a:lnTo>
                    <a:pt x="532" y="356"/>
                  </a:lnTo>
                  <a:lnTo>
                    <a:pt x="532" y="356"/>
                  </a:lnTo>
                  <a:lnTo>
                    <a:pt x="532" y="338"/>
                  </a:lnTo>
                  <a:lnTo>
                    <a:pt x="528" y="320"/>
                  </a:lnTo>
                  <a:lnTo>
                    <a:pt x="524" y="304"/>
                  </a:lnTo>
                  <a:lnTo>
                    <a:pt x="518" y="286"/>
                  </a:lnTo>
                  <a:lnTo>
                    <a:pt x="510" y="272"/>
                  </a:lnTo>
                  <a:lnTo>
                    <a:pt x="502" y="256"/>
                  </a:lnTo>
                  <a:lnTo>
                    <a:pt x="492" y="244"/>
                  </a:lnTo>
                  <a:lnTo>
                    <a:pt x="480" y="230"/>
                  </a:lnTo>
                  <a:lnTo>
                    <a:pt x="468" y="220"/>
                  </a:lnTo>
                  <a:lnTo>
                    <a:pt x="454" y="210"/>
                  </a:lnTo>
                  <a:lnTo>
                    <a:pt x="440" y="200"/>
                  </a:lnTo>
                  <a:lnTo>
                    <a:pt x="424" y="194"/>
                  </a:lnTo>
                  <a:lnTo>
                    <a:pt x="408" y="188"/>
                  </a:lnTo>
                  <a:lnTo>
                    <a:pt x="392" y="182"/>
                  </a:lnTo>
                  <a:lnTo>
                    <a:pt x="374" y="180"/>
                  </a:lnTo>
                  <a:lnTo>
                    <a:pt x="356" y="180"/>
                  </a:lnTo>
                  <a:lnTo>
                    <a:pt x="356" y="180"/>
                  </a:lnTo>
                  <a:close/>
                  <a:moveTo>
                    <a:pt x="356" y="180"/>
                  </a:moveTo>
                  <a:lnTo>
                    <a:pt x="356" y="18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2" name="Freeform 86">
              <a:extLst>
                <a:ext uri="{FF2B5EF4-FFF2-40B4-BE49-F238E27FC236}">
                  <a16:creationId xmlns:a16="http://schemas.microsoft.com/office/drawing/2014/main" id="{FE5FBB3B-83F4-4882-8282-96905ADB98E4}"/>
                </a:ext>
              </a:extLst>
            </p:cNvPr>
            <p:cNvSpPr>
              <a:spLocks/>
            </p:cNvSpPr>
            <p:nvPr/>
          </p:nvSpPr>
          <p:spPr bwMode="auto">
            <a:xfrm>
              <a:off x="-2974975" y="5730875"/>
              <a:ext cx="1130300" cy="1127125"/>
            </a:xfrm>
            <a:custGeom>
              <a:avLst/>
              <a:gdLst>
                <a:gd name="T0" fmla="*/ 356 w 712"/>
                <a:gd name="T1" fmla="*/ 710 h 710"/>
                <a:gd name="T2" fmla="*/ 284 w 712"/>
                <a:gd name="T3" fmla="*/ 704 h 710"/>
                <a:gd name="T4" fmla="*/ 218 w 712"/>
                <a:gd name="T5" fmla="*/ 682 h 710"/>
                <a:gd name="T6" fmla="*/ 158 w 712"/>
                <a:gd name="T7" fmla="*/ 650 h 710"/>
                <a:gd name="T8" fmla="*/ 104 w 712"/>
                <a:gd name="T9" fmla="*/ 606 h 710"/>
                <a:gd name="T10" fmla="*/ 62 w 712"/>
                <a:gd name="T11" fmla="*/ 554 h 710"/>
                <a:gd name="T12" fmla="*/ 28 w 712"/>
                <a:gd name="T13" fmla="*/ 494 h 710"/>
                <a:gd name="T14" fmla="*/ 8 w 712"/>
                <a:gd name="T15" fmla="*/ 426 h 710"/>
                <a:gd name="T16" fmla="*/ 0 w 712"/>
                <a:gd name="T17" fmla="*/ 356 h 710"/>
                <a:gd name="T18" fmla="*/ 2 w 712"/>
                <a:gd name="T19" fmla="*/ 320 h 710"/>
                <a:gd name="T20" fmla="*/ 16 w 712"/>
                <a:gd name="T21" fmla="*/ 250 h 710"/>
                <a:gd name="T22" fmla="*/ 44 w 712"/>
                <a:gd name="T23" fmla="*/ 186 h 710"/>
                <a:gd name="T24" fmla="*/ 82 w 712"/>
                <a:gd name="T25" fmla="*/ 130 h 710"/>
                <a:gd name="T26" fmla="*/ 130 w 712"/>
                <a:gd name="T27" fmla="*/ 82 h 710"/>
                <a:gd name="T28" fmla="*/ 186 w 712"/>
                <a:gd name="T29" fmla="*/ 42 h 710"/>
                <a:gd name="T30" fmla="*/ 250 w 712"/>
                <a:gd name="T31" fmla="*/ 16 h 710"/>
                <a:gd name="T32" fmla="*/ 320 w 712"/>
                <a:gd name="T33" fmla="*/ 2 h 710"/>
                <a:gd name="T34" fmla="*/ 356 w 712"/>
                <a:gd name="T35" fmla="*/ 0 h 710"/>
                <a:gd name="T36" fmla="*/ 428 w 712"/>
                <a:gd name="T37" fmla="*/ 8 h 710"/>
                <a:gd name="T38" fmla="*/ 494 w 712"/>
                <a:gd name="T39" fmla="*/ 28 h 710"/>
                <a:gd name="T40" fmla="*/ 554 w 712"/>
                <a:gd name="T41" fmla="*/ 60 h 710"/>
                <a:gd name="T42" fmla="*/ 608 w 712"/>
                <a:gd name="T43" fmla="*/ 104 h 710"/>
                <a:gd name="T44" fmla="*/ 650 w 712"/>
                <a:gd name="T45" fmla="*/ 156 h 710"/>
                <a:gd name="T46" fmla="*/ 684 w 712"/>
                <a:gd name="T47" fmla="*/ 218 h 710"/>
                <a:gd name="T48" fmla="*/ 704 w 712"/>
                <a:gd name="T49" fmla="*/ 284 h 710"/>
                <a:gd name="T50" fmla="*/ 712 w 712"/>
                <a:gd name="T51" fmla="*/ 356 h 710"/>
                <a:gd name="T52" fmla="*/ 710 w 712"/>
                <a:gd name="T53" fmla="*/ 392 h 710"/>
                <a:gd name="T54" fmla="*/ 696 w 712"/>
                <a:gd name="T55" fmla="*/ 460 h 710"/>
                <a:gd name="T56" fmla="*/ 668 w 712"/>
                <a:gd name="T57" fmla="*/ 524 h 710"/>
                <a:gd name="T58" fmla="*/ 630 w 712"/>
                <a:gd name="T59" fmla="*/ 582 h 710"/>
                <a:gd name="T60" fmla="*/ 582 w 712"/>
                <a:gd name="T61" fmla="*/ 630 h 710"/>
                <a:gd name="T62" fmla="*/ 526 w 712"/>
                <a:gd name="T63" fmla="*/ 668 h 710"/>
                <a:gd name="T64" fmla="*/ 462 w 712"/>
                <a:gd name="T65" fmla="*/ 694 h 710"/>
                <a:gd name="T66" fmla="*/ 392 w 712"/>
                <a:gd name="T67" fmla="*/ 708 h 710"/>
                <a:gd name="T68" fmla="*/ 356 w 712"/>
                <a:gd name="T69" fmla="*/ 71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2" h="710">
                  <a:moveTo>
                    <a:pt x="356" y="710"/>
                  </a:moveTo>
                  <a:lnTo>
                    <a:pt x="356" y="710"/>
                  </a:lnTo>
                  <a:lnTo>
                    <a:pt x="320" y="708"/>
                  </a:lnTo>
                  <a:lnTo>
                    <a:pt x="284" y="704"/>
                  </a:lnTo>
                  <a:lnTo>
                    <a:pt x="250" y="694"/>
                  </a:lnTo>
                  <a:lnTo>
                    <a:pt x="218" y="682"/>
                  </a:lnTo>
                  <a:lnTo>
                    <a:pt x="186" y="668"/>
                  </a:lnTo>
                  <a:lnTo>
                    <a:pt x="158" y="650"/>
                  </a:lnTo>
                  <a:lnTo>
                    <a:pt x="130" y="630"/>
                  </a:lnTo>
                  <a:lnTo>
                    <a:pt x="104" y="606"/>
                  </a:lnTo>
                  <a:lnTo>
                    <a:pt x="82" y="582"/>
                  </a:lnTo>
                  <a:lnTo>
                    <a:pt x="62" y="554"/>
                  </a:lnTo>
                  <a:lnTo>
                    <a:pt x="44" y="524"/>
                  </a:lnTo>
                  <a:lnTo>
                    <a:pt x="28" y="494"/>
                  </a:lnTo>
                  <a:lnTo>
                    <a:pt x="16" y="460"/>
                  </a:lnTo>
                  <a:lnTo>
                    <a:pt x="8" y="426"/>
                  </a:lnTo>
                  <a:lnTo>
                    <a:pt x="2" y="392"/>
                  </a:lnTo>
                  <a:lnTo>
                    <a:pt x="0" y="356"/>
                  </a:lnTo>
                  <a:lnTo>
                    <a:pt x="0" y="356"/>
                  </a:lnTo>
                  <a:lnTo>
                    <a:pt x="2" y="320"/>
                  </a:lnTo>
                  <a:lnTo>
                    <a:pt x="8" y="284"/>
                  </a:lnTo>
                  <a:lnTo>
                    <a:pt x="16" y="250"/>
                  </a:lnTo>
                  <a:lnTo>
                    <a:pt x="28" y="218"/>
                  </a:lnTo>
                  <a:lnTo>
                    <a:pt x="44" y="186"/>
                  </a:lnTo>
                  <a:lnTo>
                    <a:pt x="62" y="156"/>
                  </a:lnTo>
                  <a:lnTo>
                    <a:pt x="82" y="130"/>
                  </a:lnTo>
                  <a:lnTo>
                    <a:pt x="104" y="104"/>
                  </a:lnTo>
                  <a:lnTo>
                    <a:pt x="130" y="82"/>
                  </a:lnTo>
                  <a:lnTo>
                    <a:pt x="158" y="60"/>
                  </a:lnTo>
                  <a:lnTo>
                    <a:pt x="186" y="42"/>
                  </a:lnTo>
                  <a:lnTo>
                    <a:pt x="218" y="28"/>
                  </a:lnTo>
                  <a:lnTo>
                    <a:pt x="250" y="16"/>
                  </a:lnTo>
                  <a:lnTo>
                    <a:pt x="284" y="8"/>
                  </a:lnTo>
                  <a:lnTo>
                    <a:pt x="320" y="2"/>
                  </a:lnTo>
                  <a:lnTo>
                    <a:pt x="356" y="0"/>
                  </a:lnTo>
                  <a:lnTo>
                    <a:pt x="356" y="0"/>
                  </a:lnTo>
                  <a:lnTo>
                    <a:pt x="392" y="2"/>
                  </a:lnTo>
                  <a:lnTo>
                    <a:pt x="428" y="8"/>
                  </a:lnTo>
                  <a:lnTo>
                    <a:pt x="462" y="16"/>
                  </a:lnTo>
                  <a:lnTo>
                    <a:pt x="494" y="28"/>
                  </a:lnTo>
                  <a:lnTo>
                    <a:pt x="526" y="42"/>
                  </a:lnTo>
                  <a:lnTo>
                    <a:pt x="554" y="60"/>
                  </a:lnTo>
                  <a:lnTo>
                    <a:pt x="582" y="82"/>
                  </a:lnTo>
                  <a:lnTo>
                    <a:pt x="608" y="104"/>
                  </a:lnTo>
                  <a:lnTo>
                    <a:pt x="630" y="130"/>
                  </a:lnTo>
                  <a:lnTo>
                    <a:pt x="650" y="156"/>
                  </a:lnTo>
                  <a:lnTo>
                    <a:pt x="668" y="186"/>
                  </a:lnTo>
                  <a:lnTo>
                    <a:pt x="684" y="218"/>
                  </a:lnTo>
                  <a:lnTo>
                    <a:pt x="696" y="250"/>
                  </a:lnTo>
                  <a:lnTo>
                    <a:pt x="704" y="284"/>
                  </a:lnTo>
                  <a:lnTo>
                    <a:pt x="710" y="320"/>
                  </a:lnTo>
                  <a:lnTo>
                    <a:pt x="712" y="356"/>
                  </a:lnTo>
                  <a:lnTo>
                    <a:pt x="712" y="356"/>
                  </a:lnTo>
                  <a:lnTo>
                    <a:pt x="710" y="392"/>
                  </a:lnTo>
                  <a:lnTo>
                    <a:pt x="704" y="426"/>
                  </a:lnTo>
                  <a:lnTo>
                    <a:pt x="696" y="460"/>
                  </a:lnTo>
                  <a:lnTo>
                    <a:pt x="684" y="494"/>
                  </a:lnTo>
                  <a:lnTo>
                    <a:pt x="668" y="524"/>
                  </a:lnTo>
                  <a:lnTo>
                    <a:pt x="650" y="554"/>
                  </a:lnTo>
                  <a:lnTo>
                    <a:pt x="630" y="582"/>
                  </a:lnTo>
                  <a:lnTo>
                    <a:pt x="608" y="606"/>
                  </a:lnTo>
                  <a:lnTo>
                    <a:pt x="582" y="630"/>
                  </a:lnTo>
                  <a:lnTo>
                    <a:pt x="554" y="650"/>
                  </a:lnTo>
                  <a:lnTo>
                    <a:pt x="526" y="668"/>
                  </a:lnTo>
                  <a:lnTo>
                    <a:pt x="494" y="682"/>
                  </a:lnTo>
                  <a:lnTo>
                    <a:pt x="462" y="694"/>
                  </a:lnTo>
                  <a:lnTo>
                    <a:pt x="428" y="704"/>
                  </a:lnTo>
                  <a:lnTo>
                    <a:pt x="392" y="708"/>
                  </a:lnTo>
                  <a:lnTo>
                    <a:pt x="356" y="710"/>
                  </a:lnTo>
                  <a:lnTo>
                    <a:pt x="356" y="7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87">
              <a:extLst>
                <a:ext uri="{FF2B5EF4-FFF2-40B4-BE49-F238E27FC236}">
                  <a16:creationId xmlns:a16="http://schemas.microsoft.com/office/drawing/2014/main" id="{1896CF7A-D7D5-47BD-A83F-5E550645C18F}"/>
                </a:ext>
              </a:extLst>
            </p:cNvPr>
            <p:cNvSpPr>
              <a:spLocks/>
            </p:cNvSpPr>
            <p:nvPr/>
          </p:nvSpPr>
          <p:spPr bwMode="auto">
            <a:xfrm>
              <a:off x="-2689225" y="6016625"/>
              <a:ext cx="558800" cy="558800"/>
            </a:xfrm>
            <a:custGeom>
              <a:avLst/>
              <a:gdLst>
                <a:gd name="T0" fmla="*/ 176 w 352"/>
                <a:gd name="T1" fmla="*/ 0 h 352"/>
                <a:gd name="T2" fmla="*/ 140 w 352"/>
                <a:gd name="T3" fmla="*/ 2 h 352"/>
                <a:gd name="T4" fmla="*/ 108 w 352"/>
                <a:gd name="T5" fmla="*/ 14 h 352"/>
                <a:gd name="T6" fmla="*/ 78 w 352"/>
                <a:gd name="T7" fmla="*/ 30 h 352"/>
                <a:gd name="T8" fmla="*/ 52 w 352"/>
                <a:gd name="T9" fmla="*/ 50 h 352"/>
                <a:gd name="T10" fmla="*/ 30 w 352"/>
                <a:gd name="T11" fmla="*/ 76 h 352"/>
                <a:gd name="T12" fmla="*/ 14 w 352"/>
                <a:gd name="T13" fmla="*/ 106 h 352"/>
                <a:gd name="T14" fmla="*/ 4 w 352"/>
                <a:gd name="T15" fmla="*/ 140 h 352"/>
                <a:gd name="T16" fmla="*/ 0 w 352"/>
                <a:gd name="T17" fmla="*/ 176 h 352"/>
                <a:gd name="T18" fmla="*/ 0 w 352"/>
                <a:gd name="T19" fmla="*/ 194 h 352"/>
                <a:gd name="T20" fmla="*/ 8 w 352"/>
                <a:gd name="T21" fmla="*/ 228 h 352"/>
                <a:gd name="T22" fmla="*/ 22 w 352"/>
                <a:gd name="T23" fmla="*/ 260 h 352"/>
                <a:gd name="T24" fmla="*/ 40 w 352"/>
                <a:gd name="T25" fmla="*/ 288 h 352"/>
                <a:gd name="T26" fmla="*/ 64 w 352"/>
                <a:gd name="T27" fmla="*/ 312 h 352"/>
                <a:gd name="T28" fmla="*/ 92 w 352"/>
                <a:gd name="T29" fmla="*/ 330 h 352"/>
                <a:gd name="T30" fmla="*/ 124 w 352"/>
                <a:gd name="T31" fmla="*/ 344 h 352"/>
                <a:gd name="T32" fmla="*/ 158 w 352"/>
                <a:gd name="T33" fmla="*/ 350 h 352"/>
                <a:gd name="T34" fmla="*/ 176 w 352"/>
                <a:gd name="T35" fmla="*/ 352 h 352"/>
                <a:gd name="T36" fmla="*/ 212 w 352"/>
                <a:gd name="T37" fmla="*/ 348 h 352"/>
                <a:gd name="T38" fmla="*/ 244 w 352"/>
                <a:gd name="T39" fmla="*/ 338 h 352"/>
                <a:gd name="T40" fmla="*/ 274 w 352"/>
                <a:gd name="T41" fmla="*/ 322 h 352"/>
                <a:gd name="T42" fmla="*/ 300 w 352"/>
                <a:gd name="T43" fmla="*/ 300 h 352"/>
                <a:gd name="T44" fmla="*/ 322 w 352"/>
                <a:gd name="T45" fmla="*/ 274 h 352"/>
                <a:gd name="T46" fmla="*/ 338 w 352"/>
                <a:gd name="T47" fmla="*/ 244 h 352"/>
                <a:gd name="T48" fmla="*/ 348 w 352"/>
                <a:gd name="T49" fmla="*/ 210 h 352"/>
                <a:gd name="T50" fmla="*/ 352 w 352"/>
                <a:gd name="T51" fmla="*/ 176 h 352"/>
                <a:gd name="T52" fmla="*/ 352 w 352"/>
                <a:gd name="T53" fmla="*/ 158 h 352"/>
                <a:gd name="T54" fmla="*/ 344 w 352"/>
                <a:gd name="T55" fmla="*/ 124 h 352"/>
                <a:gd name="T56" fmla="*/ 330 w 352"/>
                <a:gd name="T57" fmla="*/ 92 h 352"/>
                <a:gd name="T58" fmla="*/ 312 w 352"/>
                <a:gd name="T59" fmla="*/ 64 h 352"/>
                <a:gd name="T60" fmla="*/ 288 w 352"/>
                <a:gd name="T61" fmla="*/ 40 h 352"/>
                <a:gd name="T62" fmla="*/ 260 w 352"/>
                <a:gd name="T63" fmla="*/ 20 h 352"/>
                <a:gd name="T64" fmla="*/ 228 w 352"/>
                <a:gd name="T65" fmla="*/ 8 h 352"/>
                <a:gd name="T66" fmla="*/ 194 w 352"/>
                <a:gd name="T67" fmla="*/ 0 h 352"/>
                <a:gd name="T68" fmla="*/ 176 w 352"/>
                <a:gd name="T69"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2" h="352">
                  <a:moveTo>
                    <a:pt x="176" y="0"/>
                  </a:moveTo>
                  <a:lnTo>
                    <a:pt x="176" y="0"/>
                  </a:lnTo>
                  <a:lnTo>
                    <a:pt x="158" y="0"/>
                  </a:lnTo>
                  <a:lnTo>
                    <a:pt x="140" y="2"/>
                  </a:lnTo>
                  <a:lnTo>
                    <a:pt x="124" y="8"/>
                  </a:lnTo>
                  <a:lnTo>
                    <a:pt x="108" y="14"/>
                  </a:lnTo>
                  <a:lnTo>
                    <a:pt x="92" y="20"/>
                  </a:lnTo>
                  <a:lnTo>
                    <a:pt x="78" y="30"/>
                  </a:lnTo>
                  <a:lnTo>
                    <a:pt x="64" y="40"/>
                  </a:lnTo>
                  <a:lnTo>
                    <a:pt x="52" y="50"/>
                  </a:lnTo>
                  <a:lnTo>
                    <a:pt x="40" y="64"/>
                  </a:lnTo>
                  <a:lnTo>
                    <a:pt x="30" y="76"/>
                  </a:lnTo>
                  <a:lnTo>
                    <a:pt x="22" y="92"/>
                  </a:lnTo>
                  <a:lnTo>
                    <a:pt x="14" y="106"/>
                  </a:lnTo>
                  <a:lnTo>
                    <a:pt x="8" y="124"/>
                  </a:lnTo>
                  <a:lnTo>
                    <a:pt x="4" y="140"/>
                  </a:lnTo>
                  <a:lnTo>
                    <a:pt x="0" y="158"/>
                  </a:lnTo>
                  <a:lnTo>
                    <a:pt x="0" y="176"/>
                  </a:lnTo>
                  <a:lnTo>
                    <a:pt x="0" y="176"/>
                  </a:lnTo>
                  <a:lnTo>
                    <a:pt x="0" y="194"/>
                  </a:lnTo>
                  <a:lnTo>
                    <a:pt x="4" y="210"/>
                  </a:lnTo>
                  <a:lnTo>
                    <a:pt x="8" y="228"/>
                  </a:lnTo>
                  <a:lnTo>
                    <a:pt x="14" y="244"/>
                  </a:lnTo>
                  <a:lnTo>
                    <a:pt x="22" y="260"/>
                  </a:lnTo>
                  <a:lnTo>
                    <a:pt x="30" y="274"/>
                  </a:lnTo>
                  <a:lnTo>
                    <a:pt x="40" y="288"/>
                  </a:lnTo>
                  <a:lnTo>
                    <a:pt x="52" y="300"/>
                  </a:lnTo>
                  <a:lnTo>
                    <a:pt x="64" y="312"/>
                  </a:lnTo>
                  <a:lnTo>
                    <a:pt x="78" y="322"/>
                  </a:lnTo>
                  <a:lnTo>
                    <a:pt x="92" y="330"/>
                  </a:lnTo>
                  <a:lnTo>
                    <a:pt x="108" y="338"/>
                  </a:lnTo>
                  <a:lnTo>
                    <a:pt x="124" y="344"/>
                  </a:lnTo>
                  <a:lnTo>
                    <a:pt x="140" y="348"/>
                  </a:lnTo>
                  <a:lnTo>
                    <a:pt x="158" y="350"/>
                  </a:lnTo>
                  <a:lnTo>
                    <a:pt x="176" y="352"/>
                  </a:lnTo>
                  <a:lnTo>
                    <a:pt x="176" y="352"/>
                  </a:lnTo>
                  <a:lnTo>
                    <a:pt x="194" y="350"/>
                  </a:lnTo>
                  <a:lnTo>
                    <a:pt x="212" y="348"/>
                  </a:lnTo>
                  <a:lnTo>
                    <a:pt x="228" y="344"/>
                  </a:lnTo>
                  <a:lnTo>
                    <a:pt x="244" y="338"/>
                  </a:lnTo>
                  <a:lnTo>
                    <a:pt x="260" y="330"/>
                  </a:lnTo>
                  <a:lnTo>
                    <a:pt x="274" y="322"/>
                  </a:lnTo>
                  <a:lnTo>
                    <a:pt x="288" y="312"/>
                  </a:lnTo>
                  <a:lnTo>
                    <a:pt x="300" y="300"/>
                  </a:lnTo>
                  <a:lnTo>
                    <a:pt x="312" y="288"/>
                  </a:lnTo>
                  <a:lnTo>
                    <a:pt x="322" y="274"/>
                  </a:lnTo>
                  <a:lnTo>
                    <a:pt x="330" y="260"/>
                  </a:lnTo>
                  <a:lnTo>
                    <a:pt x="338" y="244"/>
                  </a:lnTo>
                  <a:lnTo>
                    <a:pt x="344" y="228"/>
                  </a:lnTo>
                  <a:lnTo>
                    <a:pt x="348" y="210"/>
                  </a:lnTo>
                  <a:lnTo>
                    <a:pt x="352" y="194"/>
                  </a:lnTo>
                  <a:lnTo>
                    <a:pt x="352" y="176"/>
                  </a:lnTo>
                  <a:lnTo>
                    <a:pt x="352" y="176"/>
                  </a:lnTo>
                  <a:lnTo>
                    <a:pt x="352" y="158"/>
                  </a:lnTo>
                  <a:lnTo>
                    <a:pt x="348" y="140"/>
                  </a:lnTo>
                  <a:lnTo>
                    <a:pt x="344" y="124"/>
                  </a:lnTo>
                  <a:lnTo>
                    <a:pt x="338" y="106"/>
                  </a:lnTo>
                  <a:lnTo>
                    <a:pt x="330" y="92"/>
                  </a:lnTo>
                  <a:lnTo>
                    <a:pt x="322" y="76"/>
                  </a:lnTo>
                  <a:lnTo>
                    <a:pt x="312" y="64"/>
                  </a:lnTo>
                  <a:lnTo>
                    <a:pt x="300" y="50"/>
                  </a:lnTo>
                  <a:lnTo>
                    <a:pt x="288" y="40"/>
                  </a:lnTo>
                  <a:lnTo>
                    <a:pt x="274" y="30"/>
                  </a:lnTo>
                  <a:lnTo>
                    <a:pt x="260" y="20"/>
                  </a:lnTo>
                  <a:lnTo>
                    <a:pt x="244" y="14"/>
                  </a:lnTo>
                  <a:lnTo>
                    <a:pt x="228" y="8"/>
                  </a:lnTo>
                  <a:lnTo>
                    <a:pt x="212" y="2"/>
                  </a:lnTo>
                  <a:lnTo>
                    <a:pt x="194" y="0"/>
                  </a:lnTo>
                  <a:lnTo>
                    <a:pt x="176" y="0"/>
                  </a:lnTo>
                  <a:lnTo>
                    <a:pt x="176" y="0"/>
                  </a:ln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4" name="Line 88">
              <a:extLst>
                <a:ext uri="{FF2B5EF4-FFF2-40B4-BE49-F238E27FC236}">
                  <a16:creationId xmlns:a16="http://schemas.microsoft.com/office/drawing/2014/main" id="{6B25F306-9902-491F-9F0F-5BA91CD683B7}"/>
                </a:ext>
              </a:extLst>
            </p:cNvPr>
            <p:cNvSpPr>
              <a:spLocks noChangeShapeType="1"/>
            </p:cNvSpPr>
            <p:nvPr/>
          </p:nvSpPr>
          <p:spPr bwMode="auto">
            <a:xfrm>
              <a:off x="-2409825" y="601662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Freeform 89">
              <a:extLst>
                <a:ext uri="{FF2B5EF4-FFF2-40B4-BE49-F238E27FC236}">
                  <a16:creationId xmlns:a16="http://schemas.microsoft.com/office/drawing/2014/main" id="{0FDD4B5C-C68E-4112-A6CB-245CFD905424}"/>
                </a:ext>
              </a:extLst>
            </p:cNvPr>
            <p:cNvSpPr>
              <a:spLocks noEditPoints="1"/>
            </p:cNvSpPr>
            <p:nvPr/>
          </p:nvSpPr>
          <p:spPr bwMode="auto">
            <a:xfrm>
              <a:off x="-1981200" y="2451100"/>
              <a:ext cx="854075" cy="850900"/>
            </a:xfrm>
            <a:custGeom>
              <a:avLst/>
              <a:gdLst>
                <a:gd name="T0" fmla="*/ 270 w 538"/>
                <a:gd name="T1" fmla="*/ 536 h 536"/>
                <a:gd name="T2" fmla="*/ 216 w 538"/>
                <a:gd name="T3" fmla="*/ 532 h 536"/>
                <a:gd name="T4" fmla="*/ 164 w 538"/>
                <a:gd name="T5" fmla="*/ 516 h 536"/>
                <a:gd name="T6" fmla="*/ 120 w 538"/>
                <a:gd name="T7" fmla="*/ 490 h 536"/>
                <a:gd name="T8" fmla="*/ 80 w 538"/>
                <a:gd name="T9" fmla="*/ 458 h 536"/>
                <a:gd name="T10" fmla="*/ 46 w 538"/>
                <a:gd name="T11" fmla="*/ 418 h 536"/>
                <a:gd name="T12" fmla="*/ 22 w 538"/>
                <a:gd name="T13" fmla="*/ 372 h 536"/>
                <a:gd name="T14" fmla="*/ 6 w 538"/>
                <a:gd name="T15" fmla="*/ 322 h 536"/>
                <a:gd name="T16" fmla="*/ 0 w 538"/>
                <a:gd name="T17" fmla="*/ 268 h 536"/>
                <a:gd name="T18" fmla="*/ 2 w 538"/>
                <a:gd name="T19" fmla="*/ 240 h 536"/>
                <a:gd name="T20" fmla="*/ 12 w 538"/>
                <a:gd name="T21" fmla="*/ 188 h 536"/>
                <a:gd name="T22" fmla="*/ 34 w 538"/>
                <a:gd name="T23" fmla="*/ 140 h 536"/>
                <a:gd name="T24" fmla="*/ 62 w 538"/>
                <a:gd name="T25" fmla="*/ 98 h 536"/>
                <a:gd name="T26" fmla="*/ 98 w 538"/>
                <a:gd name="T27" fmla="*/ 60 h 536"/>
                <a:gd name="T28" fmla="*/ 142 w 538"/>
                <a:gd name="T29" fmla="*/ 32 h 536"/>
                <a:gd name="T30" fmla="*/ 190 w 538"/>
                <a:gd name="T31" fmla="*/ 12 h 536"/>
                <a:gd name="T32" fmla="*/ 242 w 538"/>
                <a:gd name="T33" fmla="*/ 0 h 536"/>
                <a:gd name="T34" fmla="*/ 270 w 538"/>
                <a:gd name="T35" fmla="*/ 0 h 536"/>
                <a:gd name="T36" fmla="*/ 324 w 538"/>
                <a:gd name="T37" fmla="*/ 6 h 536"/>
                <a:gd name="T38" fmla="*/ 374 w 538"/>
                <a:gd name="T39" fmla="*/ 20 h 536"/>
                <a:gd name="T40" fmla="*/ 420 w 538"/>
                <a:gd name="T41" fmla="*/ 46 h 536"/>
                <a:gd name="T42" fmla="*/ 458 w 538"/>
                <a:gd name="T43" fmla="*/ 78 h 536"/>
                <a:gd name="T44" fmla="*/ 492 w 538"/>
                <a:gd name="T45" fmla="*/ 118 h 536"/>
                <a:gd name="T46" fmla="*/ 516 w 538"/>
                <a:gd name="T47" fmla="*/ 164 h 536"/>
                <a:gd name="T48" fmla="*/ 532 w 538"/>
                <a:gd name="T49" fmla="*/ 214 h 536"/>
                <a:gd name="T50" fmla="*/ 538 w 538"/>
                <a:gd name="T51" fmla="*/ 268 h 536"/>
                <a:gd name="T52" fmla="*/ 536 w 538"/>
                <a:gd name="T53" fmla="*/ 296 h 536"/>
                <a:gd name="T54" fmla="*/ 526 w 538"/>
                <a:gd name="T55" fmla="*/ 348 h 536"/>
                <a:gd name="T56" fmla="*/ 506 w 538"/>
                <a:gd name="T57" fmla="*/ 396 h 536"/>
                <a:gd name="T58" fmla="*/ 476 w 538"/>
                <a:gd name="T59" fmla="*/ 438 h 536"/>
                <a:gd name="T60" fmla="*/ 440 w 538"/>
                <a:gd name="T61" fmla="*/ 476 h 536"/>
                <a:gd name="T62" fmla="*/ 398 w 538"/>
                <a:gd name="T63" fmla="*/ 504 h 536"/>
                <a:gd name="T64" fmla="*/ 348 w 538"/>
                <a:gd name="T65" fmla="*/ 524 h 536"/>
                <a:gd name="T66" fmla="*/ 296 w 538"/>
                <a:gd name="T67" fmla="*/ 536 h 536"/>
                <a:gd name="T68" fmla="*/ 270 w 538"/>
                <a:gd name="T69" fmla="*/ 536 h 536"/>
                <a:gd name="T70" fmla="*/ 270 w 538"/>
                <a:gd name="T71" fmla="*/ 178 h 536"/>
                <a:gd name="T72" fmla="*/ 234 w 538"/>
                <a:gd name="T73" fmla="*/ 186 h 536"/>
                <a:gd name="T74" fmla="*/ 206 w 538"/>
                <a:gd name="T75" fmla="*/ 204 h 536"/>
                <a:gd name="T76" fmla="*/ 186 w 538"/>
                <a:gd name="T77" fmla="*/ 234 h 536"/>
                <a:gd name="T78" fmla="*/ 180 w 538"/>
                <a:gd name="T79" fmla="*/ 268 h 536"/>
                <a:gd name="T80" fmla="*/ 182 w 538"/>
                <a:gd name="T81" fmla="*/ 286 h 536"/>
                <a:gd name="T82" fmla="*/ 196 w 538"/>
                <a:gd name="T83" fmla="*/ 318 h 536"/>
                <a:gd name="T84" fmla="*/ 220 w 538"/>
                <a:gd name="T85" fmla="*/ 342 h 536"/>
                <a:gd name="T86" fmla="*/ 252 w 538"/>
                <a:gd name="T87" fmla="*/ 356 h 536"/>
                <a:gd name="T88" fmla="*/ 270 w 538"/>
                <a:gd name="T89" fmla="*/ 358 h 536"/>
                <a:gd name="T90" fmla="*/ 304 w 538"/>
                <a:gd name="T91" fmla="*/ 350 h 536"/>
                <a:gd name="T92" fmla="*/ 332 w 538"/>
                <a:gd name="T93" fmla="*/ 332 h 536"/>
                <a:gd name="T94" fmla="*/ 352 w 538"/>
                <a:gd name="T95" fmla="*/ 302 h 536"/>
                <a:gd name="T96" fmla="*/ 358 w 538"/>
                <a:gd name="T97" fmla="*/ 268 h 536"/>
                <a:gd name="T98" fmla="*/ 356 w 538"/>
                <a:gd name="T99" fmla="*/ 250 h 536"/>
                <a:gd name="T100" fmla="*/ 344 w 538"/>
                <a:gd name="T101" fmla="*/ 218 h 536"/>
                <a:gd name="T102" fmla="*/ 320 w 538"/>
                <a:gd name="T103" fmla="*/ 194 h 536"/>
                <a:gd name="T104" fmla="*/ 288 w 538"/>
                <a:gd name="T105" fmla="*/ 180 h 536"/>
                <a:gd name="T106" fmla="*/ 270 w 538"/>
                <a:gd name="T107" fmla="*/ 178 h 536"/>
                <a:gd name="T108" fmla="*/ 270 w 538"/>
                <a:gd name="T109" fmla="*/ 178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8" h="536">
                  <a:moveTo>
                    <a:pt x="270" y="536"/>
                  </a:moveTo>
                  <a:lnTo>
                    <a:pt x="270" y="536"/>
                  </a:lnTo>
                  <a:lnTo>
                    <a:pt x="242" y="536"/>
                  </a:lnTo>
                  <a:lnTo>
                    <a:pt x="216" y="532"/>
                  </a:lnTo>
                  <a:lnTo>
                    <a:pt x="190" y="524"/>
                  </a:lnTo>
                  <a:lnTo>
                    <a:pt x="164" y="516"/>
                  </a:lnTo>
                  <a:lnTo>
                    <a:pt x="142" y="504"/>
                  </a:lnTo>
                  <a:lnTo>
                    <a:pt x="120" y="490"/>
                  </a:lnTo>
                  <a:lnTo>
                    <a:pt x="98" y="476"/>
                  </a:lnTo>
                  <a:lnTo>
                    <a:pt x="80" y="458"/>
                  </a:lnTo>
                  <a:lnTo>
                    <a:pt x="62" y="438"/>
                  </a:lnTo>
                  <a:lnTo>
                    <a:pt x="46" y="418"/>
                  </a:lnTo>
                  <a:lnTo>
                    <a:pt x="34" y="396"/>
                  </a:lnTo>
                  <a:lnTo>
                    <a:pt x="22" y="372"/>
                  </a:lnTo>
                  <a:lnTo>
                    <a:pt x="12" y="348"/>
                  </a:lnTo>
                  <a:lnTo>
                    <a:pt x="6" y="322"/>
                  </a:lnTo>
                  <a:lnTo>
                    <a:pt x="2" y="296"/>
                  </a:lnTo>
                  <a:lnTo>
                    <a:pt x="0" y="268"/>
                  </a:lnTo>
                  <a:lnTo>
                    <a:pt x="0" y="268"/>
                  </a:lnTo>
                  <a:lnTo>
                    <a:pt x="2" y="240"/>
                  </a:lnTo>
                  <a:lnTo>
                    <a:pt x="6" y="214"/>
                  </a:lnTo>
                  <a:lnTo>
                    <a:pt x="12" y="188"/>
                  </a:lnTo>
                  <a:lnTo>
                    <a:pt x="22" y="164"/>
                  </a:lnTo>
                  <a:lnTo>
                    <a:pt x="34" y="140"/>
                  </a:lnTo>
                  <a:lnTo>
                    <a:pt x="46" y="118"/>
                  </a:lnTo>
                  <a:lnTo>
                    <a:pt x="62" y="98"/>
                  </a:lnTo>
                  <a:lnTo>
                    <a:pt x="80" y="78"/>
                  </a:lnTo>
                  <a:lnTo>
                    <a:pt x="98" y="60"/>
                  </a:lnTo>
                  <a:lnTo>
                    <a:pt x="120" y="46"/>
                  </a:lnTo>
                  <a:lnTo>
                    <a:pt x="142" y="32"/>
                  </a:lnTo>
                  <a:lnTo>
                    <a:pt x="164" y="20"/>
                  </a:lnTo>
                  <a:lnTo>
                    <a:pt x="190" y="12"/>
                  </a:lnTo>
                  <a:lnTo>
                    <a:pt x="216" y="6"/>
                  </a:lnTo>
                  <a:lnTo>
                    <a:pt x="242" y="0"/>
                  </a:lnTo>
                  <a:lnTo>
                    <a:pt x="270" y="0"/>
                  </a:lnTo>
                  <a:lnTo>
                    <a:pt x="270" y="0"/>
                  </a:lnTo>
                  <a:lnTo>
                    <a:pt x="296" y="0"/>
                  </a:lnTo>
                  <a:lnTo>
                    <a:pt x="324" y="6"/>
                  </a:lnTo>
                  <a:lnTo>
                    <a:pt x="348" y="12"/>
                  </a:lnTo>
                  <a:lnTo>
                    <a:pt x="374" y="20"/>
                  </a:lnTo>
                  <a:lnTo>
                    <a:pt x="398" y="32"/>
                  </a:lnTo>
                  <a:lnTo>
                    <a:pt x="420" y="46"/>
                  </a:lnTo>
                  <a:lnTo>
                    <a:pt x="440" y="60"/>
                  </a:lnTo>
                  <a:lnTo>
                    <a:pt x="458" y="78"/>
                  </a:lnTo>
                  <a:lnTo>
                    <a:pt x="476" y="98"/>
                  </a:lnTo>
                  <a:lnTo>
                    <a:pt x="492" y="118"/>
                  </a:lnTo>
                  <a:lnTo>
                    <a:pt x="506" y="140"/>
                  </a:lnTo>
                  <a:lnTo>
                    <a:pt x="516" y="164"/>
                  </a:lnTo>
                  <a:lnTo>
                    <a:pt x="526" y="188"/>
                  </a:lnTo>
                  <a:lnTo>
                    <a:pt x="532" y="214"/>
                  </a:lnTo>
                  <a:lnTo>
                    <a:pt x="536" y="240"/>
                  </a:lnTo>
                  <a:lnTo>
                    <a:pt x="538" y="268"/>
                  </a:lnTo>
                  <a:lnTo>
                    <a:pt x="538" y="268"/>
                  </a:lnTo>
                  <a:lnTo>
                    <a:pt x="536" y="296"/>
                  </a:lnTo>
                  <a:lnTo>
                    <a:pt x="532" y="322"/>
                  </a:lnTo>
                  <a:lnTo>
                    <a:pt x="526" y="348"/>
                  </a:lnTo>
                  <a:lnTo>
                    <a:pt x="516" y="372"/>
                  </a:lnTo>
                  <a:lnTo>
                    <a:pt x="506" y="396"/>
                  </a:lnTo>
                  <a:lnTo>
                    <a:pt x="492" y="418"/>
                  </a:lnTo>
                  <a:lnTo>
                    <a:pt x="476" y="438"/>
                  </a:lnTo>
                  <a:lnTo>
                    <a:pt x="458" y="458"/>
                  </a:lnTo>
                  <a:lnTo>
                    <a:pt x="440" y="476"/>
                  </a:lnTo>
                  <a:lnTo>
                    <a:pt x="420" y="490"/>
                  </a:lnTo>
                  <a:lnTo>
                    <a:pt x="398" y="504"/>
                  </a:lnTo>
                  <a:lnTo>
                    <a:pt x="374" y="516"/>
                  </a:lnTo>
                  <a:lnTo>
                    <a:pt x="348" y="524"/>
                  </a:lnTo>
                  <a:lnTo>
                    <a:pt x="324" y="532"/>
                  </a:lnTo>
                  <a:lnTo>
                    <a:pt x="296" y="536"/>
                  </a:lnTo>
                  <a:lnTo>
                    <a:pt x="270" y="536"/>
                  </a:lnTo>
                  <a:lnTo>
                    <a:pt x="270" y="536"/>
                  </a:lnTo>
                  <a:close/>
                  <a:moveTo>
                    <a:pt x="270" y="178"/>
                  </a:moveTo>
                  <a:lnTo>
                    <a:pt x="270" y="178"/>
                  </a:lnTo>
                  <a:lnTo>
                    <a:pt x="252" y="180"/>
                  </a:lnTo>
                  <a:lnTo>
                    <a:pt x="234" y="186"/>
                  </a:lnTo>
                  <a:lnTo>
                    <a:pt x="220" y="194"/>
                  </a:lnTo>
                  <a:lnTo>
                    <a:pt x="206" y="204"/>
                  </a:lnTo>
                  <a:lnTo>
                    <a:pt x="196" y="218"/>
                  </a:lnTo>
                  <a:lnTo>
                    <a:pt x="186" y="234"/>
                  </a:lnTo>
                  <a:lnTo>
                    <a:pt x="182" y="250"/>
                  </a:lnTo>
                  <a:lnTo>
                    <a:pt x="180" y="268"/>
                  </a:lnTo>
                  <a:lnTo>
                    <a:pt x="180" y="268"/>
                  </a:lnTo>
                  <a:lnTo>
                    <a:pt x="182" y="286"/>
                  </a:lnTo>
                  <a:lnTo>
                    <a:pt x="186" y="302"/>
                  </a:lnTo>
                  <a:lnTo>
                    <a:pt x="196" y="318"/>
                  </a:lnTo>
                  <a:lnTo>
                    <a:pt x="206" y="332"/>
                  </a:lnTo>
                  <a:lnTo>
                    <a:pt x="220" y="342"/>
                  </a:lnTo>
                  <a:lnTo>
                    <a:pt x="234" y="350"/>
                  </a:lnTo>
                  <a:lnTo>
                    <a:pt x="252" y="356"/>
                  </a:lnTo>
                  <a:lnTo>
                    <a:pt x="270" y="358"/>
                  </a:lnTo>
                  <a:lnTo>
                    <a:pt x="270" y="358"/>
                  </a:lnTo>
                  <a:lnTo>
                    <a:pt x="288" y="356"/>
                  </a:lnTo>
                  <a:lnTo>
                    <a:pt x="304" y="350"/>
                  </a:lnTo>
                  <a:lnTo>
                    <a:pt x="320" y="342"/>
                  </a:lnTo>
                  <a:lnTo>
                    <a:pt x="332" y="332"/>
                  </a:lnTo>
                  <a:lnTo>
                    <a:pt x="344" y="318"/>
                  </a:lnTo>
                  <a:lnTo>
                    <a:pt x="352" y="302"/>
                  </a:lnTo>
                  <a:lnTo>
                    <a:pt x="356" y="286"/>
                  </a:lnTo>
                  <a:lnTo>
                    <a:pt x="358" y="268"/>
                  </a:lnTo>
                  <a:lnTo>
                    <a:pt x="358" y="268"/>
                  </a:lnTo>
                  <a:lnTo>
                    <a:pt x="356" y="250"/>
                  </a:lnTo>
                  <a:lnTo>
                    <a:pt x="352" y="234"/>
                  </a:lnTo>
                  <a:lnTo>
                    <a:pt x="344" y="218"/>
                  </a:lnTo>
                  <a:lnTo>
                    <a:pt x="332" y="204"/>
                  </a:lnTo>
                  <a:lnTo>
                    <a:pt x="320" y="194"/>
                  </a:lnTo>
                  <a:lnTo>
                    <a:pt x="304" y="186"/>
                  </a:lnTo>
                  <a:lnTo>
                    <a:pt x="288" y="180"/>
                  </a:lnTo>
                  <a:lnTo>
                    <a:pt x="270" y="178"/>
                  </a:lnTo>
                  <a:lnTo>
                    <a:pt x="270" y="178"/>
                  </a:lnTo>
                  <a:close/>
                  <a:moveTo>
                    <a:pt x="270" y="178"/>
                  </a:moveTo>
                  <a:lnTo>
                    <a:pt x="270" y="1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6" name="Freeform 90">
              <a:extLst>
                <a:ext uri="{FF2B5EF4-FFF2-40B4-BE49-F238E27FC236}">
                  <a16:creationId xmlns:a16="http://schemas.microsoft.com/office/drawing/2014/main" id="{39D8D085-2962-49A4-858B-01477C4F6B50}"/>
                </a:ext>
              </a:extLst>
            </p:cNvPr>
            <p:cNvSpPr>
              <a:spLocks/>
            </p:cNvSpPr>
            <p:nvPr/>
          </p:nvSpPr>
          <p:spPr bwMode="auto">
            <a:xfrm>
              <a:off x="-1981200" y="2451100"/>
              <a:ext cx="854075" cy="850900"/>
            </a:xfrm>
            <a:custGeom>
              <a:avLst/>
              <a:gdLst>
                <a:gd name="T0" fmla="*/ 270 w 538"/>
                <a:gd name="T1" fmla="*/ 536 h 536"/>
                <a:gd name="T2" fmla="*/ 216 w 538"/>
                <a:gd name="T3" fmla="*/ 532 h 536"/>
                <a:gd name="T4" fmla="*/ 164 w 538"/>
                <a:gd name="T5" fmla="*/ 516 h 536"/>
                <a:gd name="T6" fmla="*/ 120 w 538"/>
                <a:gd name="T7" fmla="*/ 490 h 536"/>
                <a:gd name="T8" fmla="*/ 80 w 538"/>
                <a:gd name="T9" fmla="*/ 458 h 536"/>
                <a:gd name="T10" fmla="*/ 46 w 538"/>
                <a:gd name="T11" fmla="*/ 418 h 536"/>
                <a:gd name="T12" fmla="*/ 22 w 538"/>
                <a:gd name="T13" fmla="*/ 372 h 536"/>
                <a:gd name="T14" fmla="*/ 6 w 538"/>
                <a:gd name="T15" fmla="*/ 322 h 536"/>
                <a:gd name="T16" fmla="*/ 0 w 538"/>
                <a:gd name="T17" fmla="*/ 268 h 536"/>
                <a:gd name="T18" fmla="*/ 2 w 538"/>
                <a:gd name="T19" fmla="*/ 240 h 536"/>
                <a:gd name="T20" fmla="*/ 12 w 538"/>
                <a:gd name="T21" fmla="*/ 188 h 536"/>
                <a:gd name="T22" fmla="*/ 34 w 538"/>
                <a:gd name="T23" fmla="*/ 140 h 536"/>
                <a:gd name="T24" fmla="*/ 62 w 538"/>
                <a:gd name="T25" fmla="*/ 98 h 536"/>
                <a:gd name="T26" fmla="*/ 98 w 538"/>
                <a:gd name="T27" fmla="*/ 60 h 536"/>
                <a:gd name="T28" fmla="*/ 142 w 538"/>
                <a:gd name="T29" fmla="*/ 32 h 536"/>
                <a:gd name="T30" fmla="*/ 190 w 538"/>
                <a:gd name="T31" fmla="*/ 12 h 536"/>
                <a:gd name="T32" fmla="*/ 242 w 538"/>
                <a:gd name="T33" fmla="*/ 0 h 536"/>
                <a:gd name="T34" fmla="*/ 270 w 538"/>
                <a:gd name="T35" fmla="*/ 0 h 536"/>
                <a:gd name="T36" fmla="*/ 324 w 538"/>
                <a:gd name="T37" fmla="*/ 6 h 536"/>
                <a:gd name="T38" fmla="*/ 374 w 538"/>
                <a:gd name="T39" fmla="*/ 20 h 536"/>
                <a:gd name="T40" fmla="*/ 420 w 538"/>
                <a:gd name="T41" fmla="*/ 46 h 536"/>
                <a:gd name="T42" fmla="*/ 458 w 538"/>
                <a:gd name="T43" fmla="*/ 78 h 536"/>
                <a:gd name="T44" fmla="*/ 492 w 538"/>
                <a:gd name="T45" fmla="*/ 118 h 536"/>
                <a:gd name="T46" fmla="*/ 516 w 538"/>
                <a:gd name="T47" fmla="*/ 164 h 536"/>
                <a:gd name="T48" fmla="*/ 532 w 538"/>
                <a:gd name="T49" fmla="*/ 214 h 536"/>
                <a:gd name="T50" fmla="*/ 538 w 538"/>
                <a:gd name="T51" fmla="*/ 268 h 536"/>
                <a:gd name="T52" fmla="*/ 536 w 538"/>
                <a:gd name="T53" fmla="*/ 296 h 536"/>
                <a:gd name="T54" fmla="*/ 526 w 538"/>
                <a:gd name="T55" fmla="*/ 348 h 536"/>
                <a:gd name="T56" fmla="*/ 506 w 538"/>
                <a:gd name="T57" fmla="*/ 396 h 536"/>
                <a:gd name="T58" fmla="*/ 476 w 538"/>
                <a:gd name="T59" fmla="*/ 438 h 536"/>
                <a:gd name="T60" fmla="*/ 440 w 538"/>
                <a:gd name="T61" fmla="*/ 476 h 536"/>
                <a:gd name="T62" fmla="*/ 398 w 538"/>
                <a:gd name="T63" fmla="*/ 504 h 536"/>
                <a:gd name="T64" fmla="*/ 348 w 538"/>
                <a:gd name="T65" fmla="*/ 524 h 536"/>
                <a:gd name="T66" fmla="*/ 296 w 538"/>
                <a:gd name="T67" fmla="*/ 536 h 536"/>
                <a:gd name="T68" fmla="*/ 270 w 538"/>
                <a:gd name="T69" fmla="*/ 536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38" h="536">
                  <a:moveTo>
                    <a:pt x="270" y="536"/>
                  </a:moveTo>
                  <a:lnTo>
                    <a:pt x="270" y="536"/>
                  </a:lnTo>
                  <a:lnTo>
                    <a:pt x="242" y="536"/>
                  </a:lnTo>
                  <a:lnTo>
                    <a:pt x="216" y="532"/>
                  </a:lnTo>
                  <a:lnTo>
                    <a:pt x="190" y="524"/>
                  </a:lnTo>
                  <a:lnTo>
                    <a:pt x="164" y="516"/>
                  </a:lnTo>
                  <a:lnTo>
                    <a:pt x="142" y="504"/>
                  </a:lnTo>
                  <a:lnTo>
                    <a:pt x="120" y="490"/>
                  </a:lnTo>
                  <a:lnTo>
                    <a:pt x="98" y="476"/>
                  </a:lnTo>
                  <a:lnTo>
                    <a:pt x="80" y="458"/>
                  </a:lnTo>
                  <a:lnTo>
                    <a:pt x="62" y="438"/>
                  </a:lnTo>
                  <a:lnTo>
                    <a:pt x="46" y="418"/>
                  </a:lnTo>
                  <a:lnTo>
                    <a:pt x="34" y="396"/>
                  </a:lnTo>
                  <a:lnTo>
                    <a:pt x="22" y="372"/>
                  </a:lnTo>
                  <a:lnTo>
                    <a:pt x="12" y="348"/>
                  </a:lnTo>
                  <a:lnTo>
                    <a:pt x="6" y="322"/>
                  </a:lnTo>
                  <a:lnTo>
                    <a:pt x="2" y="296"/>
                  </a:lnTo>
                  <a:lnTo>
                    <a:pt x="0" y="268"/>
                  </a:lnTo>
                  <a:lnTo>
                    <a:pt x="0" y="268"/>
                  </a:lnTo>
                  <a:lnTo>
                    <a:pt x="2" y="240"/>
                  </a:lnTo>
                  <a:lnTo>
                    <a:pt x="6" y="214"/>
                  </a:lnTo>
                  <a:lnTo>
                    <a:pt x="12" y="188"/>
                  </a:lnTo>
                  <a:lnTo>
                    <a:pt x="22" y="164"/>
                  </a:lnTo>
                  <a:lnTo>
                    <a:pt x="34" y="140"/>
                  </a:lnTo>
                  <a:lnTo>
                    <a:pt x="46" y="118"/>
                  </a:lnTo>
                  <a:lnTo>
                    <a:pt x="62" y="98"/>
                  </a:lnTo>
                  <a:lnTo>
                    <a:pt x="80" y="78"/>
                  </a:lnTo>
                  <a:lnTo>
                    <a:pt x="98" y="60"/>
                  </a:lnTo>
                  <a:lnTo>
                    <a:pt x="120" y="46"/>
                  </a:lnTo>
                  <a:lnTo>
                    <a:pt x="142" y="32"/>
                  </a:lnTo>
                  <a:lnTo>
                    <a:pt x="164" y="20"/>
                  </a:lnTo>
                  <a:lnTo>
                    <a:pt x="190" y="12"/>
                  </a:lnTo>
                  <a:lnTo>
                    <a:pt x="216" y="6"/>
                  </a:lnTo>
                  <a:lnTo>
                    <a:pt x="242" y="0"/>
                  </a:lnTo>
                  <a:lnTo>
                    <a:pt x="270" y="0"/>
                  </a:lnTo>
                  <a:lnTo>
                    <a:pt x="270" y="0"/>
                  </a:lnTo>
                  <a:lnTo>
                    <a:pt x="296" y="0"/>
                  </a:lnTo>
                  <a:lnTo>
                    <a:pt x="324" y="6"/>
                  </a:lnTo>
                  <a:lnTo>
                    <a:pt x="348" y="12"/>
                  </a:lnTo>
                  <a:lnTo>
                    <a:pt x="374" y="20"/>
                  </a:lnTo>
                  <a:lnTo>
                    <a:pt x="398" y="32"/>
                  </a:lnTo>
                  <a:lnTo>
                    <a:pt x="420" y="46"/>
                  </a:lnTo>
                  <a:lnTo>
                    <a:pt x="440" y="60"/>
                  </a:lnTo>
                  <a:lnTo>
                    <a:pt x="458" y="78"/>
                  </a:lnTo>
                  <a:lnTo>
                    <a:pt x="476" y="98"/>
                  </a:lnTo>
                  <a:lnTo>
                    <a:pt x="492" y="118"/>
                  </a:lnTo>
                  <a:lnTo>
                    <a:pt x="506" y="140"/>
                  </a:lnTo>
                  <a:lnTo>
                    <a:pt x="516" y="164"/>
                  </a:lnTo>
                  <a:lnTo>
                    <a:pt x="526" y="188"/>
                  </a:lnTo>
                  <a:lnTo>
                    <a:pt x="532" y="214"/>
                  </a:lnTo>
                  <a:lnTo>
                    <a:pt x="536" y="240"/>
                  </a:lnTo>
                  <a:lnTo>
                    <a:pt x="538" y="268"/>
                  </a:lnTo>
                  <a:lnTo>
                    <a:pt x="538" y="268"/>
                  </a:lnTo>
                  <a:lnTo>
                    <a:pt x="536" y="296"/>
                  </a:lnTo>
                  <a:lnTo>
                    <a:pt x="532" y="322"/>
                  </a:lnTo>
                  <a:lnTo>
                    <a:pt x="526" y="348"/>
                  </a:lnTo>
                  <a:lnTo>
                    <a:pt x="516" y="372"/>
                  </a:lnTo>
                  <a:lnTo>
                    <a:pt x="506" y="396"/>
                  </a:lnTo>
                  <a:lnTo>
                    <a:pt x="492" y="418"/>
                  </a:lnTo>
                  <a:lnTo>
                    <a:pt x="476" y="438"/>
                  </a:lnTo>
                  <a:lnTo>
                    <a:pt x="458" y="458"/>
                  </a:lnTo>
                  <a:lnTo>
                    <a:pt x="440" y="476"/>
                  </a:lnTo>
                  <a:lnTo>
                    <a:pt x="420" y="490"/>
                  </a:lnTo>
                  <a:lnTo>
                    <a:pt x="398" y="504"/>
                  </a:lnTo>
                  <a:lnTo>
                    <a:pt x="374" y="516"/>
                  </a:lnTo>
                  <a:lnTo>
                    <a:pt x="348" y="524"/>
                  </a:lnTo>
                  <a:lnTo>
                    <a:pt x="324" y="532"/>
                  </a:lnTo>
                  <a:lnTo>
                    <a:pt x="296" y="536"/>
                  </a:lnTo>
                  <a:lnTo>
                    <a:pt x="270" y="536"/>
                  </a:lnTo>
                  <a:lnTo>
                    <a:pt x="270" y="5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91">
              <a:extLst>
                <a:ext uri="{FF2B5EF4-FFF2-40B4-BE49-F238E27FC236}">
                  <a16:creationId xmlns:a16="http://schemas.microsoft.com/office/drawing/2014/main" id="{ED0A6399-9190-4CCF-8845-563500F34D99}"/>
                </a:ext>
              </a:extLst>
            </p:cNvPr>
            <p:cNvSpPr>
              <a:spLocks/>
            </p:cNvSpPr>
            <p:nvPr/>
          </p:nvSpPr>
          <p:spPr bwMode="auto">
            <a:xfrm>
              <a:off x="-1695450" y="2733675"/>
              <a:ext cx="282575" cy="285750"/>
            </a:xfrm>
            <a:custGeom>
              <a:avLst/>
              <a:gdLst>
                <a:gd name="T0" fmla="*/ 90 w 178"/>
                <a:gd name="T1" fmla="*/ 0 h 180"/>
                <a:gd name="T2" fmla="*/ 90 w 178"/>
                <a:gd name="T3" fmla="*/ 0 h 180"/>
                <a:gd name="T4" fmla="*/ 72 w 178"/>
                <a:gd name="T5" fmla="*/ 2 h 180"/>
                <a:gd name="T6" fmla="*/ 54 w 178"/>
                <a:gd name="T7" fmla="*/ 8 h 180"/>
                <a:gd name="T8" fmla="*/ 40 w 178"/>
                <a:gd name="T9" fmla="*/ 16 h 180"/>
                <a:gd name="T10" fmla="*/ 26 w 178"/>
                <a:gd name="T11" fmla="*/ 26 h 180"/>
                <a:gd name="T12" fmla="*/ 16 w 178"/>
                <a:gd name="T13" fmla="*/ 40 h 180"/>
                <a:gd name="T14" fmla="*/ 6 w 178"/>
                <a:gd name="T15" fmla="*/ 56 h 180"/>
                <a:gd name="T16" fmla="*/ 2 w 178"/>
                <a:gd name="T17" fmla="*/ 72 h 180"/>
                <a:gd name="T18" fmla="*/ 0 w 178"/>
                <a:gd name="T19" fmla="*/ 90 h 180"/>
                <a:gd name="T20" fmla="*/ 0 w 178"/>
                <a:gd name="T21" fmla="*/ 90 h 180"/>
                <a:gd name="T22" fmla="*/ 2 w 178"/>
                <a:gd name="T23" fmla="*/ 108 h 180"/>
                <a:gd name="T24" fmla="*/ 6 w 178"/>
                <a:gd name="T25" fmla="*/ 124 h 180"/>
                <a:gd name="T26" fmla="*/ 16 w 178"/>
                <a:gd name="T27" fmla="*/ 140 h 180"/>
                <a:gd name="T28" fmla="*/ 26 w 178"/>
                <a:gd name="T29" fmla="*/ 154 h 180"/>
                <a:gd name="T30" fmla="*/ 40 w 178"/>
                <a:gd name="T31" fmla="*/ 164 h 180"/>
                <a:gd name="T32" fmla="*/ 54 w 178"/>
                <a:gd name="T33" fmla="*/ 172 h 180"/>
                <a:gd name="T34" fmla="*/ 72 w 178"/>
                <a:gd name="T35" fmla="*/ 178 h 180"/>
                <a:gd name="T36" fmla="*/ 90 w 178"/>
                <a:gd name="T37" fmla="*/ 180 h 180"/>
                <a:gd name="T38" fmla="*/ 90 w 178"/>
                <a:gd name="T39" fmla="*/ 180 h 180"/>
                <a:gd name="T40" fmla="*/ 108 w 178"/>
                <a:gd name="T41" fmla="*/ 178 h 180"/>
                <a:gd name="T42" fmla="*/ 124 w 178"/>
                <a:gd name="T43" fmla="*/ 172 h 180"/>
                <a:gd name="T44" fmla="*/ 140 w 178"/>
                <a:gd name="T45" fmla="*/ 164 h 180"/>
                <a:gd name="T46" fmla="*/ 152 w 178"/>
                <a:gd name="T47" fmla="*/ 154 h 180"/>
                <a:gd name="T48" fmla="*/ 164 w 178"/>
                <a:gd name="T49" fmla="*/ 140 h 180"/>
                <a:gd name="T50" fmla="*/ 172 w 178"/>
                <a:gd name="T51" fmla="*/ 124 h 180"/>
                <a:gd name="T52" fmla="*/ 176 w 178"/>
                <a:gd name="T53" fmla="*/ 108 h 180"/>
                <a:gd name="T54" fmla="*/ 178 w 178"/>
                <a:gd name="T55" fmla="*/ 90 h 180"/>
                <a:gd name="T56" fmla="*/ 178 w 178"/>
                <a:gd name="T57" fmla="*/ 90 h 180"/>
                <a:gd name="T58" fmla="*/ 176 w 178"/>
                <a:gd name="T59" fmla="*/ 72 h 180"/>
                <a:gd name="T60" fmla="*/ 172 w 178"/>
                <a:gd name="T61" fmla="*/ 56 h 180"/>
                <a:gd name="T62" fmla="*/ 164 w 178"/>
                <a:gd name="T63" fmla="*/ 40 h 180"/>
                <a:gd name="T64" fmla="*/ 152 w 178"/>
                <a:gd name="T65" fmla="*/ 26 h 180"/>
                <a:gd name="T66" fmla="*/ 140 w 178"/>
                <a:gd name="T67" fmla="*/ 16 h 180"/>
                <a:gd name="T68" fmla="*/ 124 w 178"/>
                <a:gd name="T69" fmla="*/ 8 h 180"/>
                <a:gd name="T70" fmla="*/ 108 w 178"/>
                <a:gd name="T71" fmla="*/ 2 h 180"/>
                <a:gd name="T72" fmla="*/ 90 w 178"/>
                <a:gd name="T73" fmla="*/ 0 h 180"/>
                <a:gd name="T74" fmla="*/ 90 w 178"/>
                <a:gd name="T75"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8" h="180">
                  <a:moveTo>
                    <a:pt x="90" y="0"/>
                  </a:moveTo>
                  <a:lnTo>
                    <a:pt x="90" y="0"/>
                  </a:lnTo>
                  <a:lnTo>
                    <a:pt x="72" y="2"/>
                  </a:lnTo>
                  <a:lnTo>
                    <a:pt x="54" y="8"/>
                  </a:lnTo>
                  <a:lnTo>
                    <a:pt x="40" y="16"/>
                  </a:lnTo>
                  <a:lnTo>
                    <a:pt x="26" y="26"/>
                  </a:lnTo>
                  <a:lnTo>
                    <a:pt x="16" y="40"/>
                  </a:lnTo>
                  <a:lnTo>
                    <a:pt x="6" y="56"/>
                  </a:lnTo>
                  <a:lnTo>
                    <a:pt x="2" y="72"/>
                  </a:lnTo>
                  <a:lnTo>
                    <a:pt x="0" y="90"/>
                  </a:lnTo>
                  <a:lnTo>
                    <a:pt x="0" y="90"/>
                  </a:lnTo>
                  <a:lnTo>
                    <a:pt x="2" y="108"/>
                  </a:lnTo>
                  <a:lnTo>
                    <a:pt x="6" y="124"/>
                  </a:lnTo>
                  <a:lnTo>
                    <a:pt x="16" y="140"/>
                  </a:lnTo>
                  <a:lnTo>
                    <a:pt x="26" y="154"/>
                  </a:lnTo>
                  <a:lnTo>
                    <a:pt x="40" y="164"/>
                  </a:lnTo>
                  <a:lnTo>
                    <a:pt x="54" y="172"/>
                  </a:lnTo>
                  <a:lnTo>
                    <a:pt x="72" y="178"/>
                  </a:lnTo>
                  <a:lnTo>
                    <a:pt x="90" y="180"/>
                  </a:lnTo>
                  <a:lnTo>
                    <a:pt x="90" y="180"/>
                  </a:lnTo>
                  <a:lnTo>
                    <a:pt x="108" y="178"/>
                  </a:lnTo>
                  <a:lnTo>
                    <a:pt x="124" y="172"/>
                  </a:lnTo>
                  <a:lnTo>
                    <a:pt x="140" y="164"/>
                  </a:lnTo>
                  <a:lnTo>
                    <a:pt x="152" y="154"/>
                  </a:lnTo>
                  <a:lnTo>
                    <a:pt x="164" y="140"/>
                  </a:lnTo>
                  <a:lnTo>
                    <a:pt x="172" y="124"/>
                  </a:lnTo>
                  <a:lnTo>
                    <a:pt x="176" y="108"/>
                  </a:lnTo>
                  <a:lnTo>
                    <a:pt x="178" y="90"/>
                  </a:lnTo>
                  <a:lnTo>
                    <a:pt x="178" y="90"/>
                  </a:lnTo>
                  <a:lnTo>
                    <a:pt x="176" y="72"/>
                  </a:lnTo>
                  <a:lnTo>
                    <a:pt x="172" y="56"/>
                  </a:lnTo>
                  <a:lnTo>
                    <a:pt x="164" y="40"/>
                  </a:lnTo>
                  <a:lnTo>
                    <a:pt x="152" y="26"/>
                  </a:lnTo>
                  <a:lnTo>
                    <a:pt x="140" y="16"/>
                  </a:lnTo>
                  <a:lnTo>
                    <a:pt x="124" y="8"/>
                  </a:lnTo>
                  <a:lnTo>
                    <a:pt x="108" y="2"/>
                  </a:lnTo>
                  <a:lnTo>
                    <a:pt x="90" y="0"/>
                  </a:lnTo>
                  <a:lnTo>
                    <a:pt x="90" y="0"/>
                  </a:ln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8" name="Line 92">
              <a:extLst>
                <a:ext uri="{FF2B5EF4-FFF2-40B4-BE49-F238E27FC236}">
                  <a16:creationId xmlns:a16="http://schemas.microsoft.com/office/drawing/2014/main" id="{3F2C8CED-FCB9-4B16-B3F8-64A9C5945A32}"/>
                </a:ext>
              </a:extLst>
            </p:cNvPr>
            <p:cNvSpPr>
              <a:spLocks noChangeShapeType="1"/>
            </p:cNvSpPr>
            <p:nvPr/>
          </p:nvSpPr>
          <p:spPr bwMode="auto">
            <a:xfrm>
              <a:off x="-1552575" y="273367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 name="Freeform 93">
              <a:extLst>
                <a:ext uri="{FF2B5EF4-FFF2-40B4-BE49-F238E27FC236}">
                  <a16:creationId xmlns:a16="http://schemas.microsoft.com/office/drawing/2014/main" id="{658FB88A-EBDE-4549-858D-07320C888C32}"/>
                </a:ext>
              </a:extLst>
            </p:cNvPr>
            <p:cNvSpPr>
              <a:spLocks noEditPoints="1"/>
            </p:cNvSpPr>
            <p:nvPr/>
          </p:nvSpPr>
          <p:spPr bwMode="auto">
            <a:xfrm>
              <a:off x="-1419225" y="3902075"/>
              <a:ext cx="704850" cy="704850"/>
            </a:xfrm>
            <a:custGeom>
              <a:avLst/>
              <a:gdLst>
                <a:gd name="T0" fmla="*/ 444 w 444"/>
                <a:gd name="T1" fmla="*/ 222 h 444"/>
                <a:gd name="T2" fmla="*/ 438 w 444"/>
                <a:gd name="T3" fmla="*/ 266 h 444"/>
                <a:gd name="T4" fmla="*/ 426 w 444"/>
                <a:gd name="T5" fmla="*/ 308 h 444"/>
                <a:gd name="T6" fmla="*/ 406 w 444"/>
                <a:gd name="T7" fmla="*/ 346 h 444"/>
                <a:gd name="T8" fmla="*/ 378 w 444"/>
                <a:gd name="T9" fmla="*/ 378 h 444"/>
                <a:gd name="T10" fmla="*/ 346 w 444"/>
                <a:gd name="T11" fmla="*/ 406 h 444"/>
                <a:gd name="T12" fmla="*/ 308 w 444"/>
                <a:gd name="T13" fmla="*/ 426 h 444"/>
                <a:gd name="T14" fmla="*/ 266 w 444"/>
                <a:gd name="T15" fmla="*/ 440 h 444"/>
                <a:gd name="T16" fmla="*/ 222 w 444"/>
                <a:gd name="T17" fmla="*/ 444 h 444"/>
                <a:gd name="T18" fmla="*/ 198 w 444"/>
                <a:gd name="T19" fmla="*/ 442 h 444"/>
                <a:gd name="T20" fmla="*/ 156 w 444"/>
                <a:gd name="T21" fmla="*/ 434 h 444"/>
                <a:gd name="T22" fmla="*/ 116 w 444"/>
                <a:gd name="T23" fmla="*/ 418 h 444"/>
                <a:gd name="T24" fmla="*/ 80 w 444"/>
                <a:gd name="T25" fmla="*/ 394 h 444"/>
                <a:gd name="T26" fmla="*/ 50 w 444"/>
                <a:gd name="T27" fmla="*/ 364 h 444"/>
                <a:gd name="T28" fmla="*/ 26 w 444"/>
                <a:gd name="T29" fmla="*/ 328 h 444"/>
                <a:gd name="T30" fmla="*/ 10 w 444"/>
                <a:gd name="T31" fmla="*/ 288 h 444"/>
                <a:gd name="T32" fmla="*/ 0 w 444"/>
                <a:gd name="T33" fmla="*/ 244 h 444"/>
                <a:gd name="T34" fmla="*/ 0 w 444"/>
                <a:gd name="T35" fmla="*/ 222 h 444"/>
                <a:gd name="T36" fmla="*/ 4 w 444"/>
                <a:gd name="T37" fmla="*/ 178 h 444"/>
                <a:gd name="T38" fmla="*/ 18 w 444"/>
                <a:gd name="T39" fmla="*/ 136 h 444"/>
                <a:gd name="T40" fmla="*/ 38 w 444"/>
                <a:gd name="T41" fmla="*/ 98 h 444"/>
                <a:gd name="T42" fmla="*/ 64 w 444"/>
                <a:gd name="T43" fmla="*/ 66 h 444"/>
                <a:gd name="T44" fmla="*/ 98 w 444"/>
                <a:gd name="T45" fmla="*/ 38 h 444"/>
                <a:gd name="T46" fmla="*/ 136 w 444"/>
                <a:gd name="T47" fmla="*/ 18 h 444"/>
                <a:gd name="T48" fmla="*/ 176 w 444"/>
                <a:gd name="T49" fmla="*/ 4 h 444"/>
                <a:gd name="T50" fmla="*/ 222 w 444"/>
                <a:gd name="T51" fmla="*/ 0 h 444"/>
                <a:gd name="T52" fmla="*/ 244 w 444"/>
                <a:gd name="T53" fmla="*/ 2 h 444"/>
                <a:gd name="T54" fmla="*/ 288 w 444"/>
                <a:gd name="T55" fmla="*/ 10 h 444"/>
                <a:gd name="T56" fmla="*/ 328 w 444"/>
                <a:gd name="T57" fmla="*/ 28 h 444"/>
                <a:gd name="T58" fmla="*/ 362 w 444"/>
                <a:gd name="T59" fmla="*/ 50 h 444"/>
                <a:gd name="T60" fmla="*/ 392 w 444"/>
                <a:gd name="T61" fmla="*/ 80 h 444"/>
                <a:gd name="T62" fmla="*/ 416 w 444"/>
                <a:gd name="T63" fmla="*/ 116 h 444"/>
                <a:gd name="T64" fmla="*/ 434 w 444"/>
                <a:gd name="T65" fmla="*/ 156 h 444"/>
                <a:gd name="T66" fmla="*/ 442 w 444"/>
                <a:gd name="T67" fmla="*/ 200 h 444"/>
                <a:gd name="T68" fmla="*/ 444 w 444"/>
                <a:gd name="T69" fmla="*/ 222 h 444"/>
                <a:gd name="T70" fmla="*/ 444 w 444"/>
                <a:gd name="T71" fmla="*/ 22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4" h="444">
                  <a:moveTo>
                    <a:pt x="444" y="222"/>
                  </a:moveTo>
                  <a:lnTo>
                    <a:pt x="444" y="222"/>
                  </a:lnTo>
                  <a:lnTo>
                    <a:pt x="442" y="244"/>
                  </a:lnTo>
                  <a:lnTo>
                    <a:pt x="438" y="266"/>
                  </a:lnTo>
                  <a:lnTo>
                    <a:pt x="434" y="288"/>
                  </a:lnTo>
                  <a:lnTo>
                    <a:pt x="426" y="308"/>
                  </a:lnTo>
                  <a:lnTo>
                    <a:pt x="416" y="328"/>
                  </a:lnTo>
                  <a:lnTo>
                    <a:pt x="406" y="346"/>
                  </a:lnTo>
                  <a:lnTo>
                    <a:pt x="392" y="364"/>
                  </a:lnTo>
                  <a:lnTo>
                    <a:pt x="378" y="378"/>
                  </a:lnTo>
                  <a:lnTo>
                    <a:pt x="362" y="394"/>
                  </a:lnTo>
                  <a:lnTo>
                    <a:pt x="346" y="406"/>
                  </a:lnTo>
                  <a:lnTo>
                    <a:pt x="328" y="418"/>
                  </a:lnTo>
                  <a:lnTo>
                    <a:pt x="308" y="426"/>
                  </a:lnTo>
                  <a:lnTo>
                    <a:pt x="288" y="434"/>
                  </a:lnTo>
                  <a:lnTo>
                    <a:pt x="266" y="440"/>
                  </a:lnTo>
                  <a:lnTo>
                    <a:pt x="244" y="442"/>
                  </a:lnTo>
                  <a:lnTo>
                    <a:pt x="222" y="444"/>
                  </a:lnTo>
                  <a:lnTo>
                    <a:pt x="222" y="444"/>
                  </a:lnTo>
                  <a:lnTo>
                    <a:pt x="198" y="442"/>
                  </a:lnTo>
                  <a:lnTo>
                    <a:pt x="176" y="440"/>
                  </a:lnTo>
                  <a:lnTo>
                    <a:pt x="156" y="434"/>
                  </a:lnTo>
                  <a:lnTo>
                    <a:pt x="136" y="426"/>
                  </a:lnTo>
                  <a:lnTo>
                    <a:pt x="116" y="418"/>
                  </a:lnTo>
                  <a:lnTo>
                    <a:pt x="98" y="406"/>
                  </a:lnTo>
                  <a:lnTo>
                    <a:pt x="80" y="394"/>
                  </a:lnTo>
                  <a:lnTo>
                    <a:pt x="64" y="378"/>
                  </a:lnTo>
                  <a:lnTo>
                    <a:pt x="50" y="364"/>
                  </a:lnTo>
                  <a:lnTo>
                    <a:pt x="38" y="346"/>
                  </a:lnTo>
                  <a:lnTo>
                    <a:pt x="26" y="328"/>
                  </a:lnTo>
                  <a:lnTo>
                    <a:pt x="18" y="308"/>
                  </a:lnTo>
                  <a:lnTo>
                    <a:pt x="10" y="288"/>
                  </a:lnTo>
                  <a:lnTo>
                    <a:pt x="4" y="266"/>
                  </a:lnTo>
                  <a:lnTo>
                    <a:pt x="0" y="244"/>
                  </a:lnTo>
                  <a:lnTo>
                    <a:pt x="0" y="222"/>
                  </a:lnTo>
                  <a:lnTo>
                    <a:pt x="0" y="222"/>
                  </a:lnTo>
                  <a:lnTo>
                    <a:pt x="0" y="200"/>
                  </a:lnTo>
                  <a:lnTo>
                    <a:pt x="4" y="178"/>
                  </a:lnTo>
                  <a:lnTo>
                    <a:pt x="10" y="156"/>
                  </a:lnTo>
                  <a:lnTo>
                    <a:pt x="18" y="136"/>
                  </a:lnTo>
                  <a:lnTo>
                    <a:pt x="26" y="116"/>
                  </a:lnTo>
                  <a:lnTo>
                    <a:pt x="38" y="98"/>
                  </a:lnTo>
                  <a:lnTo>
                    <a:pt x="50" y="80"/>
                  </a:lnTo>
                  <a:lnTo>
                    <a:pt x="64" y="66"/>
                  </a:lnTo>
                  <a:lnTo>
                    <a:pt x="80" y="50"/>
                  </a:lnTo>
                  <a:lnTo>
                    <a:pt x="98" y="38"/>
                  </a:lnTo>
                  <a:lnTo>
                    <a:pt x="116" y="28"/>
                  </a:lnTo>
                  <a:lnTo>
                    <a:pt x="136" y="18"/>
                  </a:lnTo>
                  <a:lnTo>
                    <a:pt x="156" y="10"/>
                  </a:lnTo>
                  <a:lnTo>
                    <a:pt x="176" y="4"/>
                  </a:lnTo>
                  <a:lnTo>
                    <a:pt x="198" y="2"/>
                  </a:lnTo>
                  <a:lnTo>
                    <a:pt x="222" y="0"/>
                  </a:lnTo>
                  <a:lnTo>
                    <a:pt x="222" y="0"/>
                  </a:lnTo>
                  <a:lnTo>
                    <a:pt x="244" y="2"/>
                  </a:lnTo>
                  <a:lnTo>
                    <a:pt x="266" y="4"/>
                  </a:lnTo>
                  <a:lnTo>
                    <a:pt x="288" y="10"/>
                  </a:lnTo>
                  <a:lnTo>
                    <a:pt x="308" y="18"/>
                  </a:lnTo>
                  <a:lnTo>
                    <a:pt x="328" y="28"/>
                  </a:lnTo>
                  <a:lnTo>
                    <a:pt x="346" y="38"/>
                  </a:lnTo>
                  <a:lnTo>
                    <a:pt x="362" y="50"/>
                  </a:lnTo>
                  <a:lnTo>
                    <a:pt x="378" y="66"/>
                  </a:lnTo>
                  <a:lnTo>
                    <a:pt x="392" y="80"/>
                  </a:lnTo>
                  <a:lnTo>
                    <a:pt x="406" y="98"/>
                  </a:lnTo>
                  <a:lnTo>
                    <a:pt x="416" y="116"/>
                  </a:lnTo>
                  <a:lnTo>
                    <a:pt x="426" y="136"/>
                  </a:lnTo>
                  <a:lnTo>
                    <a:pt x="434" y="156"/>
                  </a:lnTo>
                  <a:lnTo>
                    <a:pt x="438" y="178"/>
                  </a:lnTo>
                  <a:lnTo>
                    <a:pt x="442" y="200"/>
                  </a:lnTo>
                  <a:lnTo>
                    <a:pt x="444" y="222"/>
                  </a:lnTo>
                  <a:lnTo>
                    <a:pt x="444" y="222"/>
                  </a:lnTo>
                  <a:close/>
                  <a:moveTo>
                    <a:pt x="444" y="222"/>
                  </a:moveTo>
                  <a:lnTo>
                    <a:pt x="444" y="222"/>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0" name="Line 95">
              <a:extLst>
                <a:ext uri="{FF2B5EF4-FFF2-40B4-BE49-F238E27FC236}">
                  <a16:creationId xmlns:a16="http://schemas.microsoft.com/office/drawing/2014/main" id="{2B91776E-D2C9-42AB-B68C-5FA80843744C}"/>
                </a:ext>
              </a:extLst>
            </p:cNvPr>
            <p:cNvSpPr>
              <a:spLocks noChangeShapeType="1"/>
            </p:cNvSpPr>
            <p:nvPr/>
          </p:nvSpPr>
          <p:spPr bwMode="auto">
            <a:xfrm>
              <a:off x="-466725" y="42545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 name="Freeform 96">
              <a:extLst>
                <a:ext uri="{FF2B5EF4-FFF2-40B4-BE49-F238E27FC236}">
                  <a16:creationId xmlns:a16="http://schemas.microsoft.com/office/drawing/2014/main" id="{A3551BA8-22A2-45A7-AA4B-610CD8AE344E}"/>
                </a:ext>
              </a:extLst>
            </p:cNvPr>
            <p:cNvSpPr>
              <a:spLocks noEditPoints="1"/>
            </p:cNvSpPr>
            <p:nvPr/>
          </p:nvSpPr>
          <p:spPr bwMode="auto">
            <a:xfrm>
              <a:off x="-1581150" y="3759200"/>
              <a:ext cx="987425" cy="990600"/>
            </a:xfrm>
            <a:custGeom>
              <a:avLst/>
              <a:gdLst>
                <a:gd name="T0" fmla="*/ 280 w 622"/>
                <a:gd name="T1" fmla="*/ 622 h 624"/>
                <a:gd name="T2" fmla="*/ 190 w 622"/>
                <a:gd name="T3" fmla="*/ 598 h 624"/>
                <a:gd name="T4" fmla="*/ 114 w 622"/>
                <a:gd name="T5" fmla="*/ 552 h 624"/>
                <a:gd name="T6" fmla="*/ 54 w 622"/>
                <a:gd name="T7" fmla="*/ 486 h 624"/>
                <a:gd name="T8" fmla="*/ 14 w 622"/>
                <a:gd name="T9" fmla="*/ 404 h 624"/>
                <a:gd name="T10" fmla="*/ 0 w 622"/>
                <a:gd name="T11" fmla="*/ 312 h 624"/>
                <a:gd name="T12" fmla="*/ 6 w 622"/>
                <a:gd name="T13" fmla="*/ 250 h 624"/>
                <a:gd name="T14" fmla="*/ 38 w 622"/>
                <a:gd name="T15" fmla="*/ 164 h 624"/>
                <a:gd name="T16" fmla="*/ 92 w 622"/>
                <a:gd name="T17" fmla="*/ 92 h 624"/>
                <a:gd name="T18" fmla="*/ 164 w 622"/>
                <a:gd name="T19" fmla="*/ 38 h 624"/>
                <a:gd name="T20" fmla="*/ 248 w 622"/>
                <a:gd name="T21" fmla="*/ 8 h 624"/>
                <a:gd name="T22" fmla="*/ 312 w 622"/>
                <a:gd name="T23" fmla="*/ 0 h 624"/>
                <a:gd name="T24" fmla="*/ 404 w 622"/>
                <a:gd name="T25" fmla="*/ 14 h 624"/>
                <a:gd name="T26" fmla="*/ 486 w 622"/>
                <a:gd name="T27" fmla="*/ 54 h 624"/>
                <a:gd name="T28" fmla="*/ 552 w 622"/>
                <a:gd name="T29" fmla="*/ 114 h 624"/>
                <a:gd name="T30" fmla="*/ 598 w 622"/>
                <a:gd name="T31" fmla="*/ 190 h 624"/>
                <a:gd name="T32" fmla="*/ 622 w 622"/>
                <a:gd name="T33" fmla="*/ 280 h 624"/>
                <a:gd name="T34" fmla="*/ 622 w 622"/>
                <a:gd name="T35" fmla="*/ 344 h 624"/>
                <a:gd name="T36" fmla="*/ 598 w 622"/>
                <a:gd name="T37" fmla="*/ 434 h 624"/>
                <a:gd name="T38" fmla="*/ 552 w 622"/>
                <a:gd name="T39" fmla="*/ 510 h 624"/>
                <a:gd name="T40" fmla="*/ 486 w 622"/>
                <a:gd name="T41" fmla="*/ 570 h 624"/>
                <a:gd name="T42" fmla="*/ 404 w 622"/>
                <a:gd name="T43" fmla="*/ 610 h 624"/>
                <a:gd name="T44" fmla="*/ 312 w 622"/>
                <a:gd name="T45" fmla="*/ 624 h 624"/>
                <a:gd name="T46" fmla="*/ 312 w 622"/>
                <a:gd name="T47" fmla="*/ 180 h 624"/>
                <a:gd name="T48" fmla="*/ 272 w 622"/>
                <a:gd name="T49" fmla="*/ 186 h 624"/>
                <a:gd name="T50" fmla="*/ 238 w 622"/>
                <a:gd name="T51" fmla="*/ 202 h 624"/>
                <a:gd name="T52" fmla="*/ 210 w 622"/>
                <a:gd name="T53" fmla="*/ 228 h 624"/>
                <a:gd name="T54" fmla="*/ 190 w 622"/>
                <a:gd name="T55" fmla="*/ 260 h 624"/>
                <a:gd name="T56" fmla="*/ 180 w 622"/>
                <a:gd name="T57" fmla="*/ 298 h 624"/>
                <a:gd name="T58" fmla="*/ 180 w 622"/>
                <a:gd name="T59" fmla="*/ 326 h 624"/>
                <a:gd name="T60" fmla="*/ 190 w 622"/>
                <a:gd name="T61" fmla="*/ 364 h 624"/>
                <a:gd name="T62" fmla="*/ 210 w 622"/>
                <a:gd name="T63" fmla="*/ 396 h 624"/>
                <a:gd name="T64" fmla="*/ 238 w 622"/>
                <a:gd name="T65" fmla="*/ 422 h 624"/>
                <a:gd name="T66" fmla="*/ 272 w 622"/>
                <a:gd name="T67" fmla="*/ 438 h 624"/>
                <a:gd name="T68" fmla="*/ 312 w 622"/>
                <a:gd name="T69" fmla="*/ 444 h 624"/>
                <a:gd name="T70" fmla="*/ 338 w 622"/>
                <a:gd name="T71" fmla="*/ 442 h 624"/>
                <a:gd name="T72" fmla="*/ 374 w 622"/>
                <a:gd name="T73" fmla="*/ 428 h 624"/>
                <a:gd name="T74" fmla="*/ 404 w 622"/>
                <a:gd name="T75" fmla="*/ 406 h 624"/>
                <a:gd name="T76" fmla="*/ 428 w 622"/>
                <a:gd name="T77" fmla="*/ 376 h 624"/>
                <a:gd name="T78" fmla="*/ 440 w 622"/>
                <a:gd name="T79" fmla="*/ 338 h 624"/>
                <a:gd name="T80" fmla="*/ 444 w 622"/>
                <a:gd name="T81" fmla="*/ 312 h 624"/>
                <a:gd name="T82" fmla="*/ 438 w 622"/>
                <a:gd name="T83" fmla="*/ 272 h 624"/>
                <a:gd name="T84" fmla="*/ 422 w 622"/>
                <a:gd name="T85" fmla="*/ 238 h 624"/>
                <a:gd name="T86" fmla="*/ 396 w 622"/>
                <a:gd name="T87" fmla="*/ 210 h 624"/>
                <a:gd name="T88" fmla="*/ 362 w 622"/>
                <a:gd name="T89" fmla="*/ 190 h 624"/>
                <a:gd name="T90" fmla="*/ 324 w 622"/>
                <a:gd name="T91" fmla="*/ 180 h 624"/>
                <a:gd name="T92" fmla="*/ 312 w 622"/>
                <a:gd name="T93" fmla="*/ 18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2" h="624">
                  <a:moveTo>
                    <a:pt x="312" y="624"/>
                  </a:moveTo>
                  <a:lnTo>
                    <a:pt x="312" y="624"/>
                  </a:lnTo>
                  <a:lnTo>
                    <a:pt x="280" y="622"/>
                  </a:lnTo>
                  <a:lnTo>
                    <a:pt x="248" y="618"/>
                  </a:lnTo>
                  <a:lnTo>
                    <a:pt x="220" y="610"/>
                  </a:lnTo>
                  <a:lnTo>
                    <a:pt x="190" y="598"/>
                  </a:lnTo>
                  <a:lnTo>
                    <a:pt x="164" y="586"/>
                  </a:lnTo>
                  <a:lnTo>
                    <a:pt x="138" y="570"/>
                  </a:lnTo>
                  <a:lnTo>
                    <a:pt x="114" y="552"/>
                  </a:lnTo>
                  <a:lnTo>
                    <a:pt x="92" y="532"/>
                  </a:lnTo>
                  <a:lnTo>
                    <a:pt x="72" y="510"/>
                  </a:lnTo>
                  <a:lnTo>
                    <a:pt x="54" y="486"/>
                  </a:lnTo>
                  <a:lnTo>
                    <a:pt x="38" y="460"/>
                  </a:lnTo>
                  <a:lnTo>
                    <a:pt x="24" y="434"/>
                  </a:lnTo>
                  <a:lnTo>
                    <a:pt x="14" y="404"/>
                  </a:lnTo>
                  <a:lnTo>
                    <a:pt x="6" y="374"/>
                  </a:lnTo>
                  <a:lnTo>
                    <a:pt x="2" y="344"/>
                  </a:lnTo>
                  <a:lnTo>
                    <a:pt x="0" y="312"/>
                  </a:lnTo>
                  <a:lnTo>
                    <a:pt x="0" y="312"/>
                  </a:lnTo>
                  <a:lnTo>
                    <a:pt x="2" y="280"/>
                  </a:lnTo>
                  <a:lnTo>
                    <a:pt x="6" y="250"/>
                  </a:lnTo>
                  <a:lnTo>
                    <a:pt x="14" y="220"/>
                  </a:lnTo>
                  <a:lnTo>
                    <a:pt x="24" y="190"/>
                  </a:lnTo>
                  <a:lnTo>
                    <a:pt x="38" y="164"/>
                  </a:lnTo>
                  <a:lnTo>
                    <a:pt x="54" y="138"/>
                  </a:lnTo>
                  <a:lnTo>
                    <a:pt x="72" y="114"/>
                  </a:lnTo>
                  <a:lnTo>
                    <a:pt x="92" y="92"/>
                  </a:lnTo>
                  <a:lnTo>
                    <a:pt x="114" y="72"/>
                  </a:lnTo>
                  <a:lnTo>
                    <a:pt x="138" y="54"/>
                  </a:lnTo>
                  <a:lnTo>
                    <a:pt x="164" y="38"/>
                  </a:lnTo>
                  <a:lnTo>
                    <a:pt x="190" y="26"/>
                  </a:lnTo>
                  <a:lnTo>
                    <a:pt x="220" y="14"/>
                  </a:lnTo>
                  <a:lnTo>
                    <a:pt x="248" y="8"/>
                  </a:lnTo>
                  <a:lnTo>
                    <a:pt x="280" y="2"/>
                  </a:lnTo>
                  <a:lnTo>
                    <a:pt x="312" y="0"/>
                  </a:lnTo>
                  <a:lnTo>
                    <a:pt x="312" y="0"/>
                  </a:lnTo>
                  <a:lnTo>
                    <a:pt x="344" y="2"/>
                  </a:lnTo>
                  <a:lnTo>
                    <a:pt x="374" y="8"/>
                  </a:lnTo>
                  <a:lnTo>
                    <a:pt x="404" y="14"/>
                  </a:lnTo>
                  <a:lnTo>
                    <a:pt x="432" y="26"/>
                  </a:lnTo>
                  <a:lnTo>
                    <a:pt x="460" y="38"/>
                  </a:lnTo>
                  <a:lnTo>
                    <a:pt x="486" y="54"/>
                  </a:lnTo>
                  <a:lnTo>
                    <a:pt x="510" y="72"/>
                  </a:lnTo>
                  <a:lnTo>
                    <a:pt x="532" y="92"/>
                  </a:lnTo>
                  <a:lnTo>
                    <a:pt x="552" y="114"/>
                  </a:lnTo>
                  <a:lnTo>
                    <a:pt x="570" y="138"/>
                  </a:lnTo>
                  <a:lnTo>
                    <a:pt x="586" y="164"/>
                  </a:lnTo>
                  <a:lnTo>
                    <a:pt x="598" y="190"/>
                  </a:lnTo>
                  <a:lnTo>
                    <a:pt x="608" y="220"/>
                  </a:lnTo>
                  <a:lnTo>
                    <a:pt x="616" y="250"/>
                  </a:lnTo>
                  <a:lnTo>
                    <a:pt x="622" y="280"/>
                  </a:lnTo>
                  <a:lnTo>
                    <a:pt x="622" y="312"/>
                  </a:lnTo>
                  <a:lnTo>
                    <a:pt x="622" y="312"/>
                  </a:lnTo>
                  <a:lnTo>
                    <a:pt x="622" y="344"/>
                  </a:lnTo>
                  <a:lnTo>
                    <a:pt x="616" y="374"/>
                  </a:lnTo>
                  <a:lnTo>
                    <a:pt x="608" y="404"/>
                  </a:lnTo>
                  <a:lnTo>
                    <a:pt x="598" y="434"/>
                  </a:lnTo>
                  <a:lnTo>
                    <a:pt x="586" y="460"/>
                  </a:lnTo>
                  <a:lnTo>
                    <a:pt x="570" y="486"/>
                  </a:lnTo>
                  <a:lnTo>
                    <a:pt x="552" y="510"/>
                  </a:lnTo>
                  <a:lnTo>
                    <a:pt x="532" y="532"/>
                  </a:lnTo>
                  <a:lnTo>
                    <a:pt x="510" y="552"/>
                  </a:lnTo>
                  <a:lnTo>
                    <a:pt x="486" y="570"/>
                  </a:lnTo>
                  <a:lnTo>
                    <a:pt x="460" y="586"/>
                  </a:lnTo>
                  <a:lnTo>
                    <a:pt x="432" y="598"/>
                  </a:lnTo>
                  <a:lnTo>
                    <a:pt x="404" y="610"/>
                  </a:lnTo>
                  <a:lnTo>
                    <a:pt x="374" y="618"/>
                  </a:lnTo>
                  <a:lnTo>
                    <a:pt x="344" y="622"/>
                  </a:lnTo>
                  <a:lnTo>
                    <a:pt x="312" y="624"/>
                  </a:lnTo>
                  <a:lnTo>
                    <a:pt x="312" y="624"/>
                  </a:lnTo>
                  <a:close/>
                  <a:moveTo>
                    <a:pt x="312" y="180"/>
                  </a:moveTo>
                  <a:lnTo>
                    <a:pt x="312" y="180"/>
                  </a:lnTo>
                  <a:lnTo>
                    <a:pt x="298" y="180"/>
                  </a:lnTo>
                  <a:lnTo>
                    <a:pt x="284" y="182"/>
                  </a:lnTo>
                  <a:lnTo>
                    <a:pt x="272" y="186"/>
                  </a:lnTo>
                  <a:lnTo>
                    <a:pt x="260" y="190"/>
                  </a:lnTo>
                  <a:lnTo>
                    <a:pt x="248" y="196"/>
                  </a:lnTo>
                  <a:lnTo>
                    <a:pt x="238" y="202"/>
                  </a:lnTo>
                  <a:lnTo>
                    <a:pt x="228" y="210"/>
                  </a:lnTo>
                  <a:lnTo>
                    <a:pt x="218" y="218"/>
                  </a:lnTo>
                  <a:lnTo>
                    <a:pt x="210" y="228"/>
                  </a:lnTo>
                  <a:lnTo>
                    <a:pt x="202" y="238"/>
                  </a:lnTo>
                  <a:lnTo>
                    <a:pt x="196" y="250"/>
                  </a:lnTo>
                  <a:lnTo>
                    <a:pt x="190" y="260"/>
                  </a:lnTo>
                  <a:lnTo>
                    <a:pt x="186" y="272"/>
                  </a:lnTo>
                  <a:lnTo>
                    <a:pt x="182" y="286"/>
                  </a:lnTo>
                  <a:lnTo>
                    <a:pt x="180" y="298"/>
                  </a:lnTo>
                  <a:lnTo>
                    <a:pt x="180" y="312"/>
                  </a:lnTo>
                  <a:lnTo>
                    <a:pt x="180" y="312"/>
                  </a:lnTo>
                  <a:lnTo>
                    <a:pt x="180" y="326"/>
                  </a:lnTo>
                  <a:lnTo>
                    <a:pt x="182" y="338"/>
                  </a:lnTo>
                  <a:lnTo>
                    <a:pt x="186" y="352"/>
                  </a:lnTo>
                  <a:lnTo>
                    <a:pt x="190" y="364"/>
                  </a:lnTo>
                  <a:lnTo>
                    <a:pt x="196" y="376"/>
                  </a:lnTo>
                  <a:lnTo>
                    <a:pt x="202" y="386"/>
                  </a:lnTo>
                  <a:lnTo>
                    <a:pt x="210" y="396"/>
                  </a:lnTo>
                  <a:lnTo>
                    <a:pt x="218" y="406"/>
                  </a:lnTo>
                  <a:lnTo>
                    <a:pt x="228" y="414"/>
                  </a:lnTo>
                  <a:lnTo>
                    <a:pt x="238" y="422"/>
                  </a:lnTo>
                  <a:lnTo>
                    <a:pt x="248" y="428"/>
                  </a:lnTo>
                  <a:lnTo>
                    <a:pt x="260" y="434"/>
                  </a:lnTo>
                  <a:lnTo>
                    <a:pt x="272" y="438"/>
                  </a:lnTo>
                  <a:lnTo>
                    <a:pt x="284" y="442"/>
                  </a:lnTo>
                  <a:lnTo>
                    <a:pt x="298" y="444"/>
                  </a:lnTo>
                  <a:lnTo>
                    <a:pt x="312" y="444"/>
                  </a:lnTo>
                  <a:lnTo>
                    <a:pt x="312" y="444"/>
                  </a:lnTo>
                  <a:lnTo>
                    <a:pt x="324" y="444"/>
                  </a:lnTo>
                  <a:lnTo>
                    <a:pt x="338" y="442"/>
                  </a:lnTo>
                  <a:lnTo>
                    <a:pt x="350" y="438"/>
                  </a:lnTo>
                  <a:lnTo>
                    <a:pt x="362" y="434"/>
                  </a:lnTo>
                  <a:lnTo>
                    <a:pt x="374" y="428"/>
                  </a:lnTo>
                  <a:lnTo>
                    <a:pt x="386" y="422"/>
                  </a:lnTo>
                  <a:lnTo>
                    <a:pt x="396" y="414"/>
                  </a:lnTo>
                  <a:lnTo>
                    <a:pt x="404" y="406"/>
                  </a:lnTo>
                  <a:lnTo>
                    <a:pt x="414" y="396"/>
                  </a:lnTo>
                  <a:lnTo>
                    <a:pt x="422" y="386"/>
                  </a:lnTo>
                  <a:lnTo>
                    <a:pt x="428" y="376"/>
                  </a:lnTo>
                  <a:lnTo>
                    <a:pt x="434" y="364"/>
                  </a:lnTo>
                  <a:lnTo>
                    <a:pt x="438" y="352"/>
                  </a:lnTo>
                  <a:lnTo>
                    <a:pt x="440" y="338"/>
                  </a:lnTo>
                  <a:lnTo>
                    <a:pt x="442" y="326"/>
                  </a:lnTo>
                  <a:lnTo>
                    <a:pt x="444" y="312"/>
                  </a:lnTo>
                  <a:lnTo>
                    <a:pt x="444" y="312"/>
                  </a:lnTo>
                  <a:lnTo>
                    <a:pt x="442" y="298"/>
                  </a:lnTo>
                  <a:lnTo>
                    <a:pt x="440" y="286"/>
                  </a:lnTo>
                  <a:lnTo>
                    <a:pt x="438" y="272"/>
                  </a:lnTo>
                  <a:lnTo>
                    <a:pt x="434" y="260"/>
                  </a:lnTo>
                  <a:lnTo>
                    <a:pt x="428" y="250"/>
                  </a:lnTo>
                  <a:lnTo>
                    <a:pt x="422" y="238"/>
                  </a:lnTo>
                  <a:lnTo>
                    <a:pt x="414" y="228"/>
                  </a:lnTo>
                  <a:lnTo>
                    <a:pt x="404" y="218"/>
                  </a:lnTo>
                  <a:lnTo>
                    <a:pt x="396" y="210"/>
                  </a:lnTo>
                  <a:lnTo>
                    <a:pt x="386" y="202"/>
                  </a:lnTo>
                  <a:lnTo>
                    <a:pt x="374" y="196"/>
                  </a:lnTo>
                  <a:lnTo>
                    <a:pt x="362" y="190"/>
                  </a:lnTo>
                  <a:lnTo>
                    <a:pt x="350" y="186"/>
                  </a:lnTo>
                  <a:lnTo>
                    <a:pt x="338" y="182"/>
                  </a:lnTo>
                  <a:lnTo>
                    <a:pt x="324" y="180"/>
                  </a:lnTo>
                  <a:lnTo>
                    <a:pt x="312" y="180"/>
                  </a:lnTo>
                  <a:lnTo>
                    <a:pt x="312" y="180"/>
                  </a:lnTo>
                  <a:close/>
                  <a:moveTo>
                    <a:pt x="312" y="180"/>
                  </a:moveTo>
                  <a:lnTo>
                    <a:pt x="312" y="18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2" name="Freeform 97">
              <a:extLst>
                <a:ext uri="{FF2B5EF4-FFF2-40B4-BE49-F238E27FC236}">
                  <a16:creationId xmlns:a16="http://schemas.microsoft.com/office/drawing/2014/main" id="{382C7722-8195-4B0B-A975-E5AE6D553C55}"/>
                </a:ext>
              </a:extLst>
            </p:cNvPr>
            <p:cNvSpPr>
              <a:spLocks/>
            </p:cNvSpPr>
            <p:nvPr/>
          </p:nvSpPr>
          <p:spPr bwMode="auto">
            <a:xfrm>
              <a:off x="-1314450" y="3759200"/>
              <a:ext cx="987425" cy="990600"/>
            </a:xfrm>
            <a:custGeom>
              <a:avLst/>
              <a:gdLst>
                <a:gd name="T0" fmla="*/ 312 w 622"/>
                <a:gd name="T1" fmla="*/ 624 h 624"/>
                <a:gd name="T2" fmla="*/ 248 w 622"/>
                <a:gd name="T3" fmla="*/ 618 h 624"/>
                <a:gd name="T4" fmla="*/ 190 w 622"/>
                <a:gd name="T5" fmla="*/ 598 h 624"/>
                <a:gd name="T6" fmla="*/ 138 w 622"/>
                <a:gd name="T7" fmla="*/ 570 h 624"/>
                <a:gd name="T8" fmla="*/ 92 w 622"/>
                <a:gd name="T9" fmla="*/ 532 h 624"/>
                <a:gd name="T10" fmla="*/ 54 w 622"/>
                <a:gd name="T11" fmla="*/ 486 h 624"/>
                <a:gd name="T12" fmla="*/ 24 w 622"/>
                <a:gd name="T13" fmla="*/ 434 h 624"/>
                <a:gd name="T14" fmla="*/ 6 w 622"/>
                <a:gd name="T15" fmla="*/ 374 h 624"/>
                <a:gd name="T16" fmla="*/ 0 w 622"/>
                <a:gd name="T17" fmla="*/ 312 h 624"/>
                <a:gd name="T18" fmla="*/ 2 w 622"/>
                <a:gd name="T19" fmla="*/ 280 h 624"/>
                <a:gd name="T20" fmla="*/ 14 w 622"/>
                <a:gd name="T21" fmla="*/ 220 h 624"/>
                <a:gd name="T22" fmla="*/ 38 w 622"/>
                <a:gd name="T23" fmla="*/ 164 h 624"/>
                <a:gd name="T24" fmla="*/ 72 w 622"/>
                <a:gd name="T25" fmla="*/ 114 h 624"/>
                <a:gd name="T26" fmla="*/ 114 w 622"/>
                <a:gd name="T27" fmla="*/ 72 h 624"/>
                <a:gd name="T28" fmla="*/ 164 w 622"/>
                <a:gd name="T29" fmla="*/ 38 h 624"/>
                <a:gd name="T30" fmla="*/ 220 w 622"/>
                <a:gd name="T31" fmla="*/ 14 h 624"/>
                <a:gd name="T32" fmla="*/ 280 w 622"/>
                <a:gd name="T33" fmla="*/ 2 h 624"/>
                <a:gd name="T34" fmla="*/ 312 w 622"/>
                <a:gd name="T35" fmla="*/ 0 h 624"/>
                <a:gd name="T36" fmla="*/ 374 w 622"/>
                <a:gd name="T37" fmla="*/ 8 h 624"/>
                <a:gd name="T38" fmla="*/ 432 w 622"/>
                <a:gd name="T39" fmla="*/ 26 h 624"/>
                <a:gd name="T40" fmla="*/ 486 w 622"/>
                <a:gd name="T41" fmla="*/ 54 h 624"/>
                <a:gd name="T42" fmla="*/ 532 w 622"/>
                <a:gd name="T43" fmla="*/ 92 h 624"/>
                <a:gd name="T44" fmla="*/ 570 w 622"/>
                <a:gd name="T45" fmla="*/ 138 h 624"/>
                <a:gd name="T46" fmla="*/ 598 w 622"/>
                <a:gd name="T47" fmla="*/ 190 h 624"/>
                <a:gd name="T48" fmla="*/ 616 w 622"/>
                <a:gd name="T49" fmla="*/ 250 h 624"/>
                <a:gd name="T50" fmla="*/ 622 w 622"/>
                <a:gd name="T51" fmla="*/ 312 h 624"/>
                <a:gd name="T52" fmla="*/ 622 w 622"/>
                <a:gd name="T53" fmla="*/ 344 h 624"/>
                <a:gd name="T54" fmla="*/ 608 w 622"/>
                <a:gd name="T55" fmla="*/ 404 h 624"/>
                <a:gd name="T56" fmla="*/ 586 w 622"/>
                <a:gd name="T57" fmla="*/ 460 h 624"/>
                <a:gd name="T58" fmla="*/ 552 w 622"/>
                <a:gd name="T59" fmla="*/ 510 h 624"/>
                <a:gd name="T60" fmla="*/ 510 w 622"/>
                <a:gd name="T61" fmla="*/ 552 h 624"/>
                <a:gd name="T62" fmla="*/ 460 w 622"/>
                <a:gd name="T63" fmla="*/ 586 h 624"/>
                <a:gd name="T64" fmla="*/ 404 w 622"/>
                <a:gd name="T65" fmla="*/ 610 h 624"/>
                <a:gd name="T66" fmla="*/ 344 w 622"/>
                <a:gd name="T67" fmla="*/ 622 h 624"/>
                <a:gd name="T68" fmla="*/ 312 w 622"/>
                <a:gd name="T69" fmla="*/ 624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22" h="624">
                  <a:moveTo>
                    <a:pt x="312" y="624"/>
                  </a:moveTo>
                  <a:lnTo>
                    <a:pt x="312" y="624"/>
                  </a:lnTo>
                  <a:lnTo>
                    <a:pt x="280" y="622"/>
                  </a:lnTo>
                  <a:lnTo>
                    <a:pt x="248" y="618"/>
                  </a:lnTo>
                  <a:lnTo>
                    <a:pt x="220" y="610"/>
                  </a:lnTo>
                  <a:lnTo>
                    <a:pt x="190" y="598"/>
                  </a:lnTo>
                  <a:lnTo>
                    <a:pt x="164" y="586"/>
                  </a:lnTo>
                  <a:lnTo>
                    <a:pt x="138" y="570"/>
                  </a:lnTo>
                  <a:lnTo>
                    <a:pt x="114" y="552"/>
                  </a:lnTo>
                  <a:lnTo>
                    <a:pt x="92" y="532"/>
                  </a:lnTo>
                  <a:lnTo>
                    <a:pt x="72" y="510"/>
                  </a:lnTo>
                  <a:lnTo>
                    <a:pt x="54" y="486"/>
                  </a:lnTo>
                  <a:lnTo>
                    <a:pt x="38" y="460"/>
                  </a:lnTo>
                  <a:lnTo>
                    <a:pt x="24" y="434"/>
                  </a:lnTo>
                  <a:lnTo>
                    <a:pt x="14" y="404"/>
                  </a:lnTo>
                  <a:lnTo>
                    <a:pt x="6" y="374"/>
                  </a:lnTo>
                  <a:lnTo>
                    <a:pt x="2" y="344"/>
                  </a:lnTo>
                  <a:lnTo>
                    <a:pt x="0" y="312"/>
                  </a:lnTo>
                  <a:lnTo>
                    <a:pt x="0" y="312"/>
                  </a:lnTo>
                  <a:lnTo>
                    <a:pt x="2" y="280"/>
                  </a:lnTo>
                  <a:lnTo>
                    <a:pt x="6" y="250"/>
                  </a:lnTo>
                  <a:lnTo>
                    <a:pt x="14" y="220"/>
                  </a:lnTo>
                  <a:lnTo>
                    <a:pt x="24" y="190"/>
                  </a:lnTo>
                  <a:lnTo>
                    <a:pt x="38" y="164"/>
                  </a:lnTo>
                  <a:lnTo>
                    <a:pt x="54" y="138"/>
                  </a:lnTo>
                  <a:lnTo>
                    <a:pt x="72" y="114"/>
                  </a:lnTo>
                  <a:lnTo>
                    <a:pt x="92" y="92"/>
                  </a:lnTo>
                  <a:lnTo>
                    <a:pt x="114" y="72"/>
                  </a:lnTo>
                  <a:lnTo>
                    <a:pt x="138" y="54"/>
                  </a:lnTo>
                  <a:lnTo>
                    <a:pt x="164" y="38"/>
                  </a:lnTo>
                  <a:lnTo>
                    <a:pt x="190" y="26"/>
                  </a:lnTo>
                  <a:lnTo>
                    <a:pt x="220" y="14"/>
                  </a:lnTo>
                  <a:lnTo>
                    <a:pt x="248" y="8"/>
                  </a:lnTo>
                  <a:lnTo>
                    <a:pt x="280" y="2"/>
                  </a:lnTo>
                  <a:lnTo>
                    <a:pt x="312" y="0"/>
                  </a:lnTo>
                  <a:lnTo>
                    <a:pt x="312" y="0"/>
                  </a:lnTo>
                  <a:lnTo>
                    <a:pt x="344" y="2"/>
                  </a:lnTo>
                  <a:lnTo>
                    <a:pt x="374" y="8"/>
                  </a:lnTo>
                  <a:lnTo>
                    <a:pt x="404" y="14"/>
                  </a:lnTo>
                  <a:lnTo>
                    <a:pt x="432" y="26"/>
                  </a:lnTo>
                  <a:lnTo>
                    <a:pt x="460" y="38"/>
                  </a:lnTo>
                  <a:lnTo>
                    <a:pt x="486" y="54"/>
                  </a:lnTo>
                  <a:lnTo>
                    <a:pt x="510" y="72"/>
                  </a:lnTo>
                  <a:lnTo>
                    <a:pt x="532" y="92"/>
                  </a:lnTo>
                  <a:lnTo>
                    <a:pt x="552" y="114"/>
                  </a:lnTo>
                  <a:lnTo>
                    <a:pt x="570" y="138"/>
                  </a:lnTo>
                  <a:lnTo>
                    <a:pt x="586" y="164"/>
                  </a:lnTo>
                  <a:lnTo>
                    <a:pt x="598" y="190"/>
                  </a:lnTo>
                  <a:lnTo>
                    <a:pt x="608" y="220"/>
                  </a:lnTo>
                  <a:lnTo>
                    <a:pt x="616" y="250"/>
                  </a:lnTo>
                  <a:lnTo>
                    <a:pt x="622" y="280"/>
                  </a:lnTo>
                  <a:lnTo>
                    <a:pt x="622" y="312"/>
                  </a:lnTo>
                  <a:lnTo>
                    <a:pt x="622" y="312"/>
                  </a:lnTo>
                  <a:lnTo>
                    <a:pt x="622" y="344"/>
                  </a:lnTo>
                  <a:lnTo>
                    <a:pt x="616" y="374"/>
                  </a:lnTo>
                  <a:lnTo>
                    <a:pt x="608" y="404"/>
                  </a:lnTo>
                  <a:lnTo>
                    <a:pt x="598" y="434"/>
                  </a:lnTo>
                  <a:lnTo>
                    <a:pt x="586" y="460"/>
                  </a:lnTo>
                  <a:lnTo>
                    <a:pt x="570" y="486"/>
                  </a:lnTo>
                  <a:lnTo>
                    <a:pt x="552" y="510"/>
                  </a:lnTo>
                  <a:lnTo>
                    <a:pt x="532" y="532"/>
                  </a:lnTo>
                  <a:lnTo>
                    <a:pt x="510" y="552"/>
                  </a:lnTo>
                  <a:lnTo>
                    <a:pt x="486" y="570"/>
                  </a:lnTo>
                  <a:lnTo>
                    <a:pt x="460" y="586"/>
                  </a:lnTo>
                  <a:lnTo>
                    <a:pt x="432" y="598"/>
                  </a:lnTo>
                  <a:lnTo>
                    <a:pt x="404" y="610"/>
                  </a:lnTo>
                  <a:lnTo>
                    <a:pt x="374" y="618"/>
                  </a:lnTo>
                  <a:lnTo>
                    <a:pt x="344" y="622"/>
                  </a:lnTo>
                  <a:lnTo>
                    <a:pt x="312" y="624"/>
                  </a:lnTo>
                  <a:lnTo>
                    <a:pt x="312" y="6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98">
              <a:extLst>
                <a:ext uri="{FF2B5EF4-FFF2-40B4-BE49-F238E27FC236}">
                  <a16:creationId xmlns:a16="http://schemas.microsoft.com/office/drawing/2014/main" id="{77ED0654-899B-4478-895A-407DB903387D}"/>
                </a:ext>
              </a:extLst>
            </p:cNvPr>
            <p:cNvSpPr>
              <a:spLocks/>
            </p:cNvSpPr>
            <p:nvPr/>
          </p:nvSpPr>
          <p:spPr bwMode="auto">
            <a:xfrm>
              <a:off x="-1028700" y="4044950"/>
              <a:ext cx="419100" cy="419100"/>
            </a:xfrm>
            <a:custGeom>
              <a:avLst/>
              <a:gdLst>
                <a:gd name="T0" fmla="*/ 132 w 264"/>
                <a:gd name="T1" fmla="*/ 0 h 264"/>
                <a:gd name="T2" fmla="*/ 104 w 264"/>
                <a:gd name="T3" fmla="*/ 2 h 264"/>
                <a:gd name="T4" fmla="*/ 80 w 264"/>
                <a:gd name="T5" fmla="*/ 10 h 264"/>
                <a:gd name="T6" fmla="*/ 58 w 264"/>
                <a:gd name="T7" fmla="*/ 22 h 264"/>
                <a:gd name="T8" fmla="*/ 38 w 264"/>
                <a:gd name="T9" fmla="*/ 38 h 264"/>
                <a:gd name="T10" fmla="*/ 22 w 264"/>
                <a:gd name="T11" fmla="*/ 58 h 264"/>
                <a:gd name="T12" fmla="*/ 10 w 264"/>
                <a:gd name="T13" fmla="*/ 80 h 264"/>
                <a:gd name="T14" fmla="*/ 2 w 264"/>
                <a:gd name="T15" fmla="*/ 106 h 264"/>
                <a:gd name="T16" fmla="*/ 0 w 264"/>
                <a:gd name="T17" fmla="*/ 132 h 264"/>
                <a:gd name="T18" fmla="*/ 0 w 264"/>
                <a:gd name="T19" fmla="*/ 146 h 264"/>
                <a:gd name="T20" fmla="*/ 6 w 264"/>
                <a:gd name="T21" fmla="*/ 172 h 264"/>
                <a:gd name="T22" fmla="*/ 16 w 264"/>
                <a:gd name="T23" fmla="*/ 196 h 264"/>
                <a:gd name="T24" fmla="*/ 30 w 264"/>
                <a:gd name="T25" fmla="*/ 216 h 264"/>
                <a:gd name="T26" fmla="*/ 48 w 264"/>
                <a:gd name="T27" fmla="*/ 234 h 264"/>
                <a:gd name="T28" fmla="*/ 68 w 264"/>
                <a:gd name="T29" fmla="*/ 248 h 264"/>
                <a:gd name="T30" fmla="*/ 92 w 264"/>
                <a:gd name="T31" fmla="*/ 258 h 264"/>
                <a:gd name="T32" fmla="*/ 118 w 264"/>
                <a:gd name="T33" fmla="*/ 264 h 264"/>
                <a:gd name="T34" fmla="*/ 132 w 264"/>
                <a:gd name="T35" fmla="*/ 264 h 264"/>
                <a:gd name="T36" fmla="*/ 158 w 264"/>
                <a:gd name="T37" fmla="*/ 262 h 264"/>
                <a:gd name="T38" fmla="*/ 182 w 264"/>
                <a:gd name="T39" fmla="*/ 254 h 264"/>
                <a:gd name="T40" fmla="*/ 206 w 264"/>
                <a:gd name="T41" fmla="*/ 242 h 264"/>
                <a:gd name="T42" fmla="*/ 224 w 264"/>
                <a:gd name="T43" fmla="*/ 226 h 264"/>
                <a:gd name="T44" fmla="*/ 242 w 264"/>
                <a:gd name="T45" fmla="*/ 206 h 264"/>
                <a:gd name="T46" fmla="*/ 254 w 264"/>
                <a:gd name="T47" fmla="*/ 184 h 264"/>
                <a:gd name="T48" fmla="*/ 260 w 264"/>
                <a:gd name="T49" fmla="*/ 158 h 264"/>
                <a:gd name="T50" fmla="*/ 264 w 264"/>
                <a:gd name="T51" fmla="*/ 132 h 264"/>
                <a:gd name="T52" fmla="*/ 262 w 264"/>
                <a:gd name="T53" fmla="*/ 118 h 264"/>
                <a:gd name="T54" fmla="*/ 258 w 264"/>
                <a:gd name="T55" fmla="*/ 92 h 264"/>
                <a:gd name="T56" fmla="*/ 248 w 264"/>
                <a:gd name="T57" fmla="*/ 70 h 264"/>
                <a:gd name="T58" fmla="*/ 234 w 264"/>
                <a:gd name="T59" fmla="*/ 48 h 264"/>
                <a:gd name="T60" fmla="*/ 216 w 264"/>
                <a:gd name="T61" fmla="*/ 30 h 264"/>
                <a:gd name="T62" fmla="*/ 194 w 264"/>
                <a:gd name="T63" fmla="*/ 16 h 264"/>
                <a:gd name="T64" fmla="*/ 170 w 264"/>
                <a:gd name="T65" fmla="*/ 6 h 264"/>
                <a:gd name="T66" fmla="*/ 144 w 264"/>
                <a:gd name="T67" fmla="*/ 0 h 264"/>
                <a:gd name="T68" fmla="*/ 132 w 264"/>
                <a:gd name="T69"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4" h="264">
                  <a:moveTo>
                    <a:pt x="132" y="0"/>
                  </a:moveTo>
                  <a:lnTo>
                    <a:pt x="132" y="0"/>
                  </a:lnTo>
                  <a:lnTo>
                    <a:pt x="118" y="0"/>
                  </a:lnTo>
                  <a:lnTo>
                    <a:pt x="104" y="2"/>
                  </a:lnTo>
                  <a:lnTo>
                    <a:pt x="92" y="6"/>
                  </a:lnTo>
                  <a:lnTo>
                    <a:pt x="80" y="10"/>
                  </a:lnTo>
                  <a:lnTo>
                    <a:pt x="68" y="16"/>
                  </a:lnTo>
                  <a:lnTo>
                    <a:pt x="58" y="22"/>
                  </a:lnTo>
                  <a:lnTo>
                    <a:pt x="48" y="30"/>
                  </a:lnTo>
                  <a:lnTo>
                    <a:pt x="38" y="38"/>
                  </a:lnTo>
                  <a:lnTo>
                    <a:pt x="30" y="48"/>
                  </a:lnTo>
                  <a:lnTo>
                    <a:pt x="22" y="58"/>
                  </a:lnTo>
                  <a:lnTo>
                    <a:pt x="16" y="70"/>
                  </a:lnTo>
                  <a:lnTo>
                    <a:pt x="10" y="80"/>
                  </a:lnTo>
                  <a:lnTo>
                    <a:pt x="6" y="92"/>
                  </a:lnTo>
                  <a:lnTo>
                    <a:pt x="2" y="106"/>
                  </a:lnTo>
                  <a:lnTo>
                    <a:pt x="0" y="118"/>
                  </a:lnTo>
                  <a:lnTo>
                    <a:pt x="0" y="132"/>
                  </a:lnTo>
                  <a:lnTo>
                    <a:pt x="0" y="132"/>
                  </a:lnTo>
                  <a:lnTo>
                    <a:pt x="0" y="146"/>
                  </a:lnTo>
                  <a:lnTo>
                    <a:pt x="2" y="158"/>
                  </a:lnTo>
                  <a:lnTo>
                    <a:pt x="6" y="172"/>
                  </a:lnTo>
                  <a:lnTo>
                    <a:pt x="10" y="184"/>
                  </a:lnTo>
                  <a:lnTo>
                    <a:pt x="16" y="196"/>
                  </a:lnTo>
                  <a:lnTo>
                    <a:pt x="22" y="206"/>
                  </a:lnTo>
                  <a:lnTo>
                    <a:pt x="30" y="216"/>
                  </a:lnTo>
                  <a:lnTo>
                    <a:pt x="38" y="226"/>
                  </a:lnTo>
                  <a:lnTo>
                    <a:pt x="48" y="234"/>
                  </a:lnTo>
                  <a:lnTo>
                    <a:pt x="58" y="242"/>
                  </a:lnTo>
                  <a:lnTo>
                    <a:pt x="68" y="248"/>
                  </a:lnTo>
                  <a:lnTo>
                    <a:pt x="80" y="254"/>
                  </a:lnTo>
                  <a:lnTo>
                    <a:pt x="92" y="258"/>
                  </a:lnTo>
                  <a:lnTo>
                    <a:pt x="104" y="262"/>
                  </a:lnTo>
                  <a:lnTo>
                    <a:pt x="118" y="264"/>
                  </a:lnTo>
                  <a:lnTo>
                    <a:pt x="132" y="264"/>
                  </a:lnTo>
                  <a:lnTo>
                    <a:pt x="132" y="264"/>
                  </a:lnTo>
                  <a:lnTo>
                    <a:pt x="144" y="264"/>
                  </a:lnTo>
                  <a:lnTo>
                    <a:pt x="158" y="262"/>
                  </a:lnTo>
                  <a:lnTo>
                    <a:pt x="170" y="258"/>
                  </a:lnTo>
                  <a:lnTo>
                    <a:pt x="182" y="254"/>
                  </a:lnTo>
                  <a:lnTo>
                    <a:pt x="194" y="248"/>
                  </a:lnTo>
                  <a:lnTo>
                    <a:pt x="206" y="242"/>
                  </a:lnTo>
                  <a:lnTo>
                    <a:pt x="216" y="234"/>
                  </a:lnTo>
                  <a:lnTo>
                    <a:pt x="224" y="226"/>
                  </a:lnTo>
                  <a:lnTo>
                    <a:pt x="234" y="216"/>
                  </a:lnTo>
                  <a:lnTo>
                    <a:pt x="242" y="206"/>
                  </a:lnTo>
                  <a:lnTo>
                    <a:pt x="248" y="196"/>
                  </a:lnTo>
                  <a:lnTo>
                    <a:pt x="254" y="184"/>
                  </a:lnTo>
                  <a:lnTo>
                    <a:pt x="258" y="172"/>
                  </a:lnTo>
                  <a:lnTo>
                    <a:pt x="260" y="158"/>
                  </a:lnTo>
                  <a:lnTo>
                    <a:pt x="262" y="146"/>
                  </a:lnTo>
                  <a:lnTo>
                    <a:pt x="264" y="132"/>
                  </a:lnTo>
                  <a:lnTo>
                    <a:pt x="264" y="132"/>
                  </a:lnTo>
                  <a:lnTo>
                    <a:pt x="262" y="118"/>
                  </a:lnTo>
                  <a:lnTo>
                    <a:pt x="260" y="106"/>
                  </a:lnTo>
                  <a:lnTo>
                    <a:pt x="258" y="92"/>
                  </a:lnTo>
                  <a:lnTo>
                    <a:pt x="254" y="80"/>
                  </a:lnTo>
                  <a:lnTo>
                    <a:pt x="248" y="70"/>
                  </a:lnTo>
                  <a:lnTo>
                    <a:pt x="242" y="58"/>
                  </a:lnTo>
                  <a:lnTo>
                    <a:pt x="234" y="48"/>
                  </a:lnTo>
                  <a:lnTo>
                    <a:pt x="224" y="38"/>
                  </a:lnTo>
                  <a:lnTo>
                    <a:pt x="216" y="30"/>
                  </a:lnTo>
                  <a:lnTo>
                    <a:pt x="206" y="22"/>
                  </a:lnTo>
                  <a:lnTo>
                    <a:pt x="194" y="16"/>
                  </a:lnTo>
                  <a:lnTo>
                    <a:pt x="182" y="10"/>
                  </a:lnTo>
                  <a:lnTo>
                    <a:pt x="170" y="6"/>
                  </a:lnTo>
                  <a:lnTo>
                    <a:pt x="158" y="2"/>
                  </a:lnTo>
                  <a:lnTo>
                    <a:pt x="144" y="0"/>
                  </a:lnTo>
                  <a:lnTo>
                    <a:pt x="132" y="0"/>
                  </a:lnTo>
                  <a:lnTo>
                    <a:pt x="1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 name="Line 99">
              <a:extLst>
                <a:ext uri="{FF2B5EF4-FFF2-40B4-BE49-F238E27FC236}">
                  <a16:creationId xmlns:a16="http://schemas.microsoft.com/office/drawing/2014/main" id="{AF4FEB82-6CCF-47EF-95A1-81FA5A7177A5}"/>
                </a:ext>
              </a:extLst>
            </p:cNvPr>
            <p:cNvSpPr>
              <a:spLocks noChangeShapeType="1"/>
            </p:cNvSpPr>
            <p:nvPr/>
          </p:nvSpPr>
          <p:spPr bwMode="auto">
            <a:xfrm>
              <a:off x="-819150" y="40449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 name="Freeform 100">
              <a:extLst>
                <a:ext uri="{FF2B5EF4-FFF2-40B4-BE49-F238E27FC236}">
                  <a16:creationId xmlns:a16="http://schemas.microsoft.com/office/drawing/2014/main" id="{C9F09C64-3AAC-4E1F-9492-B297D35AC49B}"/>
                </a:ext>
              </a:extLst>
            </p:cNvPr>
            <p:cNvSpPr>
              <a:spLocks noEditPoints="1"/>
            </p:cNvSpPr>
            <p:nvPr/>
          </p:nvSpPr>
          <p:spPr bwMode="auto">
            <a:xfrm>
              <a:off x="-4908550" y="5038725"/>
              <a:ext cx="771525" cy="774700"/>
            </a:xfrm>
            <a:custGeom>
              <a:avLst/>
              <a:gdLst>
                <a:gd name="T0" fmla="*/ 486 w 486"/>
                <a:gd name="T1" fmla="*/ 244 h 488"/>
                <a:gd name="T2" fmla="*/ 482 w 486"/>
                <a:gd name="T3" fmla="*/ 294 h 488"/>
                <a:gd name="T4" fmla="*/ 468 w 486"/>
                <a:gd name="T5" fmla="*/ 338 h 488"/>
                <a:gd name="T6" fmla="*/ 444 w 486"/>
                <a:gd name="T7" fmla="*/ 380 h 488"/>
                <a:gd name="T8" fmla="*/ 416 w 486"/>
                <a:gd name="T9" fmla="*/ 416 h 488"/>
                <a:gd name="T10" fmla="*/ 380 w 486"/>
                <a:gd name="T11" fmla="*/ 446 h 488"/>
                <a:gd name="T12" fmla="*/ 338 w 486"/>
                <a:gd name="T13" fmla="*/ 468 h 488"/>
                <a:gd name="T14" fmla="*/ 292 w 486"/>
                <a:gd name="T15" fmla="*/ 482 h 488"/>
                <a:gd name="T16" fmla="*/ 244 w 486"/>
                <a:gd name="T17" fmla="*/ 488 h 488"/>
                <a:gd name="T18" fmla="*/ 218 w 486"/>
                <a:gd name="T19" fmla="*/ 486 h 488"/>
                <a:gd name="T20" fmla="*/ 170 w 486"/>
                <a:gd name="T21" fmla="*/ 476 h 488"/>
                <a:gd name="T22" fmla="*/ 126 w 486"/>
                <a:gd name="T23" fmla="*/ 458 h 488"/>
                <a:gd name="T24" fmla="*/ 88 w 486"/>
                <a:gd name="T25" fmla="*/ 432 h 488"/>
                <a:gd name="T26" fmla="*/ 56 w 486"/>
                <a:gd name="T27" fmla="*/ 398 h 488"/>
                <a:gd name="T28" fmla="*/ 28 w 486"/>
                <a:gd name="T29" fmla="*/ 360 h 488"/>
                <a:gd name="T30" fmla="*/ 10 w 486"/>
                <a:gd name="T31" fmla="*/ 316 h 488"/>
                <a:gd name="T32" fmla="*/ 0 w 486"/>
                <a:gd name="T33" fmla="*/ 268 h 488"/>
                <a:gd name="T34" fmla="*/ 0 w 486"/>
                <a:gd name="T35" fmla="*/ 244 h 488"/>
                <a:gd name="T36" fmla="*/ 4 w 486"/>
                <a:gd name="T37" fmla="*/ 194 h 488"/>
                <a:gd name="T38" fmla="*/ 18 w 486"/>
                <a:gd name="T39" fmla="*/ 150 h 488"/>
                <a:gd name="T40" fmla="*/ 42 w 486"/>
                <a:gd name="T41" fmla="*/ 108 h 488"/>
                <a:gd name="T42" fmla="*/ 70 w 486"/>
                <a:gd name="T43" fmla="*/ 72 h 488"/>
                <a:gd name="T44" fmla="*/ 106 w 486"/>
                <a:gd name="T45" fmla="*/ 42 h 488"/>
                <a:gd name="T46" fmla="*/ 148 w 486"/>
                <a:gd name="T47" fmla="*/ 20 h 488"/>
                <a:gd name="T48" fmla="*/ 194 w 486"/>
                <a:gd name="T49" fmla="*/ 6 h 488"/>
                <a:gd name="T50" fmla="*/ 244 w 486"/>
                <a:gd name="T51" fmla="*/ 0 h 488"/>
                <a:gd name="T52" fmla="*/ 268 w 486"/>
                <a:gd name="T53" fmla="*/ 2 h 488"/>
                <a:gd name="T54" fmla="*/ 316 w 486"/>
                <a:gd name="T55" fmla="*/ 12 h 488"/>
                <a:gd name="T56" fmla="*/ 360 w 486"/>
                <a:gd name="T57" fmla="*/ 30 h 488"/>
                <a:gd name="T58" fmla="*/ 398 w 486"/>
                <a:gd name="T59" fmla="*/ 56 h 488"/>
                <a:gd name="T60" fmla="*/ 430 w 486"/>
                <a:gd name="T61" fmla="*/ 90 h 488"/>
                <a:gd name="T62" fmla="*/ 458 w 486"/>
                <a:gd name="T63" fmla="*/ 128 h 488"/>
                <a:gd name="T64" fmla="*/ 476 w 486"/>
                <a:gd name="T65" fmla="*/ 172 h 488"/>
                <a:gd name="T66" fmla="*/ 486 w 486"/>
                <a:gd name="T67" fmla="*/ 220 h 488"/>
                <a:gd name="T68" fmla="*/ 486 w 486"/>
                <a:gd name="T69" fmla="*/ 244 h 488"/>
                <a:gd name="T70" fmla="*/ 486 w 486"/>
                <a:gd name="T71" fmla="*/ 244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6" h="488">
                  <a:moveTo>
                    <a:pt x="486" y="244"/>
                  </a:moveTo>
                  <a:lnTo>
                    <a:pt x="486" y="244"/>
                  </a:lnTo>
                  <a:lnTo>
                    <a:pt x="486" y="268"/>
                  </a:lnTo>
                  <a:lnTo>
                    <a:pt x="482" y="294"/>
                  </a:lnTo>
                  <a:lnTo>
                    <a:pt x="476" y="316"/>
                  </a:lnTo>
                  <a:lnTo>
                    <a:pt x="468" y="338"/>
                  </a:lnTo>
                  <a:lnTo>
                    <a:pt x="458" y="360"/>
                  </a:lnTo>
                  <a:lnTo>
                    <a:pt x="444" y="380"/>
                  </a:lnTo>
                  <a:lnTo>
                    <a:pt x="430" y="398"/>
                  </a:lnTo>
                  <a:lnTo>
                    <a:pt x="416" y="416"/>
                  </a:lnTo>
                  <a:lnTo>
                    <a:pt x="398" y="432"/>
                  </a:lnTo>
                  <a:lnTo>
                    <a:pt x="380" y="446"/>
                  </a:lnTo>
                  <a:lnTo>
                    <a:pt x="360" y="458"/>
                  </a:lnTo>
                  <a:lnTo>
                    <a:pt x="338" y="468"/>
                  </a:lnTo>
                  <a:lnTo>
                    <a:pt x="316" y="476"/>
                  </a:lnTo>
                  <a:lnTo>
                    <a:pt x="292" y="482"/>
                  </a:lnTo>
                  <a:lnTo>
                    <a:pt x="268" y="486"/>
                  </a:lnTo>
                  <a:lnTo>
                    <a:pt x="244" y="488"/>
                  </a:lnTo>
                  <a:lnTo>
                    <a:pt x="244" y="488"/>
                  </a:lnTo>
                  <a:lnTo>
                    <a:pt x="218" y="486"/>
                  </a:lnTo>
                  <a:lnTo>
                    <a:pt x="194" y="482"/>
                  </a:lnTo>
                  <a:lnTo>
                    <a:pt x="170" y="476"/>
                  </a:lnTo>
                  <a:lnTo>
                    <a:pt x="148" y="468"/>
                  </a:lnTo>
                  <a:lnTo>
                    <a:pt x="126" y="458"/>
                  </a:lnTo>
                  <a:lnTo>
                    <a:pt x="106" y="446"/>
                  </a:lnTo>
                  <a:lnTo>
                    <a:pt x="88" y="432"/>
                  </a:lnTo>
                  <a:lnTo>
                    <a:pt x="70" y="416"/>
                  </a:lnTo>
                  <a:lnTo>
                    <a:pt x="56" y="398"/>
                  </a:lnTo>
                  <a:lnTo>
                    <a:pt x="42" y="380"/>
                  </a:lnTo>
                  <a:lnTo>
                    <a:pt x="28" y="360"/>
                  </a:lnTo>
                  <a:lnTo>
                    <a:pt x="18" y="338"/>
                  </a:lnTo>
                  <a:lnTo>
                    <a:pt x="10" y="316"/>
                  </a:lnTo>
                  <a:lnTo>
                    <a:pt x="4" y="294"/>
                  </a:lnTo>
                  <a:lnTo>
                    <a:pt x="0" y="268"/>
                  </a:lnTo>
                  <a:lnTo>
                    <a:pt x="0" y="244"/>
                  </a:lnTo>
                  <a:lnTo>
                    <a:pt x="0" y="244"/>
                  </a:lnTo>
                  <a:lnTo>
                    <a:pt x="0" y="220"/>
                  </a:lnTo>
                  <a:lnTo>
                    <a:pt x="4" y="194"/>
                  </a:lnTo>
                  <a:lnTo>
                    <a:pt x="10" y="172"/>
                  </a:lnTo>
                  <a:lnTo>
                    <a:pt x="18" y="150"/>
                  </a:lnTo>
                  <a:lnTo>
                    <a:pt x="28" y="128"/>
                  </a:lnTo>
                  <a:lnTo>
                    <a:pt x="42" y="108"/>
                  </a:lnTo>
                  <a:lnTo>
                    <a:pt x="56" y="90"/>
                  </a:lnTo>
                  <a:lnTo>
                    <a:pt x="70" y="72"/>
                  </a:lnTo>
                  <a:lnTo>
                    <a:pt x="88" y="56"/>
                  </a:lnTo>
                  <a:lnTo>
                    <a:pt x="106" y="42"/>
                  </a:lnTo>
                  <a:lnTo>
                    <a:pt x="126" y="30"/>
                  </a:lnTo>
                  <a:lnTo>
                    <a:pt x="148" y="20"/>
                  </a:lnTo>
                  <a:lnTo>
                    <a:pt x="170" y="12"/>
                  </a:lnTo>
                  <a:lnTo>
                    <a:pt x="194" y="6"/>
                  </a:lnTo>
                  <a:lnTo>
                    <a:pt x="218" y="2"/>
                  </a:lnTo>
                  <a:lnTo>
                    <a:pt x="244" y="0"/>
                  </a:lnTo>
                  <a:lnTo>
                    <a:pt x="244" y="0"/>
                  </a:lnTo>
                  <a:lnTo>
                    <a:pt x="268" y="2"/>
                  </a:lnTo>
                  <a:lnTo>
                    <a:pt x="292" y="6"/>
                  </a:lnTo>
                  <a:lnTo>
                    <a:pt x="316" y="12"/>
                  </a:lnTo>
                  <a:lnTo>
                    <a:pt x="338" y="20"/>
                  </a:lnTo>
                  <a:lnTo>
                    <a:pt x="360" y="30"/>
                  </a:lnTo>
                  <a:lnTo>
                    <a:pt x="380" y="42"/>
                  </a:lnTo>
                  <a:lnTo>
                    <a:pt x="398" y="56"/>
                  </a:lnTo>
                  <a:lnTo>
                    <a:pt x="416" y="72"/>
                  </a:lnTo>
                  <a:lnTo>
                    <a:pt x="430" y="90"/>
                  </a:lnTo>
                  <a:lnTo>
                    <a:pt x="444" y="108"/>
                  </a:lnTo>
                  <a:lnTo>
                    <a:pt x="458" y="128"/>
                  </a:lnTo>
                  <a:lnTo>
                    <a:pt x="468" y="150"/>
                  </a:lnTo>
                  <a:lnTo>
                    <a:pt x="476" y="172"/>
                  </a:lnTo>
                  <a:lnTo>
                    <a:pt x="482" y="194"/>
                  </a:lnTo>
                  <a:lnTo>
                    <a:pt x="486" y="220"/>
                  </a:lnTo>
                  <a:lnTo>
                    <a:pt x="486" y="244"/>
                  </a:lnTo>
                  <a:lnTo>
                    <a:pt x="486" y="244"/>
                  </a:lnTo>
                  <a:close/>
                  <a:moveTo>
                    <a:pt x="486" y="244"/>
                  </a:moveTo>
                  <a:lnTo>
                    <a:pt x="486" y="244"/>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6" name="Freeform 101">
              <a:extLst>
                <a:ext uri="{FF2B5EF4-FFF2-40B4-BE49-F238E27FC236}">
                  <a16:creationId xmlns:a16="http://schemas.microsoft.com/office/drawing/2014/main" id="{63D9C0B8-B579-4A22-8707-395C297F68F7}"/>
                </a:ext>
              </a:extLst>
            </p:cNvPr>
            <p:cNvSpPr>
              <a:spLocks/>
            </p:cNvSpPr>
            <p:nvPr/>
          </p:nvSpPr>
          <p:spPr bwMode="auto">
            <a:xfrm>
              <a:off x="-4908550" y="5038725"/>
              <a:ext cx="771525" cy="774700"/>
            </a:xfrm>
            <a:custGeom>
              <a:avLst/>
              <a:gdLst>
                <a:gd name="T0" fmla="*/ 486 w 486"/>
                <a:gd name="T1" fmla="*/ 244 h 488"/>
                <a:gd name="T2" fmla="*/ 482 w 486"/>
                <a:gd name="T3" fmla="*/ 294 h 488"/>
                <a:gd name="T4" fmla="*/ 468 w 486"/>
                <a:gd name="T5" fmla="*/ 338 h 488"/>
                <a:gd name="T6" fmla="*/ 444 w 486"/>
                <a:gd name="T7" fmla="*/ 380 h 488"/>
                <a:gd name="T8" fmla="*/ 416 w 486"/>
                <a:gd name="T9" fmla="*/ 416 h 488"/>
                <a:gd name="T10" fmla="*/ 380 w 486"/>
                <a:gd name="T11" fmla="*/ 446 h 488"/>
                <a:gd name="T12" fmla="*/ 338 w 486"/>
                <a:gd name="T13" fmla="*/ 468 h 488"/>
                <a:gd name="T14" fmla="*/ 292 w 486"/>
                <a:gd name="T15" fmla="*/ 482 h 488"/>
                <a:gd name="T16" fmla="*/ 244 w 486"/>
                <a:gd name="T17" fmla="*/ 488 h 488"/>
                <a:gd name="T18" fmla="*/ 218 w 486"/>
                <a:gd name="T19" fmla="*/ 486 h 488"/>
                <a:gd name="T20" fmla="*/ 170 w 486"/>
                <a:gd name="T21" fmla="*/ 476 h 488"/>
                <a:gd name="T22" fmla="*/ 126 w 486"/>
                <a:gd name="T23" fmla="*/ 458 h 488"/>
                <a:gd name="T24" fmla="*/ 88 w 486"/>
                <a:gd name="T25" fmla="*/ 432 h 488"/>
                <a:gd name="T26" fmla="*/ 56 w 486"/>
                <a:gd name="T27" fmla="*/ 398 h 488"/>
                <a:gd name="T28" fmla="*/ 28 w 486"/>
                <a:gd name="T29" fmla="*/ 360 h 488"/>
                <a:gd name="T30" fmla="*/ 10 w 486"/>
                <a:gd name="T31" fmla="*/ 316 h 488"/>
                <a:gd name="T32" fmla="*/ 0 w 486"/>
                <a:gd name="T33" fmla="*/ 268 h 488"/>
                <a:gd name="T34" fmla="*/ 0 w 486"/>
                <a:gd name="T35" fmla="*/ 244 h 488"/>
                <a:gd name="T36" fmla="*/ 4 w 486"/>
                <a:gd name="T37" fmla="*/ 194 h 488"/>
                <a:gd name="T38" fmla="*/ 18 w 486"/>
                <a:gd name="T39" fmla="*/ 150 h 488"/>
                <a:gd name="T40" fmla="*/ 42 w 486"/>
                <a:gd name="T41" fmla="*/ 108 h 488"/>
                <a:gd name="T42" fmla="*/ 70 w 486"/>
                <a:gd name="T43" fmla="*/ 72 h 488"/>
                <a:gd name="T44" fmla="*/ 106 w 486"/>
                <a:gd name="T45" fmla="*/ 42 h 488"/>
                <a:gd name="T46" fmla="*/ 148 w 486"/>
                <a:gd name="T47" fmla="*/ 20 h 488"/>
                <a:gd name="T48" fmla="*/ 194 w 486"/>
                <a:gd name="T49" fmla="*/ 6 h 488"/>
                <a:gd name="T50" fmla="*/ 244 w 486"/>
                <a:gd name="T51" fmla="*/ 0 h 488"/>
                <a:gd name="T52" fmla="*/ 268 w 486"/>
                <a:gd name="T53" fmla="*/ 2 h 488"/>
                <a:gd name="T54" fmla="*/ 316 w 486"/>
                <a:gd name="T55" fmla="*/ 12 h 488"/>
                <a:gd name="T56" fmla="*/ 360 w 486"/>
                <a:gd name="T57" fmla="*/ 30 h 488"/>
                <a:gd name="T58" fmla="*/ 398 w 486"/>
                <a:gd name="T59" fmla="*/ 56 h 488"/>
                <a:gd name="T60" fmla="*/ 430 w 486"/>
                <a:gd name="T61" fmla="*/ 90 h 488"/>
                <a:gd name="T62" fmla="*/ 458 w 486"/>
                <a:gd name="T63" fmla="*/ 128 h 488"/>
                <a:gd name="T64" fmla="*/ 476 w 486"/>
                <a:gd name="T65" fmla="*/ 172 h 488"/>
                <a:gd name="T66" fmla="*/ 486 w 486"/>
                <a:gd name="T67" fmla="*/ 220 h 488"/>
                <a:gd name="T68" fmla="*/ 486 w 486"/>
                <a:gd name="T69" fmla="*/ 244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6" h="488">
                  <a:moveTo>
                    <a:pt x="486" y="244"/>
                  </a:moveTo>
                  <a:lnTo>
                    <a:pt x="486" y="244"/>
                  </a:lnTo>
                  <a:lnTo>
                    <a:pt x="486" y="268"/>
                  </a:lnTo>
                  <a:lnTo>
                    <a:pt x="482" y="294"/>
                  </a:lnTo>
                  <a:lnTo>
                    <a:pt x="476" y="316"/>
                  </a:lnTo>
                  <a:lnTo>
                    <a:pt x="468" y="338"/>
                  </a:lnTo>
                  <a:lnTo>
                    <a:pt x="458" y="360"/>
                  </a:lnTo>
                  <a:lnTo>
                    <a:pt x="444" y="380"/>
                  </a:lnTo>
                  <a:lnTo>
                    <a:pt x="430" y="398"/>
                  </a:lnTo>
                  <a:lnTo>
                    <a:pt x="416" y="416"/>
                  </a:lnTo>
                  <a:lnTo>
                    <a:pt x="398" y="432"/>
                  </a:lnTo>
                  <a:lnTo>
                    <a:pt x="380" y="446"/>
                  </a:lnTo>
                  <a:lnTo>
                    <a:pt x="360" y="458"/>
                  </a:lnTo>
                  <a:lnTo>
                    <a:pt x="338" y="468"/>
                  </a:lnTo>
                  <a:lnTo>
                    <a:pt x="316" y="476"/>
                  </a:lnTo>
                  <a:lnTo>
                    <a:pt x="292" y="482"/>
                  </a:lnTo>
                  <a:lnTo>
                    <a:pt x="268" y="486"/>
                  </a:lnTo>
                  <a:lnTo>
                    <a:pt x="244" y="488"/>
                  </a:lnTo>
                  <a:lnTo>
                    <a:pt x="244" y="488"/>
                  </a:lnTo>
                  <a:lnTo>
                    <a:pt x="218" y="486"/>
                  </a:lnTo>
                  <a:lnTo>
                    <a:pt x="194" y="482"/>
                  </a:lnTo>
                  <a:lnTo>
                    <a:pt x="170" y="476"/>
                  </a:lnTo>
                  <a:lnTo>
                    <a:pt x="148" y="468"/>
                  </a:lnTo>
                  <a:lnTo>
                    <a:pt x="126" y="458"/>
                  </a:lnTo>
                  <a:lnTo>
                    <a:pt x="106" y="446"/>
                  </a:lnTo>
                  <a:lnTo>
                    <a:pt x="88" y="432"/>
                  </a:lnTo>
                  <a:lnTo>
                    <a:pt x="70" y="416"/>
                  </a:lnTo>
                  <a:lnTo>
                    <a:pt x="56" y="398"/>
                  </a:lnTo>
                  <a:lnTo>
                    <a:pt x="42" y="380"/>
                  </a:lnTo>
                  <a:lnTo>
                    <a:pt x="28" y="360"/>
                  </a:lnTo>
                  <a:lnTo>
                    <a:pt x="18" y="338"/>
                  </a:lnTo>
                  <a:lnTo>
                    <a:pt x="10" y="316"/>
                  </a:lnTo>
                  <a:lnTo>
                    <a:pt x="4" y="294"/>
                  </a:lnTo>
                  <a:lnTo>
                    <a:pt x="0" y="268"/>
                  </a:lnTo>
                  <a:lnTo>
                    <a:pt x="0" y="244"/>
                  </a:lnTo>
                  <a:lnTo>
                    <a:pt x="0" y="244"/>
                  </a:lnTo>
                  <a:lnTo>
                    <a:pt x="0" y="220"/>
                  </a:lnTo>
                  <a:lnTo>
                    <a:pt x="4" y="194"/>
                  </a:lnTo>
                  <a:lnTo>
                    <a:pt x="10" y="172"/>
                  </a:lnTo>
                  <a:lnTo>
                    <a:pt x="18" y="150"/>
                  </a:lnTo>
                  <a:lnTo>
                    <a:pt x="28" y="128"/>
                  </a:lnTo>
                  <a:lnTo>
                    <a:pt x="42" y="108"/>
                  </a:lnTo>
                  <a:lnTo>
                    <a:pt x="56" y="90"/>
                  </a:lnTo>
                  <a:lnTo>
                    <a:pt x="70" y="72"/>
                  </a:lnTo>
                  <a:lnTo>
                    <a:pt x="88" y="56"/>
                  </a:lnTo>
                  <a:lnTo>
                    <a:pt x="106" y="42"/>
                  </a:lnTo>
                  <a:lnTo>
                    <a:pt x="126" y="30"/>
                  </a:lnTo>
                  <a:lnTo>
                    <a:pt x="148" y="20"/>
                  </a:lnTo>
                  <a:lnTo>
                    <a:pt x="170" y="12"/>
                  </a:lnTo>
                  <a:lnTo>
                    <a:pt x="194" y="6"/>
                  </a:lnTo>
                  <a:lnTo>
                    <a:pt x="218" y="2"/>
                  </a:lnTo>
                  <a:lnTo>
                    <a:pt x="244" y="0"/>
                  </a:lnTo>
                  <a:lnTo>
                    <a:pt x="244" y="0"/>
                  </a:lnTo>
                  <a:lnTo>
                    <a:pt x="268" y="2"/>
                  </a:lnTo>
                  <a:lnTo>
                    <a:pt x="292" y="6"/>
                  </a:lnTo>
                  <a:lnTo>
                    <a:pt x="316" y="12"/>
                  </a:lnTo>
                  <a:lnTo>
                    <a:pt x="338" y="20"/>
                  </a:lnTo>
                  <a:lnTo>
                    <a:pt x="360" y="30"/>
                  </a:lnTo>
                  <a:lnTo>
                    <a:pt x="380" y="42"/>
                  </a:lnTo>
                  <a:lnTo>
                    <a:pt x="398" y="56"/>
                  </a:lnTo>
                  <a:lnTo>
                    <a:pt x="416" y="72"/>
                  </a:lnTo>
                  <a:lnTo>
                    <a:pt x="430" y="90"/>
                  </a:lnTo>
                  <a:lnTo>
                    <a:pt x="444" y="108"/>
                  </a:lnTo>
                  <a:lnTo>
                    <a:pt x="458" y="128"/>
                  </a:lnTo>
                  <a:lnTo>
                    <a:pt x="468" y="150"/>
                  </a:lnTo>
                  <a:lnTo>
                    <a:pt x="476" y="172"/>
                  </a:lnTo>
                  <a:lnTo>
                    <a:pt x="482" y="194"/>
                  </a:lnTo>
                  <a:lnTo>
                    <a:pt x="486" y="220"/>
                  </a:lnTo>
                  <a:lnTo>
                    <a:pt x="486" y="244"/>
                  </a:lnTo>
                  <a:lnTo>
                    <a:pt x="486" y="2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 name="Line 102">
              <a:extLst>
                <a:ext uri="{FF2B5EF4-FFF2-40B4-BE49-F238E27FC236}">
                  <a16:creationId xmlns:a16="http://schemas.microsoft.com/office/drawing/2014/main" id="{F738C778-7BC6-4AC6-A42D-7DB53CBF4867}"/>
                </a:ext>
              </a:extLst>
            </p:cNvPr>
            <p:cNvSpPr>
              <a:spLocks noChangeShapeType="1"/>
            </p:cNvSpPr>
            <p:nvPr/>
          </p:nvSpPr>
          <p:spPr bwMode="auto">
            <a:xfrm>
              <a:off x="-4137025" y="542607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 name="Freeform 103">
              <a:extLst>
                <a:ext uri="{FF2B5EF4-FFF2-40B4-BE49-F238E27FC236}">
                  <a16:creationId xmlns:a16="http://schemas.microsoft.com/office/drawing/2014/main" id="{B6DAE68C-6522-4564-9894-7B5A0C0E1AC9}"/>
                </a:ext>
              </a:extLst>
            </p:cNvPr>
            <p:cNvSpPr>
              <a:spLocks noEditPoints="1"/>
            </p:cNvSpPr>
            <p:nvPr/>
          </p:nvSpPr>
          <p:spPr bwMode="auto">
            <a:xfrm>
              <a:off x="-5051425" y="4895850"/>
              <a:ext cx="1057275" cy="1060450"/>
            </a:xfrm>
            <a:custGeom>
              <a:avLst/>
              <a:gdLst>
                <a:gd name="T0" fmla="*/ 300 w 666"/>
                <a:gd name="T1" fmla="*/ 666 h 668"/>
                <a:gd name="T2" fmla="*/ 204 w 666"/>
                <a:gd name="T3" fmla="*/ 640 h 668"/>
                <a:gd name="T4" fmla="*/ 122 w 666"/>
                <a:gd name="T5" fmla="*/ 590 h 668"/>
                <a:gd name="T6" fmla="*/ 56 w 666"/>
                <a:gd name="T7" fmla="*/ 520 h 668"/>
                <a:gd name="T8" fmla="*/ 14 w 666"/>
                <a:gd name="T9" fmla="*/ 432 h 668"/>
                <a:gd name="T10" fmla="*/ 0 w 666"/>
                <a:gd name="T11" fmla="*/ 334 h 668"/>
                <a:gd name="T12" fmla="*/ 6 w 666"/>
                <a:gd name="T13" fmla="*/ 268 h 668"/>
                <a:gd name="T14" fmla="*/ 40 w 666"/>
                <a:gd name="T15" fmla="*/ 176 h 668"/>
                <a:gd name="T16" fmla="*/ 98 w 666"/>
                <a:gd name="T17" fmla="*/ 98 h 668"/>
                <a:gd name="T18" fmla="*/ 174 w 666"/>
                <a:gd name="T19" fmla="*/ 42 h 668"/>
                <a:gd name="T20" fmla="*/ 266 w 666"/>
                <a:gd name="T21" fmla="*/ 8 h 668"/>
                <a:gd name="T22" fmla="*/ 334 w 666"/>
                <a:gd name="T23" fmla="*/ 0 h 668"/>
                <a:gd name="T24" fmla="*/ 432 w 666"/>
                <a:gd name="T25" fmla="*/ 16 h 668"/>
                <a:gd name="T26" fmla="*/ 520 w 666"/>
                <a:gd name="T27" fmla="*/ 58 h 668"/>
                <a:gd name="T28" fmla="*/ 590 w 666"/>
                <a:gd name="T29" fmla="*/ 122 h 668"/>
                <a:gd name="T30" fmla="*/ 640 w 666"/>
                <a:gd name="T31" fmla="*/ 204 h 668"/>
                <a:gd name="T32" fmla="*/ 664 w 666"/>
                <a:gd name="T33" fmla="*/ 300 h 668"/>
                <a:gd name="T34" fmla="*/ 664 w 666"/>
                <a:gd name="T35" fmla="*/ 368 h 668"/>
                <a:gd name="T36" fmla="*/ 640 w 666"/>
                <a:gd name="T37" fmla="*/ 464 h 668"/>
                <a:gd name="T38" fmla="*/ 590 w 666"/>
                <a:gd name="T39" fmla="*/ 546 h 668"/>
                <a:gd name="T40" fmla="*/ 520 w 666"/>
                <a:gd name="T41" fmla="*/ 610 h 668"/>
                <a:gd name="T42" fmla="*/ 432 w 666"/>
                <a:gd name="T43" fmla="*/ 652 h 668"/>
                <a:gd name="T44" fmla="*/ 334 w 666"/>
                <a:gd name="T45" fmla="*/ 668 h 668"/>
                <a:gd name="T46" fmla="*/ 334 w 666"/>
                <a:gd name="T47" fmla="*/ 180 h 668"/>
                <a:gd name="T48" fmla="*/ 288 w 666"/>
                <a:gd name="T49" fmla="*/ 188 h 668"/>
                <a:gd name="T50" fmla="*/ 248 w 666"/>
                <a:gd name="T51" fmla="*/ 206 h 668"/>
                <a:gd name="T52" fmla="*/ 214 w 666"/>
                <a:gd name="T53" fmla="*/ 236 h 668"/>
                <a:gd name="T54" fmla="*/ 192 w 666"/>
                <a:gd name="T55" fmla="*/ 274 h 668"/>
                <a:gd name="T56" fmla="*/ 180 w 666"/>
                <a:gd name="T57" fmla="*/ 318 h 668"/>
                <a:gd name="T58" fmla="*/ 180 w 666"/>
                <a:gd name="T59" fmla="*/ 350 h 668"/>
                <a:gd name="T60" fmla="*/ 192 w 666"/>
                <a:gd name="T61" fmla="*/ 394 h 668"/>
                <a:gd name="T62" fmla="*/ 214 w 666"/>
                <a:gd name="T63" fmla="*/ 432 h 668"/>
                <a:gd name="T64" fmla="*/ 248 w 666"/>
                <a:gd name="T65" fmla="*/ 462 h 668"/>
                <a:gd name="T66" fmla="*/ 288 w 666"/>
                <a:gd name="T67" fmla="*/ 482 h 668"/>
                <a:gd name="T68" fmla="*/ 334 w 666"/>
                <a:gd name="T69" fmla="*/ 488 h 668"/>
                <a:gd name="T70" fmla="*/ 364 w 666"/>
                <a:gd name="T71" fmla="*/ 484 h 668"/>
                <a:gd name="T72" fmla="*/ 406 w 666"/>
                <a:gd name="T73" fmla="*/ 470 h 668"/>
                <a:gd name="T74" fmla="*/ 442 w 666"/>
                <a:gd name="T75" fmla="*/ 442 h 668"/>
                <a:gd name="T76" fmla="*/ 468 w 666"/>
                <a:gd name="T77" fmla="*/ 408 h 668"/>
                <a:gd name="T78" fmla="*/ 484 w 666"/>
                <a:gd name="T79" fmla="*/ 366 h 668"/>
                <a:gd name="T80" fmla="*/ 486 w 666"/>
                <a:gd name="T81" fmla="*/ 334 h 668"/>
                <a:gd name="T82" fmla="*/ 480 w 666"/>
                <a:gd name="T83" fmla="*/ 288 h 668"/>
                <a:gd name="T84" fmla="*/ 460 w 666"/>
                <a:gd name="T85" fmla="*/ 248 h 668"/>
                <a:gd name="T86" fmla="*/ 430 w 666"/>
                <a:gd name="T87" fmla="*/ 216 h 668"/>
                <a:gd name="T88" fmla="*/ 392 w 666"/>
                <a:gd name="T89" fmla="*/ 192 h 668"/>
                <a:gd name="T90" fmla="*/ 348 w 666"/>
                <a:gd name="T91" fmla="*/ 180 h 668"/>
                <a:gd name="T92" fmla="*/ 334 w 666"/>
                <a:gd name="T93" fmla="*/ 180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66" h="668">
                  <a:moveTo>
                    <a:pt x="334" y="668"/>
                  </a:moveTo>
                  <a:lnTo>
                    <a:pt x="334" y="668"/>
                  </a:lnTo>
                  <a:lnTo>
                    <a:pt x="300" y="666"/>
                  </a:lnTo>
                  <a:lnTo>
                    <a:pt x="266" y="660"/>
                  </a:lnTo>
                  <a:lnTo>
                    <a:pt x="234" y="652"/>
                  </a:lnTo>
                  <a:lnTo>
                    <a:pt x="204" y="640"/>
                  </a:lnTo>
                  <a:lnTo>
                    <a:pt x="174" y="626"/>
                  </a:lnTo>
                  <a:lnTo>
                    <a:pt x="146" y="610"/>
                  </a:lnTo>
                  <a:lnTo>
                    <a:pt x="122" y="590"/>
                  </a:lnTo>
                  <a:lnTo>
                    <a:pt x="98" y="570"/>
                  </a:lnTo>
                  <a:lnTo>
                    <a:pt x="76" y="546"/>
                  </a:lnTo>
                  <a:lnTo>
                    <a:pt x="56" y="520"/>
                  </a:lnTo>
                  <a:lnTo>
                    <a:pt x="40" y="492"/>
                  </a:lnTo>
                  <a:lnTo>
                    <a:pt x="26" y="464"/>
                  </a:lnTo>
                  <a:lnTo>
                    <a:pt x="14" y="432"/>
                  </a:lnTo>
                  <a:lnTo>
                    <a:pt x="6" y="402"/>
                  </a:lnTo>
                  <a:lnTo>
                    <a:pt x="2" y="368"/>
                  </a:lnTo>
                  <a:lnTo>
                    <a:pt x="0" y="334"/>
                  </a:lnTo>
                  <a:lnTo>
                    <a:pt x="0" y="334"/>
                  </a:lnTo>
                  <a:lnTo>
                    <a:pt x="2" y="300"/>
                  </a:lnTo>
                  <a:lnTo>
                    <a:pt x="6" y="268"/>
                  </a:lnTo>
                  <a:lnTo>
                    <a:pt x="14" y="236"/>
                  </a:lnTo>
                  <a:lnTo>
                    <a:pt x="26" y="204"/>
                  </a:lnTo>
                  <a:lnTo>
                    <a:pt x="40" y="176"/>
                  </a:lnTo>
                  <a:lnTo>
                    <a:pt x="56" y="148"/>
                  </a:lnTo>
                  <a:lnTo>
                    <a:pt x="76" y="122"/>
                  </a:lnTo>
                  <a:lnTo>
                    <a:pt x="98" y="98"/>
                  </a:lnTo>
                  <a:lnTo>
                    <a:pt x="122" y="78"/>
                  </a:lnTo>
                  <a:lnTo>
                    <a:pt x="146" y="58"/>
                  </a:lnTo>
                  <a:lnTo>
                    <a:pt x="174" y="42"/>
                  </a:lnTo>
                  <a:lnTo>
                    <a:pt x="204" y="28"/>
                  </a:lnTo>
                  <a:lnTo>
                    <a:pt x="234" y="16"/>
                  </a:lnTo>
                  <a:lnTo>
                    <a:pt x="266" y="8"/>
                  </a:lnTo>
                  <a:lnTo>
                    <a:pt x="300" y="2"/>
                  </a:lnTo>
                  <a:lnTo>
                    <a:pt x="334" y="0"/>
                  </a:lnTo>
                  <a:lnTo>
                    <a:pt x="334" y="0"/>
                  </a:lnTo>
                  <a:lnTo>
                    <a:pt x="368" y="2"/>
                  </a:lnTo>
                  <a:lnTo>
                    <a:pt x="400" y="8"/>
                  </a:lnTo>
                  <a:lnTo>
                    <a:pt x="432" y="16"/>
                  </a:lnTo>
                  <a:lnTo>
                    <a:pt x="462" y="28"/>
                  </a:lnTo>
                  <a:lnTo>
                    <a:pt x="492" y="42"/>
                  </a:lnTo>
                  <a:lnTo>
                    <a:pt x="520" y="58"/>
                  </a:lnTo>
                  <a:lnTo>
                    <a:pt x="544" y="78"/>
                  </a:lnTo>
                  <a:lnTo>
                    <a:pt x="568" y="98"/>
                  </a:lnTo>
                  <a:lnTo>
                    <a:pt x="590" y="122"/>
                  </a:lnTo>
                  <a:lnTo>
                    <a:pt x="610" y="148"/>
                  </a:lnTo>
                  <a:lnTo>
                    <a:pt x="626" y="176"/>
                  </a:lnTo>
                  <a:lnTo>
                    <a:pt x="640" y="204"/>
                  </a:lnTo>
                  <a:lnTo>
                    <a:pt x="652" y="236"/>
                  </a:lnTo>
                  <a:lnTo>
                    <a:pt x="660" y="268"/>
                  </a:lnTo>
                  <a:lnTo>
                    <a:pt x="664" y="300"/>
                  </a:lnTo>
                  <a:lnTo>
                    <a:pt x="666" y="334"/>
                  </a:lnTo>
                  <a:lnTo>
                    <a:pt x="666" y="334"/>
                  </a:lnTo>
                  <a:lnTo>
                    <a:pt x="664" y="368"/>
                  </a:lnTo>
                  <a:lnTo>
                    <a:pt x="660" y="402"/>
                  </a:lnTo>
                  <a:lnTo>
                    <a:pt x="652" y="432"/>
                  </a:lnTo>
                  <a:lnTo>
                    <a:pt x="640" y="464"/>
                  </a:lnTo>
                  <a:lnTo>
                    <a:pt x="626" y="492"/>
                  </a:lnTo>
                  <a:lnTo>
                    <a:pt x="610" y="520"/>
                  </a:lnTo>
                  <a:lnTo>
                    <a:pt x="590" y="546"/>
                  </a:lnTo>
                  <a:lnTo>
                    <a:pt x="568" y="570"/>
                  </a:lnTo>
                  <a:lnTo>
                    <a:pt x="544" y="590"/>
                  </a:lnTo>
                  <a:lnTo>
                    <a:pt x="520" y="610"/>
                  </a:lnTo>
                  <a:lnTo>
                    <a:pt x="492" y="626"/>
                  </a:lnTo>
                  <a:lnTo>
                    <a:pt x="462" y="640"/>
                  </a:lnTo>
                  <a:lnTo>
                    <a:pt x="432" y="652"/>
                  </a:lnTo>
                  <a:lnTo>
                    <a:pt x="400" y="660"/>
                  </a:lnTo>
                  <a:lnTo>
                    <a:pt x="368" y="666"/>
                  </a:lnTo>
                  <a:lnTo>
                    <a:pt x="334" y="668"/>
                  </a:lnTo>
                  <a:lnTo>
                    <a:pt x="334" y="668"/>
                  </a:lnTo>
                  <a:close/>
                  <a:moveTo>
                    <a:pt x="334" y="180"/>
                  </a:moveTo>
                  <a:lnTo>
                    <a:pt x="334" y="180"/>
                  </a:lnTo>
                  <a:lnTo>
                    <a:pt x="318" y="180"/>
                  </a:lnTo>
                  <a:lnTo>
                    <a:pt x="302" y="184"/>
                  </a:lnTo>
                  <a:lnTo>
                    <a:pt x="288" y="188"/>
                  </a:lnTo>
                  <a:lnTo>
                    <a:pt x="274" y="192"/>
                  </a:lnTo>
                  <a:lnTo>
                    <a:pt x="260" y="198"/>
                  </a:lnTo>
                  <a:lnTo>
                    <a:pt x="248" y="206"/>
                  </a:lnTo>
                  <a:lnTo>
                    <a:pt x="236" y="216"/>
                  </a:lnTo>
                  <a:lnTo>
                    <a:pt x="224" y="226"/>
                  </a:lnTo>
                  <a:lnTo>
                    <a:pt x="214" y="236"/>
                  </a:lnTo>
                  <a:lnTo>
                    <a:pt x="206" y="248"/>
                  </a:lnTo>
                  <a:lnTo>
                    <a:pt x="198" y="260"/>
                  </a:lnTo>
                  <a:lnTo>
                    <a:pt x="192" y="274"/>
                  </a:lnTo>
                  <a:lnTo>
                    <a:pt x="186" y="288"/>
                  </a:lnTo>
                  <a:lnTo>
                    <a:pt x="182" y="304"/>
                  </a:lnTo>
                  <a:lnTo>
                    <a:pt x="180" y="318"/>
                  </a:lnTo>
                  <a:lnTo>
                    <a:pt x="180" y="334"/>
                  </a:lnTo>
                  <a:lnTo>
                    <a:pt x="180" y="334"/>
                  </a:lnTo>
                  <a:lnTo>
                    <a:pt x="180" y="350"/>
                  </a:lnTo>
                  <a:lnTo>
                    <a:pt x="182" y="366"/>
                  </a:lnTo>
                  <a:lnTo>
                    <a:pt x="186" y="380"/>
                  </a:lnTo>
                  <a:lnTo>
                    <a:pt x="192" y="394"/>
                  </a:lnTo>
                  <a:lnTo>
                    <a:pt x="198" y="408"/>
                  </a:lnTo>
                  <a:lnTo>
                    <a:pt x="206" y="420"/>
                  </a:lnTo>
                  <a:lnTo>
                    <a:pt x="214" y="432"/>
                  </a:lnTo>
                  <a:lnTo>
                    <a:pt x="224" y="442"/>
                  </a:lnTo>
                  <a:lnTo>
                    <a:pt x="236" y="452"/>
                  </a:lnTo>
                  <a:lnTo>
                    <a:pt x="248" y="462"/>
                  </a:lnTo>
                  <a:lnTo>
                    <a:pt x="260" y="470"/>
                  </a:lnTo>
                  <a:lnTo>
                    <a:pt x="274" y="476"/>
                  </a:lnTo>
                  <a:lnTo>
                    <a:pt x="288" y="482"/>
                  </a:lnTo>
                  <a:lnTo>
                    <a:pt x="302" y="484"/>
                  </a:lnTo>
                  <a:lnTo>
                    <a:pt x="318" y="488"/>
                  </a:lnTo>
                  <a:lnTo>
                    <a:pt x="334" y="488"/>
                  </a:lnTo>
                  <a:lnTo>
                    <a:pt x="334" y="488"/>
                  </a:lnTo>
                  <a:lnTo>
                    <a:pt x="348" y="488"/>
                  </a:lnTo>
                  <a:lnTo>
                    <a:pt x="364" y="484"/>
                  </a:lnTo>
                  <a:lnTo>
                    <a:pt x="378" y="482"/>
                  </a:lnTo>
                  <a:lnTo>
                    <a:pt x="392" y="476"/>
                  </a:lnTo>
                  <a:lnTo>
                    <a:pt x="406" y="470"/>
                  </a:lnTo>
                  <a:lnTo>
                    <a:pt x="420" y="462"/>
                  </a:lnTo>
                  <a:lnTo>
                    <a:pt x="430" y="452"/>
                  </a:lnTo>
                  <a:lnTo>
                    <a:pt x="442" y="442"/>
                  </a:lnTo>
                  <a:lnTo>
                    <a:pt x="452" y="432"/>
                  </a:lnTo>
                  <a:lnTo>
                    <a:pt x="460" y="420"/>
                  </a:lnTo>
                  <a:lnTo>
                    <a:pt x="468" y="408"/>
                  </a:lnTo>
                  <a:lnTo>
                    <a:pt x="474" y="394"/>
                  </a:lnTo>
                  <a:lnTo>
                    <a:pt x="480" y="380"/>
                  </a:lnTo>
                  <a:lnTo>
                    <a:pt x="484" y="366"/>
                  </a:lnTo>
                  <a:lnTo>
                    <a:pt x="486" y="350"/>
                  </a:lnTo>
                  <a:lnTo>
                    <a:pt x="486" y="334"/>
                  </a:lnTo>
                  <a:lnTo>
                    <a:pt x="486" y="334"/>
                  </a:lnTo>
                  <a:lnTo>
                    <a:pt x="486" y="318"/>
                  </a:lnTo>
                  <a:lnTo>
                    <a:pt x="484" y="304"/>
                  </a:lnTo>
                  <a:lnTo>
                    <a:pt x="480" y="288"/>
                  </a:lnTo>
                  <a:lnTo>
                    <a:pt x="474" y="274"/>
                  </a:lnTo>
                  <a:lnTo>
                    <a:pt x="468" y="260"/>
                  </a:lnTo>
                  <a:lnTo>
                    <a:pt x="460" y="248"/>
                  </a:lnTo>
                  <a:lnTo>
                    <a:pt x="452" y="236"/>
                  </a:lnTo>
                  <a:lnTo>
                    <a:pt x="442" y="226"/>
                  </a:lnTo>
                  <a:lnTo>
                    <a:pt x="430" y="216"/>
                  </a:lnTo>
                  <a:lnTo>
                    <a:pt x="420" y="206"/>
                  </a:lnTo>
                  <a:lnTo>
                    <a:pt x="406" y="198"/>
                  </a:lnTo>
                  <a:lnTo>
                    <a:pt x="392" y="192"/>
                  </a:lnTo>
                  <a:lnTo>
                    <a:pt x="378" y="188"/>
                  </a:lnTo>
                  <a:lnTo>
                    <a:pt x="364" y="184"/>
                  </a:lnTo>
                  <a:lnTo>
                    <a:pt x="348" y="180"/>
                  </a:lnTo>
                  <a:lnTo>
                    <a:pt x="334" y="180"/>
                  </a:lnTo>
                  <a:lnTo>
                    <a:pt x="334" y="180"/>
                  </a:lnTo>
                  <a:close/>
                  <a:moveTo>
                    <a:pt x="334" y="180"/>
                  </a:moveTo>
                  <a:lnTo>
                    <a:pt x="334" y="18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9" name="Freeform 104">
              <a:extLst>
                <a:ext uri="{FF2B5EF4-FFF2-40B4-BE49-F238E27FC236}">
                  <a16:creationId xmlns:a16="http://schemas.microsoft.com/office/drawing/2014/main" id="{79D64463-5890-4716-9FA6-9522B65DEFE5}"/>
                </a:ext>
              </a:extLst>
            </p:cNvPr>
            <p:cNvSpPr>
              <a:spLocks/>
            </p:cNvSpPr>
            <p:nvPr/>
          </p:nvSpPr>
          <p:spPr bwMode="auto">
            <a:xfrm>
              <a:off x="-5051425" y="4895850"/>
              <a:ext cx="1057275" cy="1060450"/>
            </a:xfrm>
            <a:custGeom>
              <a:avLst/>
              <a:gdLst>
                <a:gd name="T0" fmla="*/ 334 w 666"/>
                <a:gd name="T1" fmla="*/ 668 h 668"/>
                <a:gd name="T2" fmla="*/ 266 w 666"/>
                <a:gd name="T3" fmla="*/ 660 h 668"/>
                <a:gd name="T4" fmla="*/ 204 w 666"/>
                <a:gd name="T5" fmla="*/ 640 h 668"/>
                <a:gd name="T6" fmla="*/ 146 w 666"/>
                <a:gd name="T7" fmla="*/ 610 h 668"/>
                <a:gd name="T8" fmla="*/ 98 w 666"/>
                <a:gd name="T9" fmla="*/ 570 h 668"/>
                <a:gd name="T10" fmla="*/ 56 w 666"/>
                <a:gd name="T11" fmla="*/ 520 h 668"/>
                <a:gd name="T12" fmla="*/ 26 w 666"/>
                <a:gd name="T13" fmla="*/ 464 h 668"/>
                <a:gd name="T14" fmla="*/ 6 w 666"/>
                <a:gd name="T15" fmla="*/ 402 h 668"/>
                <a:gd name="T16" fmla="*/ 0 w 666"/>
                <a:gd name="T17" fmla="*/ 334 h 668"/>
                <a:gd name="T18" fmla="*/ 2 w 666"/>
                <a:gd name="T19" fmla="*/ 300 h 668"/>
                <a:gd name="T20" fmla="*/ 14 w 666"/>
                <a:gd name="T21" fmla="*/ 236 h 668"/>
                <a:gd name="T22" fmla="*/ 40 w 666"/>
                <a:gd name="T23" fmla="*/ 176 h 668"/>
                <a:gd name="T24" fmla="*/ 76 w 666"/>
                <a:gd name="T25" fmla="*/ 122 h 668"/>
                <a:gd name="T26" fmla="*/ 122 w 666"/>
                <a:gd name="T27" fmla="*/ 78 h 668"/>
                <a:gd name="T28" fmla="*/ 174 w 666"/>
                <a:gd name="T29" fmla="*/ 42 h 668"/>
                <a:gd name="T30" fmla="*/ 234 w 666"/>
                <a:gd name="T31" fmla="*/ 16 h 668"/>
                <a:gd name="T32" fmla="*/ 300 w 666"/>
                <a:gd name="T33" fmla="*/ 2 h 668"/>
                <a:gd name="T34" fmla="*/ 334 w 666"/>
                <a:gd name="T35" fmla="*/ 0 h 668"/>
                <a:gd name="T36" fmla="*/ 400 w 666"/>
                <a:gd name="T37" fmla="*/ 8 h 668"/>
                <a:gd name="T38" fmla="*/ 462 w 666"/>
                <a:gd name="T39" fmla="*/ 28 h 668"/>
                <a:gd name="T40" fmla="*/ 520 w 666"/>
                <a:gd name="T41" fmla="*/ 58 h 668"/>
                <a:gd name="T42" fmla="*/ 568 w 666"/>
                <a:gd name="T43" fmla="*/ 98 h 668"/>
                <a:gd name="T44" fmla="*/ 610 w 666"/>
                <a:gd name="T45" fmla="*/ 148 h 668"/>
                <a:gd name="T46" fmla="*/ 640 w 666"/>
                <a:gd name="T47" fmla="*/ 204 h 668"/>
                <a:gd name="T48" fmla="*/ 660 w 666"/>
                <a:gd name="T49" fmla="*/ 268 h 668"/>
                <a:gd name="T50" fmla="*/ 666 w 666"/>
                <a:gd name="T51" fmla="*/ 334 h 668"/>
                <a:gd name="T52" fmla="*/ 664 w 666"/>
                <a:gd name="T53" fmla="*/ 368 h 668"/>
                <a:gd name="T54" fmla="*/ 652 w 666"/>
                <a:gd name="T55" fmla="*/ 432 h 668"/>
                <a:gd name="T56" fmla="*/ 626 w 666"/>
                <a:gd name="T57" fmla="*/ 492 h 668"/>
                <a:gd name="T58" fmla="*/ 590 w 666"/>
                <a:gd name="T59" fmla="*/ 546 h 668"/>
                <a:gd name="T60" fmla="*/ 544 w 666"/>
                <a:gd name="T61" fmla="*/ 590 h 668"/>
                <a:gd name="T62" fmla="*/ 492 w 666"/>
                <a:gd name="T63" fmla="*/ 626 h 668"/>
                <a:gd name="T64" fmla="*/ 432 w 666"/>
                <a:gd name="T65" fmla="*/ 652 h 668"/>
                <a:gd name="T66" fmla="*/ 368 w 666"/>
                <a:gd name="T67" fmla="*/ 666 h 668"/>
                <a:gd name="T68" fmla="*/ 334 w 666"/>
                <a:gd name="T69" fmla="*/ 66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6" h="668">
                  <a:moveTo>
                    <a:pt x="334" y="668"/>
                  </a:moveTo>
                  <a:lnTo>
                    <a:pt x="334" y="668"/>
                  </a:lnTo>
                  <a:lnTo>
                    <a:pt x="300" y="666"/>
                  </a:lnTo>
                  <a:lnTo>
                    <a:pt x="266" y="660"/>
                  </a:lnTo>
                  <a:lnTo>
                    <a:pt x="234" y="652"/>
                  </a:lnTo>
                  <a:lnTo>
                    <a:pt x="204" y="640"/>
                  </a:lnTo>
                  <a:lnTo>
                    <a:pt x="174" y="626"/>
                  </a:lnTo>
                  <a:lnTo>
                    <a:pt x="146" y="610"/>
                  </a:lnTo>
                  <a:lnTo>
                    <a:pt x="122" y="590"/>
                  </a:lnTo>
                  <a:lnTo>
                    <a:pt x="98" y="570"/>
                  </a:lnTo>
                  <a:lnTo>
                    <a:pt x="76" y="546"/>
                  </a:lnTo>
                  <a:lnTo>
                    <a:pt x="56" y="520"/>
                  </a:lnTo>
                  <a:lnTo>
                    <a:pt x="40" y="492"/>
                  </a:lnTo>
                  <a:lnTo>
                    <a:pt x="26" y="464"/>
                  </a:lnTo>
                  <a:lnTo>
                    <a:pt x="14" y="432"/>
                  </a:lnTo>
                  <a:lnTo>
                    <a:pt x="6" y="402"/>
                  </a:lnTo>
                  <a:lnTo>
                    <a:pt x="2" y="368"/>
                  </a:lnTo>
                  <a:lnTo>
                    <a:pt x="0" y="334"/>
                  </a:lnTo>
                  <a:lnTo>
                    <a:pt x="0" y="334"/>
                  </a:lnTo>
                  <a:lnTo>
                    <a:pt x="2" y="300"/>
                  </a:lnTo>
                  <a:lnTo>
                    <a:pt x="6" y="268"/>
                  </a:lnTo>
                  <a:lnTo>
                    <a:pt x="14" y="236"/>
                  </a:lnTo>
                  <a:lnTo>
                    <a:pt x="26" y="204"/>
                  </a:lnTo>
                  <a:lnTo>
                    <a:pt x="40" y="176"/>
                  </a:lnTo>
                  <a:lnTo>
                    <a:pt x="56" y="148"/>
                  </a:lnTo>
                  <a:lnTo>
                    <a:pt x="76" y="122"/>
                  </a:lnTo>
                  <a:lnTo>
                    <a:pt x="98" y="98"/>
                  </a:lnTo>
                  <a:lnTo>
                    <a:pt x="122" y="78"/>
                  </a:lnTo>
                  <a:lnTo>
                    <a:pt x="146" y="58"/>
                  </a:lnTo>
                  <a:lnTo>
                    <a:pt x="174" y="42"/>
                  </a:lnTo>
                  <a:lnTo>
                    <a:pt x="204" y="28"/>
                  </a:lnTo>
                  <a:lnTo>
                    <a:pt x="234" y="16"/>
                  </a:lnTo>
                  <a:lnTo>
                    <a:pt x="266" y="8"/>
                  </a:lnTo>
                  <a:lnTo>
                    <a:pt x="300" y="2"/>
                  </a:lnTo>
                  <a:lnTo>
                    <a:pt x="334" y="0"/>
                  </a:lnTo>
                  <a:lnTo>
                    <a:pt x="334" y="0"/>
                  </a:lnTo>
                  <a:lnTo>
                    <a:pt x="368" y="2"/>
                  </a:lnTo>
                  <a:lnTo>
                    <a:pt x="400" y="8"/>
                  </a:lnTo>
                  <a:lnTo>
                    <a:pt x="432" y="16"/>
                  </a:lnTo>
                  <a:lnTo>
                    <a:pt x="462" y="28"/>
                  </a:lnTo>
                  <a:lnTo>
                    <a:pt x="492" y="42"/>
                  </a:lnTo>
                  <a:lnTo>
                    <a:pt x="520" y="58"/>
                  </a:lnTo>
                  <a:lnTo>
                    <a:pt x="544" y="78"/>
                  </a:lnTo>
                  <a:lnTo>
                    <a:pt x="568" y="98"/>
                  </a:lnTo>
                  <a:lnTo>
                    <a:pt x="590" y="122"/>
                  </a:lnTo>
                  <a:lnTo>
                    <a:pt x="610" y="148"/>
                  </a:lnTo>
                  <a:lnTo>
                    <a:pt x="626" y="176"/>
                  </a:lnTo>
                  <a:lnTo>
                    <a:pt x="640" y="204"/>
                  </a:lnTo>
                  <a:lnTo>
                    <a:pt x="652" y="236"/>
                  </a:lnTo>
                  <a:lnTo>
                    <a:pt x="660" y="268"/>
                  </a:lnTo>
                  <a:lnTo>
                    <a:pt x="664" y="300"/>
                  </a:lnTo>
                  <a:lnTo>
                    <a:pt x="666" y="334"/>
                  </a:lnTo>
                  <a:lnTo>
                    <a:pt x="666" y="334"/>
                  </a:lnTo>
                  <a:lnTo>
                    <a:pt x="664" y="368"/>
                  </a:lnTo>
                  <a:lnTo>
                    <a:pt x="660" y="402"/>
                  </a:lnTo>
                  <a:lnTo>
                    <a:pt x="652" y="432"/>
                  </a:lnTo>
                  <a:lnTo>
                    <a:pt x="640" y="464"/>
                  </a:lnTo>
                  <a:lnTo>
                    <a:pt x="626" y="492"/>
                  </a:lnTo>
                  <a:lnTo>
                    <a:pt x="610" y="520"/>
                  </a:lnTo>
                  <a:lnTo>
                    <a:pt x="590" y="546"/>
                  </a:lnTo>
                  <a:lnTo>
                    <a:pt x="568" y="570"/>
                  </a:lnTo>
                  <a:lnTo>
                    <a:pt x="544" y="590"/>
                  </a:lnTo>
                  <a:lnTo>
                    <a:pt x="520" y="610"/>
                  </a:lnTo>
                  <a:lnTo>
                    <a:pt x="492" y="626"/>
                  </a:lnTo>
                  <a:lnTo>
                    <a:pt x="462" y="640"/>
                  </a:lnTo>
                  <a:lnTo>
                    <a:pt x="432" y="652"/>
                  </a:lnTo>
                  <a:lnTo>
                    <a:pt x="400" y="660"/>
                  </a:lnTo>
                  <a:lnTo>
                    <a:pt x="368" y="666"/>
                  </a:lnTo>
                  <a:lnTo>
                    <a:pt x="334" y="668"/>
                  </a:lnTo>
                  <a:lnTo>
                    <a:pt x="334" y="66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 name="Freeform 105">
              <a:extLst>
                <a:ext uri="{FF2B5EF4-FFF2-40B4-BE49-F238E27FC236}">
                  <a16:creationId xmlns:a16="http://schemas.microsoft.com/office/drawing/2014/main" id="{C2635DFA-9499-4B54-9DFD-DC47CEF1B3C5}"/>
                </a:ext>
              </a:extLst>
            </p:cNvPr>
            <p:cNvSpPr>
              <a:spLocks/>
            </p:cNvSpPr>
            <p:nvPr/>
          </p:nvSpPr>
          <p:spPr bwMode="auto">
            <a:xfrm>
              <a:off x="-4765675" y="5181600"/>
              <a:ext cx="485775" cy="488950"/>
            </a:xfrm>
            <a:custGeom>
              <a:avLst/>
              <a:gdLst>
                <a:gd name="T0" fmla="*/ 154 w 306"/>
                <a:gd name="T1" fmla="*/ 0 h 308"/>
                <a:gd name="T2" fmla="*/ 122 w 306"/>
                <a:gd name="T3" fmla="*/ 4 h 308"/>
                <a:gd name="T4" fmla="*/ 94 w 306"/>
                <a:gd name="T5" fmla="*/ 12 h 308"/>
                <a:gd name="T6" fmla="*/ 68 w 306"/>
                <a:gd name="T7" fmla="*/ 26 h 308"/>
                <a:gd name="T8" fmla="*/ 44 w 306"/>
                <a:gd name="T9" fmla="*/ 46 h 308"/>
                <a:gd name="T10" fmla="*/ 26 w 306"/>
                <a:gd name="T11" fmla="*/ 68 h 308"/>
                <a:gd name="T12" fmla="*/ 12 w 306"/>
                <a:gd name="T13" fmla="*/ 94 h 308"/>
                <a:gd name="T14" fmla="*/ 2 w 306"/>
                <a:gd name="T15" fmla="*/ 124 h 308"/>
                <a:gd name="T16" fmla="*/ 0 w 306"/>
                <a:gd name="T17" fmla="*/ 154 h 308"/>
                <a:gd name="T18" fmla="*/ 0 w 306"/>
                <a:gd name="T19" fmla="*/ 170 h 308"/>
                <a:gd name="T20" fmla="*/ 6 w 306"/>
                <a:gd name="T21" fmla="*/ 200 h 308"/>
                <a:gd name="T22" fmla="*/ 18 w 306"/>
                <a:gd name="T23" fmla="*/ 228 h 308"/>
                <a:gd name="T24" fmla="*/ 34 w 306"/>
                <a:gd name="T25" fmla="*/ 252 h 308"/>
                <a:gd name="T26" fmla="*/ 56 w 306"/>
                <a:gd name="T27" fmla="*/ 272 h 308"/>
                <a:gd name="T28" fmla="*/ 80 w 306"/>
                <a:gd name="T29" fmla="*/ 290 h 308"/>
                <a:gd name="T30" fmla="*/ 108 w 306"/>
                <a:gd name="T31" fmla="*/ 302 h 308"/>
                <a:gd name="T32" fmla="*/ 138 w 306"/>
                <a:gd name="T33" fmla="*/ 308 h 308"/>
                <a:gd name="T34" fmla="*/ 154 w 306"/>
                <a:gd name="T35" fmla="*/ 308 h 308"/>
                <a:gd name="T36" fmla="*/ 184 w 306"/>
                <a:gd name="T37" fmla="*/ 304 h 308"/>
                <a:gd name="T38" fmla="*/ 212 w 306"/>
                <a:gd name="T39" fmla="*/ 296 h 308"/>
                <a:gd name="T40" fmla="*/ 240 w 306"/>
                <a:gd name="T41" fmla="*/ 282 h 308"/>
                <a:gd name="T42" fmla="*/ 262 w 306"/>
                <a:gd name="T43" fmla="*/ 262 h 308"/>
                <a:gd name="T44" fmla="*/ 280 w 306"/>
                <a:gd name="T45" fmla="*/ 240 h 308"/>
                <a:gd name="T46" fmla="*/ 294 w 306"/>
                <a:gd name="T47" fmla="*/ 214 h 308"/>
                <a:gd name="T48" fmla="*/ 304 w 306"/>
                <a:gd name="T49" fmla="*/ 186 h 308"/>
                <a:gd name="T50" fmla="*/ 306 w 306"/>
                <a:gd name="T51" fmla="*/ 154 h 308"/>
                <a:gd name="T52" fmla="*/ 306 w 306"/>
                <a:gd name="T53" fmla="*/ 138 h 308"/>
                <a:gd name="T54" fmla="*/ 300 w 306"/>
                <a:gd name="T55" fmla="*/ 108 h 308"/>
                <a:gd name="T56" fmla="*/ 288 w 306"/>
                <a:gd name="T57" fmla="*/ 80 h 308"/>
                <a:gd name="T58" fmla="*/ 272 w 306"/>
                <a:gd name="T59" fmla="*/ 56 h 308"/>
                <a:gd name="T60" fmla="*/ 250 w 306"/>
                <a:gd name="T61" fmla="*/ 36 h 308"/>
                <a:gd name="T62" fmla="*/ 226 w 306"/>
                <a:gd name="T63" fmla="*/ 18 h 308"/>
                <a:gd name="T64" fmla="*/ 198 w 306"/>
                <a:gd name="T65" fmla="*/ 8 h 308"/>
                <a:gd name="T66" fmla="*/ 168 w 306"/>
                <a:gd name="T67" fmla="*/ 0 h 308"/>
                <a:gd name="T68" fmla="*/ 154 w 306"/>
                <a:gd name="T69"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6" h="308">
                  <a:moveTo>
                    <a:pt x="154" y="0"/>
                  </a:moveTo>
                  <a:lnTo>
                    <a:pt x="154" y="0"/>
                  </a:lnTo>
                  <a:lnTo>
                    <a:pt x="138" y="0"/>
                  </a:lnTo>
                  <a:lnTo>
                    <a:pt x="122" y="4"/>
                  </a:lnTo>
                  <a:lnTo>
                    <a:pt x="108" y="8"/>
                  </a:lnTo>
                  <a:lnTo>
                    <a:pt x="94" y="12"/>
                  </a:lnTo>
                  <a:lnTo>
                    <a:pt x="80" y="18"/>
                  </a:lnTo>
                  <a:lnTo>
                    <a:pt x="68" y="26"/>
                  </a:lnTo>
                  <a:lnTo>
                    <a:pt x="56" y="36"/>
                  </a:lnTo>
                  <a:lnTo>
                    <a:pt x="44" y="46"/>
                  </a:lnTo>
                  <a:lnTo>
                    <a:pt x="34" y="56"/>
                  </a:lnTo>
                  <a:lnTo>
                    <a:pt x="26" y="68"/>
                  </a:lnTo>
                  <a:lnTo>
                    <a:pt x="18" y="80"/>
                  </a:lnTo>
                  <a:lnTo>
                    <a:pt x="12" y="94"/>
                  </a:lnTo>
                  <a:lnTo>
                    <a:pt x="6" y="108"/>
                  </a:lnTo>
                  <a:lnTo>
                    <a:pt x="2" y="124"/>
                  </a:lnTo>
                  <a:lnTo>
                    <a:pt x="0" y="138"/>
                  </a:lnTo>
                  <a:lnTo>
                    <a:pt x="0" y="154"/>
                  </a:lnTo>
                  <a:lnTo>
                    <a:pt x="0" y="154"/>
                  </a:lnTo>
                  <a:lnTo>
                    <a:pt x="0" y="170"/>
                  </a:lnTo>
                  <a:lnTo>
                    <a:pt x="2" y="186"/>
                  </a:lnTo>
                  <a:lnTo>
                    <a:pt x="6" y="200"/>
                  </a:lnTo>
                  <a:lnTo>
                    <a:pt x="12" y="214"/>
                  </a:lnTo>
                  <a:lnTo>
                    <a:pt x="18" y="228"/>
                  </a:lnTo>
                  <a:lnTo>
                    <a:pt x="26" y="240"/>
                  </a:lnTo>
                  <a:lnTo>
                    <a:pt x="34" y="252"/>
                  </a:lnTo>
                  <a:lnTo>
                    <a:pt x="44" y="262"/>
                  </a:lnTo>
                  <a:lnTo>
                    <a:pt x="56" y="272"/>
                  </a:lnTo>
                  <a:lnTo>
                    <a:pt x="68" y="282"/>
                  </a:lnTo>
                  <a:lnTo>
                    <a:pt x="80" y="290"/>
                  </a:lnTo>
                  <a:lnTo>
                    <a:pt x="94" y="296"/>
                  </a:lnTo>
                  <a:lnTo>
                    <a:pt x="108" y="302"/>
                  </a:lnTo>
                  <a:lnTo>
                    <a:pt x="122" y="304"/>
                  </a:lnTo>
                  <a:lnTo>
                    <a:pt x="138" y="308"/>
                  </a:lnTo>
                  <a:lnTo>
                    <a:pt x="154" y="308"/>
                  </a:lnTo>
                  <a:lnTo>
                    <a:pt x="154" y="308"/>
                  </a:lnTo>
                  <a:lnTo>
                    <a:pt x="168" y="308"/>
                  </a:lnTo>
                  <a:lnTo>
                    <a:pt x="184" y="304"/>
                  </a:lnTo>
                  <a:lnTo>
                    <a:pt x="198" y="302"/>
                  </a:lnTo>
                  <a:lnTo>
                    <a:pt x="212" y="296"/>
                  </a:lnTo>
                  <a:lnTo>
                    <a:pt x="226" y="290"/>
                  </a:lnTo>
                  <a:lnTo>
                    <a:pt x="240" y="282"/>
                  </a:lnTo>
                  <a:lnTo>
                    <a:pt x="250" y="272"/>
                  </a:lnTo>
                  <a:lnTo>
                    <a:pt x="262" y="262"/>
                  </a:lnTo>
                  <a:lnTo>
                    <a:pt x="272" y="252"/>
                  </a:lnTo>
                  <a:lnTo>
                    <a:pt x="280" y="240"/>
                  </a:lnTo>
                  <a:lnTo>
                    <a:pt x="288" y="228"/>
                  </a:lnTo>
                  <a:lnTo>
                    <a:pt x="294" y="214"/>
                  </a:lnTo>
                  <a:lnTo>
                    <a:pt x="300" y="200"/>
                  </a:lnTo>
                  <a:lnTo>
                    <a:pt x="304" y="186"/>
                  </a:lnTo>
                  <a:lnTo>
                    <a:pt x="306" y="170"/>
                  </a:lnTo>
                  <a:lnTo>
                    <a:pt x="306" y="154"/>
                  </a:lnTo>
                  <a:lnTo>
                    <a:pt x="306" y="154"/>
                  </a:lnTo>
                  <a:lnTo>
                    <a:pt x="306" y="138"/>
                  </a:lnTo>
                  <a:lnTo>
                    <a:pt x="304" y="124"/>
                  </a:lnTo>
                  <a:lnTo>
                    <a:pt x="300" y="108"/>
                  </a:lnTo>
                  <a:lnTo>
                    <a:pt x="294" y="94"/>
                  </a:lnTo>
                  <a:lnTo>
                    <a:pt x="288" y="80"/>
                  </a:lnTo>
                  <a:lnTo>
                    <a:pt x="280" y="68"/>
                  </a:lnTo>
                  <a:lnTo>
                    <a:pt x="272" y="56"/>
                  </a:lnTo>
                  <a:lnTo>
                    <a:pt x="262" y="46"/>
                  </a:lnTo>
                  <a:lnTo>
                    <a:pt x="250" y="36"/>
                  </a:lnTo>
                  <a:lnTo>
                    <a:pt x="240" y="26"/>
                  </a:lnTo>
                  <a:lnTo>
                    <a:pt x="226" y="18"/>
                  </a:lnTo>
                  <a:lnTo>
                    <a:pt x="212" y="12"/>
                  </a:lnTo>
                  <a:lnTo>
                    <a:pt x="198" y="8"/>
                  </a:lnTo>
                  <a:lnTo>
                    <a:pt x="184" y="4"/>
                  </a:lnTo>
                  <a:lnTo>
                    <a:pt x="168" y="0"/>
                  </a:lnTo>
                  <a:lnTo>
                    <a:pt x="154" y="0"/>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 name="Line 106">
              <a:extLst>
                <a:ext uri="{FF2B5EF4-FFF2-40B4-BE49-F238E27FC236}">
                  <a16:creationId xmlns:a16="http://schemas.microsoft.com/office/drawing/2014/main" id="{B661ED9E-DF4C-4AF7-BA13-B5824EB4AF03}"/>
                </a:ext>
              </a:extLst>
            </p:cNvPr>
            <p:cNvSpPr>
              <a:spLocks noChangeShapeType="1"/>
            </p:cNvSpPr>
            <p:nvPr/>
          </p:nvSpPr>
          <p:spPr bwMode="auto">
            <a:xfrm>
              <a:off x="-4521200" y="51816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2" name="Group 191">
            <a:extLst>
              <a:ext uri="{FF2B5EF4-FFF2-40B4-BE49-F238E27FC236}">
                <a16:creationId xmlns:a16="http://schemas.microsoft.com/office/drawing/2014/main" id="{5C1431E7-D0EB-45F9-B225-7DAFE55643F7}"/>
              </a:ext>
            </a:extLst>
          </p:cNvPr>
          <p:cNvGrpSpPr/>
          <p:nvPr/>
        </p:nvGrpSpPr>
        <p:grpSpPr>
          <a:xfrm>
            <a:off x="3422129" y="3607022"/>
            <a:ext cx="421532" cy="382316"/>
            <a:chOff x="10652773" y="5125812"/>
            <a:chExt cx="600917" cy="545017"/>
          </a:xfrm>
        </p:grpSpPr>
        <p:sp>
          <p:nvSpPr>
            <p:cNvPr id="193" name="Freeform 64">
              <a:extLst>
                <a:ext uri="{FF2B5EF4-FFF2-40B4-BE49-F238E27FC236}">
                  <a16:creationId xmlns:a16="http://schemas.microsoft.com/office/drawing/2014/main" id="{28A4C2E5-CE81-4FCF-9035-1B0F80BD92C0}"/>
                </a:ext>
              </a:extLst>
            </p:cNvPr>
            <p:cNvSpPr>
              <a:spLocks noEditPoints="1"/>
            </p:cNvSpPr>
            <p:nvPr/>
          </p:nvSpPr>
          <p:spPr bwMode="auto">
            <a:xfrm>
              <a:off x="10652773" y="5135793"/>
              <a:ext cx="353364" cy="523057"/>
            </a:xfrm>
            <a:custGeom>
              <a:avLst/>
              <a:gdLst>
                <a:gd name="T0" fmla="*/ 109 w 118"/>
                <a:gd name="T1" fmla="*/ 47 h 174"/>
                <a:gd name="T2" fmla="*/ 114 w 118"/>
                <a:gd name="T3" fmla="*/ 44 h 174"/>
                <a:gd name="T4" fmla="*/ 114 w 118"/>
                <a:gd name="T5" fmla="*/ 40 h 174"/>
                <a:gd name="T6" fmla="*/ 34 w 118"/>
                <a:gd name="T7" fmla="*/ 87 h 174"/>
                <a:gd name="T8" fmla="*/ 114 w 118"/>
                <a:gd name="T9" fmla="*/ 134 h 174"/>
                <a:gd name="T10" fmla="*/ 114 w 118"/>
                <a:gd name="T11" fmla="*/ 130 h 174"/>
                <a:gd name="T12" fmla="*/ 109 w 118"/>
                <a:gd name="T13" fmla="*/ 127 h 174"/>
                <a:gd name="T14" fmla="*/ 42 w 118"/>
                <a:gd name="T15" fmla="*/ 87 h 174"/>
                <a:gd name="T16" fmla="*/ 116 w 118"/>
                <a:gd name="T17" fmla="*/ 156 h 174"/>
                <a:gd name="T18" fmla="*/ 114 w 118"/>
                <a:gd name="T19" fmla="*/ 151 h 174"/>
                <a:gd name="T20" fmla="*/ 95 w 118"/>
                <a:gd name="T21" fmla="*/ 159 h 174"/>
                <a:gd name="T22" fmla="*/ 92 w 118"/>
                <a:gd name="T23" fmla="*/ 166 h 174"/>
                <a:gd name="T24" fmla="*/ 82 w 118"/>
                <a:gd name="T25" fmla="*/ 163 h 174"/>
                <a:gd name="T26" fmla="*/ 78 w 118"/>
                <a:gd name="T27" fmla="*/ 156 h 174"/>
                <a:gd name="T28" fmla="*/ 42 w 118"/>
                <a:gd name="T29" fmla="*/ 143 h 174"/>
                <a:gd name="T30" fmla="*/ 33 w 118"/>
                <a:gd name="T31" fmla="*/ 145 h 174"/>
                <a:gd name="T32" fmla="*/ 30 w 118"/>
                <a:gd name="T33" fmla="*/ 137 h 174"/>
                <a:gd name="T34" fmla="*/ 32 w 118"/>
                <a:gd name="T35" fmla="*/ 129 h 174"/>
                <a:gd name="T36" fmla="*/ 16 w 118"/>
                <a:gd name="T37" fmla="*/ 94 h 174"/>
                <a:gd name="T38" fmla="*/ 8 w 118"/>
                <a:gd name="T39" fmla="*/ 89 h 174"/>
                <a:gd name="T40" fmla="*/ 11 w 118"/>
                <a:gd name="T41" fmla="*/ 81 h 174"/>
                <a:gd name="T42" fmla="*/ 19 w 118"/>
                <a:gd name="T43" fmla="*/ 77 h 174"/>
                <a:gd name="T44" fmla="*/ 32 w 118"/>
                <a:gd name="T45" fmla="*/ 41 h 174"/>
                <a:gd name="T46" fmla="*/ 30 w 118"/>
                <a:gd name="T47" fmla="*/ 33 h 174"/>
                <a:gd name="T48" fmla="*/ 38 w 118"/>
                <a:gd name="T49" fmla="*/ 29 h 174"/>
                <a:gd name="T50" fmla="*/ 46 w 118"/>
                <a:gd name="T51" fmla="*/ 31 h 174"/>
                <a:gd name="T52" fmla="*/ 81 w 118"/>
                <a:gd name="T53" fmla="*/ 16 h 174"/>
                <a:gd name="T54" fmla="*/ 83 w 118"/>
                <a:gd name="T55" fmla="*/ 8 h 174"/>
                <a:gd name="T56" fmla="*/ 94 w 118"/>
                <a:gd name="T57" fmla="*/ 11 h 174"/>
                <a:gd name="T58" fmla="*/ 98 w 118"/>
                <a:gd name="T59" fmla="*/ 18 h 174"/>
                <a:gd name="T60" fmla="*/ 114 w 118"/>
                <a:gd name="T61" fmla="*/ 23 h 174"/>
                <a:gd name="T62" fmla="*/ 118 w 118"/>
                <a:gd name="T63" fmla="*/ 16 h 174"/>
                <a:gd name="T64" fmla="*/ 107 w 118"/>
                <a:gd name="T65" fmla="*/ 9 h 174"/>
                <a:gd name="T66" fmla="*/ 103 w 118"/>
                <a:gd name="T67" fmla="*/ 1 h 174"/>
                <a:gd name="T68" fmla="*/ 92 w 118"/>
                <a:gd name="T69" fmla="*/ 0 h 174"/>
                <a:gd name="T70" fmla="*/ 92 w 118"/>
                <a:gd name="T71" fmla="*/ 0 h 174"/>
                <a:gd name="T72" fmla="*/ 83 w 118"/>
                <a:gd name="T73" fmla="*/ 0 h 174"/>
                <a:gd name="T74" fmla="*/ 83 w 118"/>
                <a:gd name="T75" fmla="*/ 0 h 174"/>
                <a:gd name="T76" fmla="*/ 83 w 118"/>
                <a:gd name="T77" fmla="*/ 0 h 174"/>
                <a:gd name="T78" fmla="*/ 69 w 118"/>
                <a:gd name="T79" fmla="*/ 4 h 174"/>
                <a:gd name="T80" fmla="*/ 66 w 118"/>
                <a:gd name="T81" fmla="*/ 12 h 174"/>
                <a:gd name="T82" fmla="*/ 47 w 118"/>
                <a:gd name="T83" fmla="*/ 19 h 174"/>
                <a:gd name="T84" fmla="*/ 38 w 118"/>
                <a:gd name="T85" fmla="*/ 15 h 174"/>
                <a:gd name="T86" fmla="*/ 16 w 118"/>
                <a:gd name="T87" fmla="*/ 42 h 174"/>
                <a:gd name="T88" fmla="*/ 20 w 118"/>
                <a:gd name="T89" fmla="*/ 50 h 174"/>
                <a:gd name="T90" fmla="*/ 10 w 118"/>
                <a:gd name="T91" fmla="*/ 68 h 174"/>
                <a:gd name="T92" fmla="*/ 2 w 118"/>
                <a:gd name="T93" fmla="*/ 71 h 174"/>
                <a:gd name="T94" fmla="*/ 2 w 118"/>
                <a:gd name="T95" fmla="*/ 103 h 174"/>
                <a:gd name="T96" fmla="*/ 10 w 118"/>
                <a:gd name="T97" fmla="*/ 106 h 174"/>
                <a:gd name="T98" fmla="*/ 20 w 118"/>
                <a:gd name="T99" fmla="*/ 124 h 174"/>
                <a:gd name="T100" fmla="*/ 16 w 118"/>
                <a:gd name="T101" fmla="*/ 132 h 174"/>
                <a:gd name="T102" fmla="*/ 38 w 118"/>
                <a:gd name="T103" fmla="*/ 159 h 174"/>
                <a:gd name="T104" fmla="*/ 47 w 118"/>
                <a:gd name="T105" fmla="*/ 155 h 174"/>
                <a:gd name="T106" fmla="*/ 66 w 118"/>
                <a:gd name="T107" fmla="*/ 162 h 174"/>
                <a:gd name="T108" fmla="*/ 69 w 118"/>
                <a:gd name="T109" fmla="*/ 170 h 174"/>
                <a:gd name="T110" fmla="*/ 83 w 118"/>
                <a:gd name="T111" fmla="*/ 174 h 174"/>
                <a:gd name="T112" fmla="*/ 92 w 118"/>
                <a:gd name="T113" fmla="*/ 174 h 174"/>
                <a:gd name="T114" fmla="*/ 103 w 118"/>
                <a:gd name="T115" fmla="*/ 173 h 174"/>
                <a:gd name="T116" fmla="*/ 107 w 118"/>
                <a:gd name="T117" fmla="*/ 165 h 174"/>
                <a:gd name="T118" fmla="*/ 118 w 118"/>
                <a:gd name="T119" fmla="*/ 15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 h="174">
                  <a:moveTo>
                    <a:pt x="88" y="42"/>
                  </a:moveTo>
                  <a:cubicBezTo>
                    <a:pt x="96" y="42"/>
                    <a:pt x="103" y="44"/>
                    <a:pt x="109" y="47"/>
                  </a:cubicBezTo>
                  <a:cubicBezTo>
                    <a:pt x="110" y="46"/>
                    <a:pt x="110" y="46"/>
                    <a:pt x="110" y="46"/>
                  </a:cubicBezTo>
                  <a:cubicBezTo>
                    <a:pt x="111" y="45"/>
                    <a:pt x="113" y="44"/>
                    <a:pt x="114" y="44"/>
                  </a:cubicBezTo>
                  <a:cubicBezTo>
                    <a:pt x="114" y="44"/>
                    <a:pt x="114" y="44"/>
                    <a:pt x="114" y="44"/>
                  </a:cubicBezTo>
                  <a:cubicBezTo>
                    <a:pt x="114" y="40"/>
                    <a:pt x="114" y="40"/>
                    <a:pt x="114" y="40"/>
                  </a:cubicBezTo>
                  <a:cubicBezTo>
                    <a:pt x="106" y="36"/>
                    <a:pt x="97" y="33"/>
                    <a:pt x="88" y="33"/>
                  </a:cubicBezTo>
                  <a:cubicBezTo>
                    <a:pt x="58" y="33"/>
                    <a:pt x="34" y="57"/>
                    <a:pt x="34" y="87"/>
                  </a:cubicBezTo>
                  <a:cubicBezTo>
                    <a:pt x="34" y="117"/>
                    <a:pt x="58" y="141"/>
                    <a:pt x="88" y="141"/>
                  </a:cubicBezTo>
                  <a:cubicBezTo>
                    <a:pt x="97" y="141"/>
                    <a:pt x="106" y="138"/>
                    <a:pt x="114" y="134"/>
                  </a:cubicBezTo>
                  <a:cubicBezTo>
                    <a:pt x="114" y="130"/>
                    <a:pt x="114" y="130"/>
                    <a:pt x="114" y="130"/>
                  </a:cubicBezTo>
                  <a:cubicBezTo>
                    <a:pt x="114" y="130"/>
                    <a:pt x="114" y="130"/>
                    <a:pt x="114" y="130"/>
                  </a:cubicBezTo>
                  <a:cubicBezTo>
                    <a:pt x="113" y="130"/>
                    <a:pt x="111" y="129"/>
                    <a:pt x="110" y="128"/>
                  </a:cubicBezTo>
                  <a:cubicBezTo>
                    <a:pt x="109" y="127"/>
                    <a:pt x="109" y="127"/>
                    <a:pt x="109" y="127"/>
                  </a:cubicBezTo>
                  <a:cubicBezTo>
                    <a:pt x="103" y="131"/>
                    <a:pt x="96" y="133"/>
                    <a:pt x="88" y="133"/>
                  </a:cubicBezTo>
                  <a:cubicBezTo>
                    <a:pt x="63" y="133"/>
                    <a:pt x="42" y="112"/>
                    <a:pt x="42" y="87"/>
                  </a:cubicBezTo>
                  <a:cubicBezTo>
                    <a:pt x="42" y="62"/>
                    <a:pt x="63" y="42"/>
                    <a:pt x="88" y="42"/>
                  </a:cubicBezTo>
                  <a:close/>
                  <a:moveTo>
                    <a:pt x="116" y="156"/>
                  </a:moveTo>
                  <a:cubicBezTo>
                    <a:pt x="115" y="155"/>
                    <a:pt x="114" y="153"/>
                    <a:pt x="114" y="151"/>
                  </a:cubicBezTo>
                  <a:cubicBezTo>
                    <a:pt x="114" y="151"/>
                    <a:pt x="114" y="151"/>
                    <a:pt x="114" y="151"/>
                  </a:cubicBezTo>
                  <a:cubicBezTo>
                    <a:pt x="109" y="153"/>
                    <a:pt x="104" y="155"/>
                    <a:pt x="98" y="156"/>
                  </a:cubicBezTo>
                  <a:cubicBezTo>
                    <a:pt x="96" y="156"/>
                    <a:pt x="95" y="157"/>
                    <a:pt x="95" y="159"/>
                  </a:cubicBezTo>
                  <a:cubicBezTo>
                    <a:pt x="94" y="160"/>
                    <a:pt x="94" y="162"/>
                    <a:pt x="94" y="163"/>
                  </a:cubicBezTo>
                  <a:cubicBezTo>
                    <a:pt x="94" y="165"/>
                    <a:pt x="93" y="166"/>
                    <a:pt x="92" y="166"/>
                  </a:cubicBezTo>
                  <a:cubicBezTo>
                    <a:pt x="90" y="167"/>
                    <a:pt x="85" y="167"/>
                    <a:pt x="83" y="166"/>
                  </a:cubicBezTo>
                  <a:cubicBezTo>
                    <a:pt x="82" y="166"/>
                    <a:pt x="82" y="165"/>
                    <a:pt x="82" y="163"/>
                  </a:cubicBezTo>
                  <a:cubicBezTo>
                    <a:pt x="81" y="162"/>
                    <a:pt x="81" y="160"/>
                    <a:pt x="81" y="159"/>
                  </a:cubicBezTo>
                  <a:cubicBezTo>
                    <a:pt x="80" y="157"/>
                    <a:pt x="79" y="156"/>
                    <a:pt x="78" y="156"/>
                  </a:cubicBezTo>
                  <a:cubicBezTo>
                    <a:pt x="66" y="154"/>
                    <a:pt x="55" y="150"/>
                    <a:pt x="46" y="143"/>
                  </a:cubicBezTo>
                  <a:cubicBezTo>
                    <a:pt x="45" y="142"/>
                    <a:pt x="44" y="142"/>
                    <a:pt x="42" y="143"/>
                  </a:cubicBezTo>
                  <a:cubicBezTo>
                    <a:pt x="41" y="143"/>
                    <a:pt x="40" y="144"/>
                    <a:pt x="38" y="145"/>
                  </a:cubicBezTo>
                  <a:cubicBezTo>
                    <a:pt x="37" y="146"/>
                    <a:pt x="35" y="146"/>
                    <a:pt x="33" y="145"/>
                  </a:cubicBezTo>
                  <a:cubicBezTo>
                    <a:pt x="32" y="144"/>
                    <a:pt x="31" y="143"/>
                    <a:pt x="30" y="141"/>
                  </a:cubicBezTo>
                  <a:cubicBezTo>
                    <a:pt x="29" y="140"/>
                    <a:pt x="29" y="138"/>
                    <a:pt x="30" y="137"/>
                  </a:cubicBezTo>
                  <a:cubicBezTo>
                    <a:pt x="31" y="135"/>
                    <a:pt x="32" y="134"/>
                    <a:pt x="32" y="133"/>
                  </a:cubicBezTo>
                  <a:cubicBezTo>
                    <a:pt x="33" y="131"/>
                    <a:pt x="33" y="130"/>
                    <a:pt x="32" y="129"/>
                  </a:cubicBezTo>
                  <a:cubicBezTo>
                    <a:pt x="25" y="120"/>
                    <a:pt x="21" y="109"/>
                    <a:pt x="19" y="97"/>
                  </a:cubicBezTo>
                  <a:cubicBezTo>
                    <a:pt x="19" y="96"/>
                    <a:pt x="18" y="94"/>
                    <a:pt x="16" y="94"/>
                  </a:cubicBezTo>
                  <a:cubicBezTo>
                    <a:pt x="15" y="94"/>
                    <a:pt x="13" y="93"/>
                    <a:pt x="11" y="93"/>
                  </a:cubicBezTo>
                  <a:cubicBezTo>
                    <a:pt x="10" y="93"/>
                    <a:pt x="8" y="91"/>
                    <a:pt x="8" y="89"/>
                  </a:cubicBezTo>
                  <a:cubicBezTo>
                    <a:pt x="8" y="88"/>
                    <a:pt x="8" y="86"/>
                    <a:pt x="8" y="85"/>
                  </a:cubicBezTo>
                  <a:cubicBezTo>
                    <a:pt x="8" y="83"/>
                    <a:pt x="10" y="81"/>
                    <a:pt x="11" y="81"/>
                  </a:cubicBezTo>
                  <a:cubicBezTo>
                    <a:pt x="13" y="81"/>
                    <a:pt x="15" y="80"/>
                    <a:pt x="16" y="80"/>
                  </a:cubicBezTo>
                  <a:cubicBezTo>
                    <a:pt x="18" y="80"/>
                    <a:pt x="19" y="78"/>
                    <a:pt x="19" y="77"/>
                  </a:cubicBezTo>
                  <a:cubicBezTo>
                    <a:pt x="21" y="65"/>
                    <a:pt x="25" y="55"/>
                    <a:pt x="32" y="46"/>
                  </a:cubicBezTo>
                  <a:cubicBezTo>
                    <a:pt x="33" y="44"/>
                    <a:pt x="33" y="43"/>
                    <a:pt x="32" y="41"/>
                  </a:cubicBezTo>
                  <a:cubicBezTo>
                    <a:pt x="32" y="40"/>
                    <a:pt x="31" y="39"/>
                    <a:pt x="30" y="37"/>
                  </a:cubicBezTo>
                  <a:cubicBezTo>
                    <a:pt x="29" y="36"/>
                    <a:pt x="29" y="34"/>
                    <a:pt x="30" y="33"/>
                  </a:cubicBezTo>
                  <a:cubicBezTo>
                    <a:pt x="31" y="31"/>
                    <a:pt x="32" y="30"/>
                    <a:pt x="33" y="29"/>
                  </a:cubicBezTo>
                  <a:cubicBezTo>
                    <a:pt x="35" y="28"/>
                    <a:pt x="37" y="28"/>
                    <a:pt x="38" y="29"/>
                  </a:cubicBezTo>
                  <a:cubicBezTo>
                    <a:pt x="40" y="30"/>
                    <a:pt x="41" y="31"/>
                    <a:pt x="42" y="32"/>
                  </a:cubicBezTo>
                  <a:cubicBezTo>
                    <a:pt x="43" y="32"/>
                    <a:pt x="45" y="32"/>
                    <a:pt x="46" y="31"/>
                  </a:cubicBezTo>
                  <a:cubicBezTo>
                    <a:pt x="55" y="25"/>
                    <a:pt x="66" y="20"/>
                    <a:pt x="78" y="18"/>
                  </a:cubicBezTo>
                  <a:cubicBezTo>
                    <a:pt x="79" y="18"/>
                    <a:pt x="80" y="17"/>
                    <a:pt x="81" y="16"/>
                  </a:cubicBezTo>
                  <a:cubicBezTo>
                    <a:pt x="81" y="14"/>
                    <a:pt x="81" y="12"/>
                    <a:pt x="82" y="11"/>
                  </a:cubicBezTo>
                  <a:cubicBezTo>
                    <a:pt x="82" y="10"/>
                    <a:pt x="82" y="8"/>
                    <a:pt x="83" y="8"/>
                  </a:cubicBezTo>
                  <a:cubicBezTo>
                    <a:pt x="85" y="8"/>
                    <a:pt x="90" y="7"/>
                    <a:pt x="92" y="8"/>
                  </a:cubicBezTo>
                  <a:cubicBezTo>
                    <a:pt x="93" y="8"/>
                    <a:pt x="94" y="10"/>
                    <a:pt x="94" y="11"/>
                  </a:cubicBezTo>
                  <a:cubicBezTo>
                    <a:pt x="94" y="12"/>
                    <a:pt x="94" y="14"/>
                    <a:pt x="95" y="16"/>
                  </a:cubicBezTo>
                  <a:cubicBezTo>
                    <a:pt x="95" y="17"/>
                    <a:pt x="96" y="18"/>
                    <a:pt x="98" y="18"/>
                  </a:cubicBezTo>
                  <a:cubicBezTo>
                    <a:pt x="104" y="19"/>
                    <a:pt x="109" y="21"/>
                    <a:pt x="114" y="23"/>
                  </a:cubicBezTo>
                  <a:cubicBezTo>
                    <a:pt x="114" y="23"/>
                    <a:pt x="114" y="23"/>
                    <a:pt x="114" y="23"/>
                  </a:cubicBezTo>
                  <a:cubicBezTo>
                    <a:pt x="114" y="21"/>
                    <a:pt x="115" y="19"/>
                    <a:pt x="116" y="18"/>
                  </a:cubicBezTo>
                  <a:cubicBezTo>
                    <a:pt x="118" y="16"/>
                    <a:pt x="118" y="16"/>
                    <a:pt x="118" y="16"/>
                  </a:cubicBezTo>
                  <a:cubicBezTo>
                    <a:pt x="116" y="14"/>
                    <a:pt x="113" y="13"/>
                    <a:pt x="110" y="12"/>
                  </a:cubicBezTo>
                  <a:cubicBezTo>
                    <a:pt x="108" y="12"/>
                    <a:pt x="107" y="11"/>
                    <a:pt x="107" y="9"/>
                  </a:cubicBezTo>
                  <a:cubicBezTo>
                    <a:pt x="107" y="8"/>
                    <a:pt x="107" y="6"/>
                    <a:pt x="106" y="4"/>
                  </a:cubicBezTo>
                  <a:cubicBezTo>
                    <a:pt x="106" y="2"/>
                    <a:pt x="105" y="2"/>
                    <a:pt x="103" y="1"/>
                  </a:cubicBezTo>
                  <a:cubicBezTo>
                    <a:pt x="100" y="0"/>
                    <a:pt x="96" y="0"/>
                    <a:pt x="92" y="0"/>
                  </a:cubicBezTo>
                  <a:cubicBezTo>
                    <a:pt x="92" y="0"/>
                    <a:pt x="92" y="0"/>
                    <a:pt x="92" y="0"/>
                  </a:cubicBezTo>
                  <a:cubicBezTo>
                    <a:pt x="92" y="0"/>
                    <a:pt x="92" y="0"/>
                    <a:pt x="92" y="0"/>
                  </a:cubicBezTo>
                  <a:cubicBezTo>
                    <a:pt x="92" y="0"/>
                    <a:pt x="92" y="0"/>
                    <a:pt x="92" y="0"/>
                  </a:cubicBezTo>
                  <a:cubicBezTo>
                    <a:pt x="92" y="0"/>
                    <a:pt x="92" y="0"/>
                    <a:pt x="92"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79" y="0"/>
                    <a:pt x="76" y="0"/>
                    <a:pt x="72" y="1"/>
                  </a:cubicBezTo>
                  <a:cubicBezTo>
                    <a:pt x="70" y="2"/>
                    <a:pt x="69" y="2"/>
                    <a:pt x="69" y="4"/>
                  </a:cubicBezTo>
                  <a:cubicBezTo>
                    <a:pt x="69" y="6"/>
                    <a:pt x="69" y="8"/>
                    <a:pt x="68" y="9"/>
                  </a:cubicBezTo>
                  <a:cubicBezTo>
                    <a:pt x="68" y="11"/>
                    <a:pt x="67" y="12"/>
                    <a:pt x="66" y="12"/>
                  </a:cubicBezTo>
                  <a:cubicBezTo>
                    <a:pt x="60" y="14"/>
                    <a:pt x="55" y="16"/>
                    <a:pt x="50" y="19"/>
                  </a:cubicBezTo>
                  <a:cubicBezTo>
                    <a:pt x="49" y="19"/>
                    <a:pt x="48" y="19"/>
                    <a:pt x="47" y="19"/>
                  </a:cubicBezTo>
                  <a:cubicBezTo>
                    <a:pt x="45" y="18"/>
                    <a:pt x="44" y="17"/>
                    <a:pt x="42" y="15"/>
                  </a:cubicBezTo>
                  <a:cubicBezTo>
                    <a:pt x="41" y="14"/>
                    <a:pt x="39" y="14"/>
                    <a:pt x="38" y="15"/>
                  </a:cubicBezTo>
                  <a:cubicBezTo>
                    <a:pt x="29" y="21"/>
                    <a:pt x="22" y="29"/>
                    <a:pt x="16" y="37"/>
                  </a:cubicBezTo>
                  <a:cubicBezTo>
                    <a:pt x="15" y="39"/>
                    <a:pt x="15" y="41"/>
                    <a:pt x="16" y="42"/>
                  </a:cubicBezTo>
                  <a:cubicBezTo>
                    <a:pt x="17" y="43"/>
                    <a:pt x="18" y="45"/>
                    <a:pt x="19" y="46"/>
                  </a:cubicBezTo>
                  <a:cubicBezTo>
                    <a:pt x="20" y="47"/>
                    <a:pt x="20" y="49"/>
                    <a:pt x="20" y="50"/>
                  </a:cubicBezTo>
                  <a:cubicBezTo>
                    <a:pt x="17" y="55"/>
                    <a:pt x="15" y="60"/>
                    <a:pt x="13" y="65"/>
                  </a:cubicBezTo>
                  <a:cubicBezTo>
                    <a:pt x="13" y="66"/>
                    <a:pt x="12" y="68"/>
                    <a:pt x="10" y="68"/>
                  </a:cubicBezTo>
                  <a:cubicBezTo>
                    <a:pt x="9" y="68"/>
                    <a:pt x="7" y="68"/>
                    <a:pt x="5" y="68"/>
                  </a:cubicBezTo>
                  <a:cubicBezTo>
                    <a:pt x="4" y="69"/>
                    <a:pt x="2" y="70"/>
                    <a:pt x="2" y="71"/>
                  </a:cubicBezTo>
                  <a:cubicBezTo>
                    <a:pt x="1" y="77"/>
                    <a:pt x="0" y="82"/>
                    <a:pt x="0" y="87"/>
                  </a:cubicBezTo>
                  <a:cubicBezTo>
                    <a:pt x="0" y="92"/>
                    <a:pt x="1" y="98"/>
                    <a:pt x="2" y="103"/>
                  </a:cubicBezTo>
                  <a:cubicBezTo>
                    <a:pt x="2" y="104"/>
                    <a:pt x="4" y="105"/>
                    <a:pt x="5" y="106"/>
                  </a:cubicBezTo>
                  <a:cubicBezTo>
                    <a:pt x="7" y="106"/>
                    <a:pt x="9" y="106"/>
                    <a:pt x="10" y="106"/>
                  </a:cubicBezTo>
                  <a:cubicBezTo>
                    <a:pt x="12" y="107"/>
                    <a:pt x="13" y="108"/>
                    <a:pt x="13" y="109"/>
                  </a:cubicBezTo>
                  <a:cubicBezTo>
                    <a:pt x="15" y="114"/>
                    <a:pt x="17" y="119"/>
                    <a:pt x="20" y="124"/>
                  </a:cubicBezTo>
                  <a:cubicBezTo>
                    <a:pt x="20" y="126"/>
                    <a:pt x="20" y="127"/>
                    <a:pt x="19" y="128"/>
                  </a:cubicBezTo>
                  <a:cubicBezTo>
                    <a:pt x="18" y="130"/>
                    <a:pt x="17" y="131"/>
                    <a:pt x="16" y="132"/>
                  </a:cubicBezTo>
                  <a:cubicBezTo>
                    <a:pt x="15" y="134"/>
                    <a:pt x="15" y="135"/>
                    <a:pt x="16" y="137"/>
                  </a:cubicBezTo>
                  <a:cubicBezTo>
                    <a:pt x="22" y="145"/>
                    <a:pt x="29" y="153"/>
                    <a:pt x="38" y="159"/>
                  </a:cubicBezTo>
                  <a:cubicBezTo>
                    <a:pt x="39" y="160"/>
                    <a:pt x="41" y="160"/>
                    <a:pt x="42" y="159"/>
                  </a:cubicBezTo>
                  <a:cubicBezTo>
                    <a:pt x="44" y="157"/>
                    <a:pt x="46" y="156"/>
                    <a:pt x="47" y="155"/>
                  </a:cubicBezTo>
                  <a:cubicBezTo>
                    <a:pt x="48" y="155"/>
                    <a:pt x="49" y="155"/>
                    <a:pt x="51" y="155"/>
                  </a:cubicBezTo>
                  <a:cubicBezTo>
                    <a:pt x="55" y="158"/>
                    <a:pt x="60" y="160"/>
                    <a:pt x="66" y="162"/>
                  </a:cubicBezTo>
                  <a:cubicBezTo>
                    <a:pt x="67" y="162"/>
                    <a:pt x="68" y="163"/>
                    <a:pt x="68" y="165"/>
                  </a:cubicBezTo>
                  <a:cubicBezTo>
                    <a:pt x="69" y="166"/>
                    <a:pt x="69" y="168"/>
                    <a:pt x="69" y="170"/>
                  </a:cubicBezTo>
                  <a:cubicBezTo>
                    <a:pt x="69" y="171"/>
                    <a:pt x="70" y="173"/>
                    <a:pt x="72" y="173"/>
                  </a:cubicBezTo>
                  <a:cubicBezTo>
                    <a:pt x="76" y="174"/>
                    <a:pt x="79" y="174"/>
                    <a:pt x="83" y="174"/>
                  </a:cubicBezTo>
                  <a:cubicBezTo>
                    <a:pt x="83" y="174"/>
                    <a:pt x="83" y="174"/>
                    <a:pt x="83" y="174"/>
                  </a:cubicBezTo>
                  <a:cubicBezTo>
                    <a:pt x="92" y="174"/>
                    <a:pt x="92" y="174"/>
                    <a:pt x="92" y="174"/>
                  </a:cubicBezTo>
                  <a:cubicBezTo>
                    <a:pt x="92" y="174"/>
                    <a:pt x="92" y="174"/>
                    <a:pt x="92" y="174"/>
                  </a:cubicBezTo>
                  <a:cubicBezTo>
                    <a:pt x="96" y="174"/>
                    <a:pt x="100" y="174"/>
                    <a:pt x="103" y="173"/>
                  </a:cubicBezTo>
                  <a:cubicBezTo>
                    <a:pt x="105" y="173"/>
                    <a:pt x="106" y="171"/>
                    <a:pt x="106" y="170"/>
                  </a:cubicBezTo>
                  <a:cubicBezTo>
                    <a:pt x="107" y="168"/>
                    <a:pt x="107" y="166"/>
                    <a:pt x="107" y="165"/>
                  </a:cubicBezTo>
                  <a:cubicBezTo>
                    <a:pt x="107" y="163"/>
                    <a:pt x="108" y="162"/>
                    <a:pt x="110" y="162"/>
                  </a:cubicBezTo>
                  <a:cubicBezTo>
                    <a:pt x="113" y="161"/>
                    <a:pt x="116" y="160"/>
                    <a:pt x="118" y="159"/>
                  </a:cubicBezTo>
                  <a:lnTo>
                    <a:pt x="116" y="156"/>
                  </a:ln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4" name="Freeform 65">
              <a:extLst>
                <a:ext uri="{FF2B5EF4-FFF2-40B4-BE49-F238E27FC236}">
                  <a16:creationId xmlns:a16="http://schemas.microsoft.com/office/drawing/2014/main" id="{AA7DD105-D11B-4F62-BBF8-D61010BBA640}"/>
                </a:ext>
              </a:extLst>
            </p:cNvPr>
            <p:cNvSpPr>
              <a:spLocks noEditPoints="1"/>
            </p:cNvSpPr>
            <p:nvPr/>
          </p:nvSpPr>
          <p:spPr bwMode="auto">
            <a:xfrm>
              <a:off x="11145884" y="5343419"/>
              <a:ext cx="107806" cy="107806"/>
            </a:xfrm>
            <a:custGeom>
              <a:avLst/>
              <a:gdLst>
                <a:gd name="T0" fmla="*/ 18 w 36"/>
                <a:gd name="T1" fmla="*/ 0 h 36"/>
                <a:gd name="T2" fmla="*/ 0 w 36"/>
                <a:gd name="T3" fmla="*/ 18 h 36"/>
                <a:gd name="T4" fmla="*/ 18 w 36"/>
                <a:gd name="T5" fmla="*/ 36 h 36"/>
                <a:gd name="T6" fmla="*/ 36 w 36"/>
                <a:gd name="T7" fmla="*/ 18 h 36"/>
                <a:gd name="T8" fmla="*/ 18 w 36"/>
                <a:gd name="T9" fmla="*/ 0 h 36"/>
                <a:gd name="T10" fmla="*/ 18 w 36"/>
                <a:gd name="T11" fmla="*/ 30 h 36"/>
                <a:gd name="T12" fmla="*/ 6 w 36"/>
                <a:gd name="T13" fmla="*/ 18 h 36"/>
                <a:gd name="T14" fmla="*/ 18 w 36"/>
                <a:gd name="T15" fmla="*/ 6 h 36"/>
                <a:gd name="T16" fmla="*/ 30 w 36"/>
                <a:gd name="T17" fmla="*/ 18 h 36"/>
                <a:gd name="T18" fmla="*/ 18 w 36"/>
                <a:gd name="T19"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0"/>
                  </a:moveTo>
                  <a:cubicBezTo>
                    <a:pt x="8" y="0"/>
                    <a:pt x="0" y="8"/>
                    <a:pt x="0" y="18"/>
                  </a:cubicBezTo>
                  <a:cubicBezTo>
                    <a:pt x="0" y="28"/>
                    <a:pt x="8" y="36"/>
                    <a:pt x="18" y="36"/>
                  </a:cubicBezTo>
                  <a:cubicBezTo>
                    <a:pt x="28" y="36"/>
                    <a:pt x="36" y="28"/>
                    <a:pt x="36" y="18"/>
                  </a:cubicBezTo>
                  <a:cubicBezTo>
                    <a:pt x="36" y="8"/>
                    <a:pt x="28" y="0"/>
                    <a:pt x="18" y="0"/>
                  </a:cubicBezTo>
                  <a:close/>
                  <a:moveTo>
                    <a:pt x="18" y="30"/>
                  </a:moveTo>
                  <a:cubicBezTo>
                    <a:pt x="12" y="30"/>
                    <a:pt x="6" y="25"/>
                    <a:pt x="6" y="18"/>
                  </a:cubicBezTo>
                  <a:cubicBezTo>
                    <a:pt x="6" y="11"/>
                    <a:pt x="12" y="6"/>
                    <a:pt x="18" y="6"/>
                  </a:cubicBezTo>
                  <a:cubicBezTo>
                    <a:pt x="25" y="6"/>
                    <a:pt x="30" y="11"/>
                    <a:pt x="30" y="18"/>
                  </a:cubicBezTo>
                  <a:cubicBezTo>
                    <a:pt x="30" y="25"/>
                    <a:pt x="25" y="30"/>
                    <a:pt x="18" y="3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5" name="Freeform 66">
              <a:extLst>
                <a:ext uri="{FF2B5EF4-FFF2-40B4-BE49-F238E27FC236}">
                  <a16:creationId xmlns:a16="http://schemas.microsoft.com/office/drawing/2014/main" id="{3E611459-62F8-4A43-9F12-36983C839CD4}"/>
                </a:ext>
              </a:extLst>
            </p:cNvPr>
            <p:cNvSpPr>
              <a:spLocks noEditPoints="1"/>
            </p:cNvSpPr>
            <p:nvPr/>
          </p:nvSpPr>
          <p:spPr bwMode="auto">
            <a:xfrm>
              <a:off x="10860399" y="5343419"/>
              <a:ext cx="267518" cy="107806"/>
            </a:xfrm>
            <a:custGeom>
              <a:avLst/>
              <a:gdLst>
                <a:gd name="T0" fmla="*/ 89 w 89"/>
                <a:gd name="T1" fmla="*/ 18 h 36"/>
                <a:gd name="T2" fmla="*/ 89 w 89"/>
                <a:gd name="T3" fmla="*/ 15 h 36"/>
                <a:gd name="T4" fmla="*/ 36 w 89"/>
                <a:gd name="T5" fmla="*/ 15 h 36"/>
                <a:gd name="T6" fmla="*/ 18 w 89"/>
                <a:gd name="T7" fmla="*/ 0 h 36"/>
                <a:gd name="T8" fmla="*/ 0 w 89"/>
                <a:gd name="T9" fmla="*/ 18 h 36"/>
                <a:gd name="T10" fmla="*/ 18 w 89"/>
                <a:gd name="T11" fmla="*/ 36 h 36"/>
                <a:gd name="T12" fmla="*/ 36 w 89"/>
                <a:gd name="T13" fmla="*/ 22 h 36"/>
                <a:gd name="T14" fmla="*/ 89 w 89"/>
                <a:gd name="T15" fmla="*/ 22 h 36"/>
                <a:gd name="T16" fmla="*/ 89 w 89"/>
                <a:gd name="T17" fmla="*/ 18 h 36"/>
                <a:gd name="T18" fmla="*/ 18 w 89"/>
                <a:gd name="T19" fmla="*/ 30 h 36"/>
                <a:gd name="T20" fmla="*/ 6 w 89"/>
                <a:gd name="T21" fmla="*/ 18 h 36"/>
                <a:gd name="T22" fmla="*/ 18 w 89"/>
                <a:gd name="T23" fmla="*/ 6 h 36"/>
                <a:gd name="T24" fmla="*/ 31 w 89"/>
                <a:gd name="T25" fmla="*/ 18 h 36"/>
                <a:gd name="T26" fmla="*/ 18 w 89"/>
                <a:gd name="T27"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36">
                  <a:moveTo>
                    <a:pt x="89" y="18"/>
                  </a:moveTo>
                  <a:cubicBezTo>
                    <a:pt x="89" y="17"/>
                    <a:pt x="89" y="16"/>
                    <a:pt x="89" y="15"/>
                  </a:cubicBezTo>
                  <a:cubicBezTo>
                    <a:pt x="36" y="15"/>
                    <a:pt x="36" y="15"/>
                    <a:pt x="36" y="15"/>
                  </a:cubicBezTo>
                  <a:cubicBezTo>
                    <a:pt x="35" y="6"/>
                    <a:pt x="27" y="0"/>
                    <a:pt x="18" y="0"/>
                  </a:cubicBezTo>
                  <a:cubicBezTo>
                    <a:pt x="8" y="0"/>
                    <a:pt x="0" y="8"/>
                    <a:pt x="0" y="18"/>
                  </a:cubicBezTo>
                  <a:cubicBezTo>
                    <a:pt x="0" y="28"/>
                    <a:pt x="8" y="36"/>
                    <a:pt x="18" y="36"/>
                  </a:cubicBezTo>
                  <a:cubicBezTo>
                    <a:pt x="27" y="36"/>
                    <a:pt x="35" y="30"/>
                    <a:pt x="36" y="22"/>
                  </a:cubicBezTo>
                  <a:cubicBezTo>
                    <a:pt x="89" y="22"/>
                    <a:pt x="89" y="22"/>
                    <a:pt x="89" y="22"/>
                  </a:cubicBezTo>
                  <a:cubicBezTo>
                    <a:pt x="89" y="20"/>
                    <a:pt x="89" y="19"/>
                    <a:pt x="89" y="18"/>
                  </a:cubicBezTo>
                  <a:close/>
                  <a:moveTo>
                    <a:pt x="18" y="30"/>
                  </a:moveTo>
                  <a:cubicBezTo>
                    <a:pt x="12" y="30"/>
                    <a:pt x="6" y="25"/>
                    <a:pt x="6" y="18"/>
                  </a:cubicBezTo>
                  <a:cubicBezTo>
                    <a:pt x="6" y="11"/>
                    <a:pt x="12" y="6"/>
                    <a:pt x="18" y="6"/>
                  </a:cubicBezTo>
                  <a:cubicBezTo>
                    <a:pt x="25" y="6"/>
                    <a:pt x="31" y="11"/>
                    <a:pt x="31" y="18"/>
                  </a:cubicBezTo>
                  <a:cubicBezTo>
                    <a:pt x="31" y="25"/>
                    <a:pt x="25" y="30"/>
                    <a:pt x="18" y="3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6" name="Freeform 67">
              <a:extLst>
                <a:ext uri="{FF2B5EF4-FFF2-40B4-BE49-F238E27FC236}">
                  <a16:creationId xmlns:a16="http://schemas.microsoft.com/office/drawing/2014/main" id="{A2DC325B-2D55-48D6-A5E7-026F6AB1A430}"/>
                </a:ext>
              </a:extLst>
            </p:cNvPr>
            <p:cNvSpPr>
              <a:spLocks noEditPoints="1"/>
            </p:cNvSpPr>
            <p:nvPr/>
          </p:nvSpPr>
          <p:spPr bwMode="auto">
            <a:xfrm>
              <a:off x="11058043" y="5243599"/>
              <a:ext cx="111799" cy="111799"/>
            </a:xfrm>
            <a:custGeom>
              <a:avLst/>
              <a:gdLst>
                <a:gd name="T0" fmla="*/ 18 w 37"/>
                <a:gd name="T1" fmla="*/ 0 h 37"/>
                <a:gd name="T2" fmla="*/ 0 w 37"/>
                <a:gd name="T3" fmla="*/ 18 h 37"/>
                <a:gd name="T4" fmla="*/ 18 w 37"/>
                <a:gd name="T5" fmla="*/ 37 h 37"/>
                <a:gd name="T6" fmla="*/ 37 w 37"/>
                <a:gd name="T7" fmla="*/ 18 h 37"/>
                <a:gd name="T8" fmla="*/ 18 w 37"/>
                <a:gd name="T9" fmla="*/ 0 h 37"/>
                <a:gd name="T10" fmla="*/ 18 w 37"/>
                <a:gd name="T11" fmla="*/ 31 h 37"/>
                <a:gd name="T12" fmla="*/ 6 w 37"/>
                <a:gd name="T13" fmla="*/ 18 h 37"/>
                <a:gd name="T14" fmla="*/ 18 w 37"/>
                <a:gd name="T15" fmla="*/ 6 h 37"/>
                <a:gd name="T16" fmla="*/ 31 w 37"/>
                <a:gd name="T17" fmla="*/ 18 h 37"/>
                <a:gd name="T18" fmla="*/ 18 w 37"/>
                <a:gd name="T19"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7">
                  <a:moveTo>
                    <a:pt x="18" y="0"/>
                  </a:moveTo>
                  <a:cubicBezTo>
                    <a:pt x="8" y="0"/>
                    <a:pt x="0" y="8"/>
                    <a:pt x="0" y="18"/>
                  </a:cubicBezTo>
                  <a:cubicBezTo>
                    <a:pt x="0" y="28"/>
                    <a:pt x="8" y="37"/>
                    <a:pt x="18" y="37"/>
                  </a:cubicBezTo>
                  <a:cubicBezTo>
                    <a:pt x="28" y="37"/>
                    <a:pt x="37" y="28"/>
                    <a:pt x="37" y="18"/>
                  </a:cubicBezTo>
                  <a:cubicBezTo>
                    <a:pt x="37" y="8"/>
                    <a:pt x="28" y="0"/>
                    <a:pt x="18" y="0"/>
                  </a:cubicBezTo>
                  <a:close/>
                  <a:moveTo>
                    <a:pt x="18" y="31"/>
                  </a:moveTo>
                  <a:cubicBezTo>
                    <a:pt x="12" y="31"/>
                    <a:pt x="6" y="25"/>
                    <a:pt x="6" y="18"/>
                  </a:cubicBezTo>
                  <a:cubicBezTo>
                    <a:pt x="6" y="12"/>
                    <a:pt x="12" y="6"/>
                    <a:pt x="18" y="6"/>
                  </a:cubicBezTo>
                  <a:cubicBezTo>
                    <a:pt x="25" y="6"/>
                    <a:pt x="31" y="12"/>
                    <a:pt x="31" y="18"/>
                  </a:cubicBezTo>
                  <a:cubicBezTo>
                    <a:pt x="31" y="25"/>
                    <a:pt x="25" y="31"/>
                    <a:pt x="18" y="3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7" name="Freeform 68">
              <a:extLst>
                <a:ext uri="{FF2B5EF4-FFF2-40B4-BE49-F238E27FC236}">
                  <a16:creationId xmlns:a16="http://schemas.microsoft.com/office/drawing/2014/main" id="{C62E3BEC-7370-43B1-801C-4A811986F510}"/>
                </a:ext>
              </a:extLst>
            </p:cNvPr>
            <p:cNvSpPr>
              <a:spLocks noEditPoints="1"/>
            </p:cNvSpPr>
            <p:nvPr/>
          </p:nvSpPr>
          <p:spPr bwMode="auto">
            <a:xfrm>
              <a:off x="11109949" y="5125812"/>
              <a:ext cx="109803" cy="109803"/>
            </a:xfrm>
            <a:custGeom>
              <a:avLst/>
              <a:gdLst>
                <a:gd name="T0" fmla="*/ 19 w 37"/>
                <a:gd name="T1" fmla="*/ 0 h 36"/>
                <a:gd name="T2" fmla="*/ 0 w 37"/>
                <a:gd name="T3" fmla="*/ 18 h 36"/>
                <a:gd name="T4" fmla="*/ 19 w 37"/>
                <a:gd name="T5" fmla="*/ 36 h 36"/>
                <a:gd name="T6" fmla="*/ 37 w 37"/>
                <a:gd name="T7" fmla="*/ 18 h 36"/>
                <a:gd name="T8" fmla="*/ 19 w 37"/>
                <a:gd name="T9" fmla="*/ 0 h 36"/>
                <a:gd name="T10" fmla="*/ 19 w 37"/>
                <a:gd name="T11" fmla="*/ 30 h 36"/>
                <a:gd name="T12" fmla="*/ 6 w 37"/>
                <a:gd name="T13" fmla="*/ 18 h 36"/>
                <a:gd name="T14" fmla="*/ 19 w 37"/>
                <a:gd name="T15" fmla="*/ 6 h 36"/>
                <a:gd name="T16" fmla="*/ 31 w 37"/>
                <a:gd name="T17" fmla="*/ 18 h 36"/>
                <a:gd name="T18" fmla="*/ 19 w 37"/>
                <a:gd name="T19"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0"/>
                  </a:moveTo>
                  <a:cubicBezTo>
                    <a:pt x="9" y="0"/>
                    <a:pt x="0" y="8"/>
                    <a:pt x="0" y="18"/>
                  </a:cubicBezTo>
                  <a:cubicBezTo>
                    <a:pt x="0" y="28"/>
                    <a:pt x="9" y="36"/>
                    <a:pt x="19" y="36"/>
                  </a:cubicBezTo>
                  <a:cubicBezTo>
                    <a:pt x="29" y="36"/>
                    <a:pt x="37" y="28"/>
                    <a:pt x="37" y="18"/>
                  </a:cubicBezTo>
                  <a:cubicBezTo>
                    <a:pt x="37" y="8"/>
                    <a:pt x="29" y="0"/>
                    <a:pt x="19" y="0"/>
                  </a:cubicBezTo>
                  <a:close/>
                  <a:moveTo>
                    <a:pt x="19" y="30"/>
                  </a:moveTo>
                  <a:cubicBezTo>
                    <a:pt x="12" y="30"/>
                    <a:pt x="6" y="24"/>
                    <a:pt x="6" y="18"/>
                  </a:cubicBezTo>
                  <a:cubicBezTo>
                    <a:pt x="6" y="11"/>
                    <a:pt x="12" y="6"/>
                    <a:pt x="19" y="6"/>
                  </a:cubicBezTo>
                  <a:cubicBezTo>
                    <a:pt x="25" y="6"/>
                    <a:pt x="31" y="11"/>
                    <a:pt x="31" y="18"/>
                  </a:cubicBezTo>
                  <a:cubicBezTo>
                    <a:pt x="31" y="24"/>
                    <a:pt x="25" y="30"/>
                    <a:pt x="19" y="3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8" name="Freeform 69">
              <a:extLst>
                <a:ext uri="{FF2B5EF4-FFF2-40B4-BE49-F238E27FC236}">
                  <a16:creationId xmlns:a16="http://schemas.microsoft.com/office/drawing/2014/main" id="{5A32E4D7-1B73-45A0-BAB2-3CF6E3B41181}"/>
                </a:ext>
              </a:extLst>
            </p:cNvPr>
            <p:cNvSpPr>
              <a:spLocks noEditPoints="1"/>
            </p:cNvSpPr>
            <p:nvPr/>
          </p:nvSpPr>
          <p:spPr bwMode="auto">
            <a:xfrm>
              <a:off x="11058043" y="5443239"/>
              <a:ext cx="111799" cy="107806"/>
            </a:xfrm>
            <a:custGeom>
              <a:avLst/>
              <a:gdLst>
                <a:gd name="T0" fmla="*/ 37 w 37"/>
                <a:gd name="T1" fmla="*/ 18 h 36"/>
                <a:gd name="T2" fmla="*/ 18 w 37"/>
                <a:gd name="T3" fmla="*/ 0 h 36"/>
                <a:gd name="T4" fmla="*/ 0 w 37"/>
                <a:gd name="T5" fmla="*/ 18 h 36"/>
                <a:gd name="T6" fmla="*/ 18 w 37"/>
                <a:gd name="T7" fmla="*/ 36 h 36"/>
                <a:gd name="T8" fmla="*/ 37 w 37"/>
                <a:gd name="T9" fmla="*/ 18 h 36"/>
                <a:gd name="T10" fmla="*/ 31 w 37"/>
                <a:gd name="T11" fmla="*/ 18 h 36"/>
                <a:gd name="T12" fmla="*/ 18 w 37"/>
                <a:gd name="T13" fmla="*/ 30 h 36"/>
                <a:gd name="T14" fmla="*/ 6 w 37"/>
                <a:gd name="T15" fmla="*/ 18 h 36"/>
                <a:gd name="T16" fmla="*/ 18 w 37"/>
                <a:gd name="T17" fmla="*/ 6 h 36"/>
                <a:gd name="T18" fmla="*/ 31 w 37"/>
                <a:gd name="T1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37" y="18"/>
                  </a:moveTo>
                  <a:cubicBezTo>
                    <a:pt x="37" y="8"/>
                    <a:pt x="28" y="0"/>
                    <a:pt x="18" y="0"/>
                  </a:cubicBezTo>
                  <a:cubicBezTo>
                    <a:pt x="8" y="0"/>
                    <a:pt x="0" y="8"/>
                    <a:pt x="0" y="18"/>
                  </a:cubicBezTo>
                  <a:cubicBezTo>
                    <a:pt x="0" y="28"/>
                    <a:pt x="8" y="36"/>
                    <a:pt x="18" y="36"/>
                  </a:cubicBezTo>
                  <a:cubicBezTo>
                    <a:pt x="28" y="36"/>
                    <a:pt x="37" y="28"/>
                    <a:pt x="37" y="18"/>
                  </a:cubicBezTo>
                  <a:close/>
                  <a:moveTo>
                    <a:pt x="31" y="18"/>
                  </a:moveTo>
                  <a:cubicBezTo>
                    <a:pt x="31" y="25"/>
                    <a:pt x="25" y="30"/>
                    <a:pt x="18" y="30"/>
                  </a:cubicBezTo>
                  <a:cubicBezTo>
                    <a:pt x="12" y="30"/>
                    <a:pt x="6" y="25"/>
                    <a:pt x="6" y="18"/>
                  </a:cubicBezTo>
                  <a:cubicBezTo>
                    <a:pt x="6" y="11"/>
                    <a:pt x="12" y="6"/>
                    <a:pt x="18" y="6"/>
                  </a:cubicBezTo>
                  <a:cubicBezTo>
                    <a:pt x="25" y="6"/>
                    <a:pt x="31" y="11"/>
                    <a:pt x="31" y="1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9" name="Freeform 70">
              <a:extLst>
                <a:ext uri="{FF2B5EF4-FFF2-40B4-BE49-F238E27FC236}">
                  <a16:creationId xmlns:a16="http://schemas.microsoft.com/office/drawing/2014/main" id="{1E4C2E64-309E-444F-A715-2D21D1891D9D}"/>
                </a:ext>
              </a:extLst>
            </p:cNvPr>
            <p:cNvSpPr>
              <a:spLocks noEditPoints="1"/>
            </p:cNvSpPr>
            <p:nvPr/>
          </p:nvSpPr>
          <p:spPr bwMode="auto">
            <a:xfrm>
              <a:off x="11109949" y="5563023"/>
              <a:ext cx="109803" cy="107806"/>
            </a:xfrm>
            <a:custGeom>
              <a:avLst/>
              <a:gdLst>
                <a:gd name="T0" fmla="*/ 37 w 37"/>
                <a:gd name="T1" fmla="*/ 18 h 36"/>
                <a:gd name="T2" fmla="*/ 19 w 37"/>
                <a:gd name="T3" fmla="*/ 0 h 36"/>
                <a:gd name="T4" fmla="*/ 0 w 37"/>
                <a:gd name="T5" fmla="*/ 18 h 36"/>
                <a:gd name="T6" fmla="*/ 19 w 37"/>
                <a:gd name="T7" fmla="*/ 36 h 36"/>
                <a:gd name="T8" fmla="*/ 37 w 37"/>
                <a:gd name="T9" fmla="*/ 18 h 36"/>
                <a:gd name="T10" fmla="*/ 31 w 37"/>
                <a:gd name="T11" fmla="*/ 18 h 36"/>
                <a:gd name="T12" fmla="*/ 19 w 37"/>
                <a:gd name="T13" fmla="*/ 30 h 36"/>
                <a:gd name="T14" fmla="*/ 6 w 37"/>
                <a:gd name="T15" fmla="*/ 18 h 36"/>
                <a:gd name="T16" fmla="*/ 19 w 37"/>
                <a:gd name="T17" fmla="*/ 6 h 36"/>
                <a:gd name="T18" fmla="*/ 31 w 37"/>
                <a:gd name="T1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37" y="18"/>
                  </a:moveTo>
                  <a:cubicBezTo>
                    <a:pt x="37" y="8"/>
                    <a:pt x="29" y="0"/>
                    <a:pt x="19" y="0"/>
                  </a:cubicBezTo>
                  <a:cubicBezTo>
                    <a:pt x="9" y="0"/>
                    <a:pt x="0" y="8"/>
                    <a:pt x="0" y="18"/>
                  </a:cubicBezTo>
                  <a:cubicBezTo>
                    <a:pt x="0" y="28"/>
                    <a:pt x="9" y="36"/>
                    <a:pt x="19" y="36"/>
                  </a:cubicBezTo>
                  <a:cubicBezTo>
                    <a:pt x="29" y="36"/>
                    <a:pt x="37" y="28"/>
                    <a:pt x="37" y="18"/>
                  </a:cubicBezTo>
                  <a:close/>
                  <a:moveTo>
                    <a:pt x="31" y="18"/>
                  </a:moveTo>
                  <a:cubicBezTo>
                    <a:pt x="31" y="25"/>
                    <a:pt x="25" y="30"/>
                    <a:pt x="19" y="30"/>
                  </a:cubicBezTo>
                  <a:cubicBezTo>
                    <a:pt x="12" y="30"/>
                    <a:pt x="6" y="25"/>
                    <a:pt x="6" y="18"/>
                  </a:cubicBezTo>
                  <a:cubicBezTo>
                    <a:pt x="6" y="11"/>
                    <a:pt x="12" y="6"/>
                    <a:pt x="19" y="6"/>
                  </a:cubicBezTo>
                  <a:cubicBezTo>
                    <a:pt x="25" y="6"/>
                    <a:pt x="31" y="11"/>
                    <a:pt x="31" y="1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0" name="Freeform 71">
              <a:extLst>
                <a:ext uri="{FF2B5EF4-FFF2-40B4-BE49-F238E27FC236}">
                  <a16:creationId xmlns:a16="http://schemas.microsoft.com/office/drawing/2014/main" id="{FD0A9A6B-B59F-4B24-9AE0-2AEBEB91AA10}"/>
                </a:ext>
              </a:extLst>
            </p:cNvPr>
            <p:cNvSpPr>
              <a:spLocks/>
            </p:cNvSpPr>
            <p:nvPr/>
          </p:nvSpPr>
          <p:spPr bwMode="auto">
            <a:xfrm>
              <a:off x="10952234" y="5289517"/>
              <a:ext cx="91835" cy="59892"/>
            </a:xfrm>
            <a:custGeom>
              <a:avLst/>
              <a:gdLst>
                <a:gd name="T0" fmla="*/ 29 w 30"/>
                <a:gd name="T1" fmla="*/ 3 h 20"/>
                <a:gd name="T2" fmla="*/ 30 w 30"/>
                <a:gd name="T3" fmla="*/ 0 h 20"/>
                <a:gd name="T4" fmla="*/ 15 w 30"/>
                <a:gd name="T5" fmla="*/ 0 h 20"/>
                <a:gd name="T6" fmla="*/ 0 w 30"/>
                <a:gd name="T7" fmla="*/ 15 h 20"/>
                <a:gd name="T8" fmla="*/ 5 w 30"/>
                <a:gd name="T9" fmla="*/ 20 h 20"/>
                <a:gd name="T10" fmla="*/ 18 w 30"/>
                <a:gd name="T11" fmla="*/ 7 h 20"/>
                <a:gd name="T12" fmla="*/ 30 w 30"/>
                <a:gd name="T13" fmla="*/ 7 h 20"/>
                <a:gd name="T14" fmla="*/ 29 w 30"/>
                <a:gd name="T15" fmla="*/ 3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0">
                  <a:moveTo>
                    <a:pt x="29" y="3"/>
                  </a:moveTo>
                  <a:cubicBezTo>
                    <a:pt x="29" y="2"/>
                    <a:pt x="29" y="1"/>
                    <a:pt x="30" y="0"/>
                  </a:cubicBezTo>
                  <a:cubicBezTo>
                    <a:pt x="15" y="0"/>
                    <a:pt x="15" y="0"/>
                    <a:pt x="15" y="0"/>
                  </a:cubicBezTo>
                  <a:cubicBezTo>
                    <a:pt x="0" y="15"/>
                    <a:pt x="0" y="15"/>
                    <a:pt x="0" y="15"/>
                  </a:cubicBezTo>
                  <a:cubicBezTo>
                    <a:pt x="2" y="16"/>
                    <a:pt x="4" y="18"/>
                    <a:pt x="5" y="20"/>
                  </a:cubicBezTo>
                  <a:cubicBezTo>
                    <a:pt x="18" y="7"/>
                    <a:pt x="18" y="7"/>
                    <a:pt x="18" y="7"/>
                  </a:cubicBezTo>
                  <a:cubicBezTo>
                    <a:pt x="30" y="7"/>
                    <a:pt x="30" y="7"/>
                    <a:pt x="30" y="7"/>
                  </a:cubicBezTo>
                  <a:cubicBezTo>
                    <a:pt x="29" y="6"/>
                    <a:pt x="29" y="5"/>
                    <a:pt x="29" y="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1" name="Freeform 72">
              <a:extLst>
                <a:ext uri="{FF2B5EF4-FFF2-40B4-BE49-F238E27FC236}">
                  <a16:creationId xmlns:a16="http://schemas.microsoft.com/office/drawing/2014/main" id="{3F637029-2AB1-4F35-B8AD-6EBCB1419516}"/>
                </a:ext>
              </a:extLst>
            </p:cNvPr>
            <p:cNvSpPr>
              <a:spLocks/>
            </p:cNvSpPr>
            <p:nvPr/>
          </p:nvSpPr>
          <p:spPr bwMode="auto">
            <a:xfrm>
              <a:off x="11016119" y="5167736"/>
              <a:ext cx="77860" cy="99820"/>
            </a:xfrm>
            <a:custGeom>
              <a:avLst/>
              <a:gdLst>
                <a:gd name="T0" fmla="*/ 26 w 26"/>
                <a:gd name="T1" fmla="*/ 0 h 33"/>
                <a:gd name="T2" fmla="*/ 11 w 26"/>
                <a:gd name="T3" fmla="*/ 0 h 33"/>
                <a:gd name="T4" fmla="*/ 0 w 26"/>
                <a:gd name="T5" fmla="*/ 12 h 33"/>
                <a:gd name="T6" fmla="*/ 0 w 26"/>
                <a:gd name="T7" fmla="*/ 33 h 33"/>
                <a:gd name="T8" fmla="*/ 7 w 26"/>
                <a:gd name="T9" fmla="*/ 33 h 33"/>
                <a:gd name="T10" fmla="*/ 7 w 26"/>
                <a:gd name="T11" fmla="*/ 15 h 33"/>
                <a:gd name="T12" fmla="*/ 14 w 26"/>
                <a:gd name="T13" fmla="*/ 7 h 33"/>
                <a:gd name="T14" fmla="*/ 26 w 26"/>
                <a:gd name="T15" fmla="*/ 7 h 33"/>
                <a:gd name="T16" fmla="*/ 25 w 26"/>
                <a:gd name="T17" fmla="*/ 4 h 33"/>
                <a:gd name="T18" fmla="*/ 26 w 26"/>
                <a:gd name="T1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3">
                  <a:moveTo>
                    <a:pt x="26" y="0"/>
                  </a:moveTo>
                  <a:cubicBezTo>
                    <a:pt x="11" y="0"/>
                    <a:pt x="11" y="0"/>
                    <a:pt x="11" y="0"/>
                  </a:cubicBezTo>
                  <a:cubicBezTo>
                    <a:pt x="0" y="12"/>
                    <a:pt x="0" y="12"/>
                    <a:pt x="0" y="12"/>
                  </a:cubicBezTo>
                  <a:cubicBezTo>
                    <a:pt x="0" y="33"/>
                    <a:pt x="0" y="33"/>
                    <a:pt x="0" y="33"/>
                  </a:cubicBezTo>
                  <a:cubicBezTo>
                    <a:pt x="7" y="33"/>
                    <a:pt x="7" y="33"/>
                    <a:pt x="7" y="33"/>
                  </a:cubicBezTo>
                  <a:cubicBezTo>
                    <a:pt x="7" y="15"/>
                    <a:pt x="7" y="15"/>
                    <a:pt x="7" y="15"/>
                  </a:cubicBezTo>
                  <a:cubicBezTo>
                    <a:pt x="14" y="7"/>
                    <a:pt x="14" y="7"/>
                    <a:pt x="14" y="7"/>
                  </a:cubicBezTo>
                  <a:cubicBezTo>
                    <a:pt x="26" y="7"/>
                    <a:pt x="26" y="7"/>
                    <a:pt x="26" y="7"/>
                  </a:cubicBezTo>
                  <a:cubicBezTo>
                    <a:pt x="26" y="6"/>
                    <a:pt x="25" y="5"/>
                    <a:pt x="25" y="4"/>
                  </a:cubicBezTo>
                  <a:cubicBezTo>
                    <a:pt x="25" y="3"/>
                    <a:pt x="26" y="1"/>
                    <a:pt x="26"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2" name="Freeform 73">
              <a:extLst>
                <a:ext uri="{FF2B5EF4-FFF2-40B4-BE49-F238E27FC236}">
                  <a16:creationId xmlns:a16="http://schemas.microsoft.com/office/drawing/2014/main" id="{532564EB-D3C9-4306-9893-CFD4719A4260}"/>
                </a:ext>
              </a:extLst>
            </p:cNvPr>
            <p:cNvSpPr>
              <a:spLocks/>
            </p:cNvSpPr>
            <p:nvPr/>
          </p:nvSpPr>
          <p:spPr bwMode="auto">
            <a:xfrm>
              <a:off x="10952234" y="5445237"/>
              <a:ext cx="91835" cy="59892"/>
            </a:xfrm>
            <a:custGeom>
              <a:avLst/>
              <a:gdLst>
                <a:gd name="T0" fmla="*/ 29 w 30"/>
                <a:gd name="T1" fmla="*/ 17 h 20"/>
                <a:gd name="T2" fmla="*/ 30 w 30"/>
                <a:gd name="T3" fmla="*/ 20 h 20"/>
                <a:gd name="T4" fmla="*/ 15 w 30"/>
                <a:gd name="T5" fmla="*/ 20 h 20"/>
                <a:gd name="T6" fmla="*/ 0 w 30"/>
                <a:gd name="T7" fmla="*/ 5 h 20"/>
                <a:gd name="T8" fmla="*/ 5 w 30"/>
                <a:gd name="T9" fmla="*/ 0 h 20"/>
                <a:gd name="T10" fmla="*/ 18 w 30"/>
                <a:gd name="T11" fmla="*/ 13 h 20"/>
                <a:gd name="T12" fmla="*/ 30 w 30"/>
                <a:gd name="T13" fmla="*/ 13 h 20"/>
                <a:gd name="T14" fmla="*/ 29 w 30"/>
                <a:gd name="T15" fmla="*/ 17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0">
                  <a:moveTo>
                    <a:pt x="29" y="17"/>
                  </a:moveTo>
                  <a:cubicBezTo>
                    <a:pt x="29" y="18"/>
                    <a:pt x="29" y="19"/>
                    <a:pt x="30" y="20"/>
                  </a:cubicBezTo>
                  <a:cubicBezTo>
                    <a:pt x="15" y="20"/>
                    <a:pt x="15" y="20"/>
                    <a:pt x="15" y="20"/>
                  </a:cubicBezTo>
                  <a:cubicBezTo>
                    <a:pt x="0" y="5"/>
                    <a:pt x="0" y="5"/>
                    <a:pt x="0" y="5"/>
                  </a:cubicBezTo>
                  <a:cubicBezTo>
                    <a:pt x="2" y="4"/>
                    <a:pt x="4" y="2"/>
                    <a:pt x="5" y="0"/>
                  </a:cubicBezTo>
                  <a:cubicBezTo>
                    <a:pt x="18" y="13"/>
                    <a:pt x="18" y="13"/>
                    <a:pt x="18" y="13"/>
                  </a:cubicBezTo>
                  <a:cubicBezTo>
                    <a:pt x="30" y="13"/>
                    <a:pt x="30" y="13"/>
                    <a:pt x="30" y="13"/>
                  </a:cubicBezTo>
                  <a:cubicBezTo>
                    <a:pt x="29" y="14"/>
                    <a:pt x="29" y="15"/>
                    <a:pt x="29" y="1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3" name="Freeform 74">
              <a:extLst>
                <a:ext uri="{FF2B5EF4-FFF2-40B4-BE49-F238E27FC236}">
                  <a16:creationId xmlns:a16="http://schemas.microsoft.com/office/drawing/2014/main" id="{8746830F-851C-4B3A-8F15-51FAC36DE598}"/>
                </a:ext>
              </a:extLst>
            </p:cNvPr>
            <p:cNvSpPr>
              <a:spLocks/>
            </p:cNvSpPr>
            <p:nvPr/>
          </p:nvSpPr>
          <p:spPr bwMode="auto">
            <a:xfrm>
              <a:off x="11016119" y="5527089"/>
              <a:ext cx="77860" cy="99820"/>
            </a:xfrm>
            <a:custGeom>
              <a:avLst/>
              <a:gdLst>
                <a:gd name="T0" fmla="*/ 26 w 26"/>
                <a:gd name="T1" fmla="*/ 33 h 33"/>
                <a:gd name="T2" fmla="*/ 11 w 26"/>
                <a:gd name="T3" fmla="*/ 33 h 33"/>
                <a:gd name="T4" fmla="*/ 0 w 26"/>
                <a:gd name="T5" fmla="*/ 21 h 33"/>
                <a:gd name="T6" fmla="*/ 0 w 26"/>
                <a:gd name="T7" fmla="*/ 0 h 33"/>
                <a:gd name="T8" fmla="*/ 7 w 26"/>
                <a:gd name="T9" fmla="*/ 0 h 33"/>
                <a:gd name="T10" fmla="*/ 7 w 26"/>
                <a:gd name="T11" fmla="*/ 19 h 33"/>
                <a:gd name="T12" fmla="*/ 14 w 26"/>
                <a:gd name="T13" fmla="*/ 26 h 33"/>
                <a:gd name="T14" fmla="*/ 26 w 26"/>
                <a:gd name="T15" fmla="*/ 26 h 33"/>
                <a:gd name="T16" fmla="*/ 25 w 26"/>
                <a:gd name="T17" fmla="*/ 29 h 33"/>
                <a:gd name="T18" fmla="*/ 26 w 26"/>
                <a:gd name="T1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3">
                  <a:moveTo>
                    <a:pt x="26" y="33"/>
                  </a:moveTo>
                  <a:cubicBezTo>
                    <a:pt x="11" y="33"/>
                    <a:pt x="11" y="33"/>
                    <a:pt x="11" y="33"/>
                  </a:cubicBezTo>
                  <a:cubicBezTo>
                    <a:pt x="0" y="21"/>
                    <a:pt x="0" y="21"/>
                    <a:pt x="0" y="21"/>
                  </a:cubicBezTo>
                  <a:cubicBezTo>
                    <a:pt x="0" y="0"/>
                    <a:pt x="0" y="0"/>
                    <a:pt x="0" y="0"/>
                  </a:cubicBezTo>
                  <a:cubicBezTo>
                    <a:pt x="7" y="0"/>
                    <a:pt x="7" y="0"/>
                    <a:pt x="7" y="0"/>
                  </a:cubicBezTo>
                  <a:cubicBezTo>
                    <a:pt x="7" y="19"/>
                    <a:pt x="7" y="19"/>
                    <a:pt x="7" y="19"/>
                  </a:cubicBezTo>
                  <a:cubicBezTo>
                    <a:pt x="14" y="26"/>
                    <a:pt x="14" y="26"/>
                    <a:pt x="14" y="26"/>
                  </a:cubicBezTo>
                  <a:cubicBezTo>
                    <a:pt x="26" y="26"/>
                    <a:pt x="26" y="26"/>
                    <a:pt x="26" y="26"/>
                  </a:cubicBezTo>
                  <a:cubicBezTo>
                    <a:pt x="26" y="27"/>
                    <a:pt x="25" y="28"/>
                    <a:pt x="25" y="29"/>
                  </a:cubicBezTo>
                  <a:cubicBezTo>
                    <a:pt x="25" y="31"/>
                    <a:pt x="26" y="32"/>
                    <a:pt x="26" y="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204" name="Group 203">
            <a:extLst>
              <a:ext uri="{FF2B5EF4-FFF2-40B4-BE49-F238E27FC236}">
                <a16:creationId xmlns:a16="http://schemas.microsoft.com/office/drawing/2014/main" id="{31CB4A9A-7D23-48F6-9340-271E4FA04A4A}"/>
              </a:ext>
            </a:extLst>
          </p:cNvPr>
          <p:cNvGrpSpPr/>
          <p:nvPr/>
        </p:nvGrpSpPr>
        <p:grpSpPr>
          <a:xfrm>
            <a:off x="3436604" y="4709664"/>
            <a:ext cx="392580" cy="392580"/>
            <a:chOff x="813278" y="5118242"/>
            <a:chExt cx="653991" cy="653991"/>
          </a:xfrm>
        </p:grpSpPr>
        <p:sp>
          <p:nvSpPr>
            <p:cNvPr id="205" name="Freeform 82">
              <a:extLst>
                <a:ext uri="{FF2B5EF4-FFF2-40B4-BE49-F238E27FC236}">
                  <a16:creationId xmlns:a16="http://schemas.microsoft.com/office/drawing/2014/main" id="{C2A5C197-3289-4AFC-8660-5728AC19B7E3}"/>
                </a:ext>
              </a:extLst>
            </p:cNvPr>
            <p:cNvSpPr>
              <a:spLocks noEditPoints="1"/>
            </p:cNvSpPr>
            <p:nvPr/>
          </p:nvSpPr>
          <p:spPr bwMode="auto">
            <a:xfrm>
              <a:off x="813278" y="5118242"/>
              <a:ext cx="653991" cy="653991"/>
            </a:xfrm>
            <a:custGeom>
              <a:avLst/>
              <a:gdLst>
                <a:gd name="T0" fmla="*/ 189 w 200"/>
                <a:gd name="T1" fmla="*/ 78 h 200"/>
                <a:gd name="T2" fmla="*/ 178 w 200"/>
                <a:gd name="T3" fmla="*/ 53 h 200"/>
                <a:gd name="T4" fmla="*/ 157 w 200"/>
                <a:gd name="T5" fmla="*/ 18 h 200"/>
                <a:gd name="T6" fmla="*/ 143 w 200"/>
                <a:gd name="T7" fmla="*/ 22 h 200"/>
                <a:gd name="T8" fmla="*/ 121 w 200"/>
                <a:gd name="T9" fmla="*/ 5 h 200"/>
                <a:gd name="T10" fmla="*/ 105 w 200"/>
                <a:gd name="T11" fmla="*/ 0 h 200"/>
                <a:gd name="T12" fmla="*/ 105 w 200"/>
                <a:gd name="T13" fmla="*/ 0 h 200"/>
                <a:gd name="T14" fmla="*/ 95 w 200"/>
                <a:gd name="T15" fmla="*/ 0 h 200"/>
                <a:gd name="T16" fmla="*/ 82 w 200"/>
                <a:gd name="T17" fmla="*/ 1 h 200"/>
                <a:gd name="T18" fmla="*/ 75 w 200"/>
                <a:gd name="T19" fmla="*/ 14 h 200"/>
                <a:gd name="T20" fmla="*/ 48 w 200"/>
                <a:gd name="T21" fmla="*/ 18 h 200"/>
                <a:gd name="T22" fmla="*/ 18 w 200"/>
                <a:gd name="T23" fmla="*/ 48 h 200"/>
                <a:gd name="T24" fmla="*/ 15 w 200"/>
                <a:gd name="T25" fmla="*/ 75 h 200"/>
                <a:gd name="T26" fmla="*/ 2 w 200"/>
                <a:gd name="T27" fmla="*/ 82 h 200"/>
                <a:gd name="T28" fmla="*/ 5 w 200"/>
                <a:gd name="T29" fmla="*/ 121 h 200"/>
                <a:gd name="T30" fmla="*/ 22 w 200"/>
                <a:gd name="T31" fmla="*/ 143 h 200"/>
                <a:gd name="T32" fmla="*/ 18 w 200"/>
                <a:gd name="T33" fmla="*/ 157 h 200"/>
                <a:gd name="T34" fmla="*/ 53 w 200"/>
                <a:gd name="T35" fmla="*/ 178 h 200"/>
                <a:gd name="T36" fmla="*/ 78 w 200"/>
                <a:gd name="T37" fmla="*/ 189 h 200"/>
                <a:gd name="T38" fmla="*/ 95 w 200"/>
                <a:gd name="T39" fmla="*/ 200 h 200"/>
                <a:gd name="T40" fmla="*/ 105 w 200"/>
                <a:gd name="T41" fmla="*/ 200 h 200"/>
                <a:gd name="T42" fmla="*/ 122 w 200"/>
                <a:gd name="T43" fmla="*/ 189 h 200"/>
                <a:gd name="T44" fmla="*/ 147 w 200"/>
                <a:gd name="T45" fmla="*/ 178 h 200"/>
                <a:gd name="T46" fmla="*/ 182 w 200"/>
                <a:gd name="T47" fmla="*/ 157 h 200"/>
                <a:gd name="T48" fmla="*/ 178 w 200"/>
                <a:gd name="T49" fmla="*/ 143 h 200"/>
                <a:gd name="T50" fmla="*/ 195 w 200"/>
                <a:gd name="T51" fmla="*/ 121 h 200"/>
                <a:gd name="T52" fmla="*/ 198 w 200"/>
                <a:gd name="T53" fmla="*/ 82 h 200"/>
                <a:gd name="T54" fmla="*/ 182 w 200"/>
                <a:gd name="T55" fmla="*/ 108 h 200"/>
                <a:gd name="T56" fmla="*/ 164 w 200"/>
                <a:gd name="T57" fmla="*/ 152 h 200"/>
                <a:gd name="T58" fmla="*/ 162 w 200"/>
                <a:gd name="T59" fmla="*/ 166 h 200"/>
                <a:gd name="T60" fmla="*/ 147 w 200"/>
                <a:gd name="T61" fmla="*/ 164 h 200"/>
                <a:gd name="T62" fmla="*/ 107 w 200"/>
                <a:gd name="T63" fmla="*/ 188 h 200"/>
                <a:gd name="T64" fmla="*/ 93 w 200"/>
                <a:gd name="T65" fmla="*/ 188 h 200"/>
                <a:gd name="T66" fmla="*/ 53 w 200"/>
                <a:gd name="T67" fmla="*/ 164 h 200"/>
                <a:gd name="T68" fmla="*/ 38 w 200"/>
                <a:gd name="T69" fmla="*/ 166 h 200"/>
                <a:gd name="T70" fmla="*/ 37 w 200"/>
                <a:gd name="T71" fmla="*/ 152 h 200"/>
                <a:gd name="T72" fmla="*/ 18 w 200"/>
                <a:gd name="T73" fmla="*/ 108 h 200"/>
                <a:gd name="T74" fmla="*/ 9 w 200"/>
                <a:gd name="T75" fmla="*/ 97 h 200"/>
                <a:gd name="T76" fmla="*/ 21 w 200"/>
                <a:gd name="T77" fmla="*/ 88 h 200"/>
                <a:gd name="T78" fmla="*/ 33 w 200"/>
                <a:gd name="T79" fmla="*/ 43 h 200"/>
                <a:gd name="T80" fmla="*/ 43 w 200"/>
                <a:gd name="T81" fmla="*/ 33 h 200"/>
                <a:gd name="T82" fmla="*/ 88 w 200"/>
                <a:gd name="T83" fmla="*/ 21 h 200"/>
                <a:gd name="T84" fmla="*/ 95 w 200"/>
                <a:gd name="T85" fmla="*/ 9 h 200"/>
                <a:gd name="T86" fmla="*/ 108 w 200"/>
                <a:gd name="T87" fmla="*/ 18 h 200"/>
                <a:gd name="T88" fmla="*/ 152 w 200"/>
                <a:gd name="T89" fmla="*/ 36 h 200"/>
                <a:gd name="T90" fmla="*/ 166 w 200"/>
                <a:gd name="T91" fmla="*/ 38 h 200"/>
                <a:gd name="T92" fmla="*/ 164 w 200"/>
                <a:gd name="T93" fmla="*/ 52 h 200"/>
                <a:gd name="T94" fmla="*/ 187 w 200"/>
                <a:gd name="T95" fmla="*/ 9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 h="200">
                  <a:moveTo>
                    <a:pt x="198" y="82"/>
                  </a:moveTo>
                  <a:cubicBezTo>
                    <a:pt x="198" y="80"/>
                    <a:pt x="197" y="79"/>
                    <a:pt x="195" y="79"/>
                  </a:cubicBezTo>
                  <a:cubicBezTo>
                    <a:pt x="192" y="78"/>
                    <a:pt x="190" y="78"/>
                    <a:pt x="189" y="78"/>
                  </a:cubicBezTo>
                  <a:cubicBezTo>
                    <a:pt x="187" y="78"/>
                    <a:pt x="186" y="76"/>
                    <a:pt x="185" y="75"/>
                  </a:cubicBezTo>
                  <a:cubicBezTo>
                    <a:pt x="184" y="69"/>
                    <a:pt x="181" y="63"/>
                    <a:pt x="178" y="57"/>
                  </a:cubicBezTo>
                  <a:cubicBezTo>
                    <a:pt x="177" y="56"/>
                    <a:pt x="177" y="54"/>
                    <a:pt x="178" y="53"/>
                  </a:cubicBezTo>
                  <a:cubicBezTo>
                    <a:pt x="180" y="51"/>
                    <a:pt x="181" y="49"/>
                    <a:pt x="182" y="48"/>
                  </a:cubicBezTo>
                  <a:cubicBezTo>
                    <a:pt x="183" y="47"/>
                    <a:pt x="183" y="45"/>
                    <a:pt x="182" y="43"/>
                  </a:cubicBezTo>
                  <a:cubicBezTo>
                    <a:pt x="175" y="33"/>
                    <a:pt x="167" y="25"/>
                    <a:pt x="157" y="18"/>
                  </a:cubicBezTo>
                  <a:cubicBezTo>
                    <a:pt x="156" y="17"/>
                    <a:pt x="153" y="17"/>
                    <a:pt x="152" y="18"/>
                  </a:cubicBezTo>
                  <a:cubicBezTo>
                    <a:pt x="150" y="19"/>
                    <a:pt x="148" y="21"/>
                    <a:pt x="147" y="21"/>
                  </a:cubicBezTo>
                  <a:cubicBezTo>
                    <a:pt x="146" y="22"/>
                    <a:pt x="144" y="22"/>
                    <a:pt x="143" y="22"/>
                  </a:cubicBezTo>
                  <a:cubicBezTo>
                    <a:pt x="137" y="19"/>
                    <a:pt x="131" y="16"/>
                    <a:pt x="125" y="14"/>
                  </a:cubicBezTo>
                  <a:cubicBezTo>
                    <a:pt x="124" y="14"/>
                    <a:pt x="122" y="13"/>
                    <a:pt x="122" y="11"/>
                  </a:cubicBezTo>
                  <a:cubicBezTo>
                    <a:pt x="122" y="9"/>
                    <a:pt x="122" y="8"/>
                    <a:pt x="121" y="5"/>
                  </a:cubicBezTo>
                  <a:cubicBezTo>
                    <a:pt x="121" y="3"/>
                    <a:pt x="120" y="2"/>
                    <a:pt x="118" y="1"/>
                  </a:cubicBezTo>
                  <a:cubicBezTo>
                    <a:pt x="114" y="1"/>
                    <a:pt x="109"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1" y="0"/>
                    <a:pt x="86" y="1"/>
                    <a:pt x="82" y="1"/>
                  </a:cubicBezTo>
                  <a:cubicBezTo>
                    <a:pt x="80" y="2"/>
                    <a:pt x="79" y="3"/>
                    <a:pt x="79" y="5"/>
                  </a:cubicBezTo>
                  <a:cubicBezTo>
                    <a:pt x="78" y="8"/>
                    <a:pt x="78" y="9"/>
                    <a:pt x="78" y="11"/>
                  </a:cubicBezTo>
                  <a:cubicBezTo>
                    <a:pt x="78" y="13"/>
                    <a:pt x="76" y="14"/>
                    <a:pt x="75" y="14"/>
                  </a:cubicBezTo>
                  <a:cubicBezTo>
                    <a:pt x="69" y="16"/>
                    <a:pt x="63" y="19"/>
                    <a:pt x="57" y="22"/>
                  </a:cubicBezTo>
                  <a:cubicBezTo>
                    <a:pt x="56" y="22"/>
                    <a:pt x="54" y="22"/>
                    <a:pt x="53" y="21"/>
                  </a:cubicBezTo>
                  <a:cubicBezTo>
                    <a:pt x="52" y="21"/>
                    <a:pt x="50" y="19"/>
                    <a:pt x="48" y="18"/>
                  </a:cubicBezTo>
                  <a:cubicBezTo>
                    <a:pt x="47" y="17"/>
                    <a:pt x="45" y="17"/>
                    <a:pt x="43" y="18"/>
                  </a:cubicBezTo>
                  <a:cubicBezTo>
                    <a:pt x="33" y="25"/>
                    <a:pt x="25" y="33"/>
                    <a:pt x="18" y="43"/>
                  </a:cubicBezTo>
                  <a:cubicBezTo>
                    <a:pt x="17" y="45"/>
                    <a:pt x="17" y="47"/>
                    <a:pt x="18" y="48"/>
                  </a:cubicBezTo>
                  <a:cubicBezTo>
                    <a:pt x="19" y="49"/>
                    <a:pt x="21" y="51"/>
                    <a:pt x="22" y="53"/>
                  </a:cubicBezTo>
                  <a:cubicBezTo>
                    <a:pt x="23" y="54"/>
                    <a:pt x="23" y="56"/>
                    <a:pt x="22" y="57"/>
                  </a:cubicBezTo>
                  <a:cubicBezTo>
                    <a:pt x="19" y="63"/>
                    <a:pt x="16" y="69"/>
                    <a:pt x="15" y="75"/>
                  </a:cubicBezTo>
                  <a:cubicBezTo>
                    <a:pt x="14" y="76"/>
                    <a:pt x="13" y="78"/>
                    <a:pt x="11" y="78"/>
                  </a:cubicBezTo>
                  <a:cubicBezTo>
                    <a:pt x="10" y="78"/>
                    <a:pt x="8" y="78"/>
                    <a:pt x="5" y="79"/>
                  </a:cubicBezTo>
                  <a:cubicBezTo>
                    <a:pt x="4" y="79"/>
                    <a:pt x="2" y="80"/>
                    <a:pt x="2" y="82"/>
                  </a:cubicBezTo>
                  <a:cubicBezTo>
                    <a:pt x="1" y="88"/>
                    <a:pt x="0" y="94"/>
                    <a:pt x="0" y="100"/>
                  </a:cubicBezTo>
                  <a:cubicBezTo>
                    <a:pt x="0" y="106"/>
                    <a:pt x="1" y="112"/>
                    <a:pt x="2" y="118"/>
                  </a:cubicBezTo>
                  <a:cubicBezTo>
                    <a:pt x="2" y="120"/>
                    <a:pt x="4" y="121"/>
                    <a:pt x="5" y="121"/>
                  </a:cubicBezTo>
                  <a:cubicBezTo>
                    <a:pt x="8" y="122"/>
                    <a:pt x="10" y="122"/>
                    <a:pt x="11" y="122"/>
                  </a:cubicBezTo>
                  <a:cubicBezTo>
                    <a:pt x="13" y="122"/>
                    <a:pt x="14" y="124"/>
                    <a:pt x="15" y="125"/>
                  </a:cubicBezTo>
                  <a:cubicBezTo>
                    <a:pt x="17" y="131"/>
                    <a:pt x="19" y="137"/>
                    <a:pt x="22" y="143"/>
                  </a:cubicBezTo>
                  <a:cubicBezTo>
                    <a:pt x="23" y="144"/>
                    <a:pt x="23" y="146"/>
                    <a:pt x="22" y="147"/>
                  </a:cubicBezTo>
                  <a:cubicBezTo>
                    <a:pt x="21" y="149"/>
                    <a:pt x="19" y="150"/>
                    <a:pt x="18" y="152"/>
                  </a:cubicBezTo>
                  <a:cubicBezTo>
                    <a:pt x="17" y="153"/>
                    <a:pt x="17" y="155"/>
                    <a:pt x="18" y="157"/>
                  </a:cubicBezTo>
                  <a:cubicBezTo>
                    <a:pt x="25" y="167"/>
                    <a:pt x="33" y="175"/>
                    <a:pt x="43" y="182"/>
                  </a:cubicBezTo>
                  <a:cubicBezTo>
                    <a:pt x="45" y="183"/>
                    <a:pt x="47" y="183"/>
                    <a:pt x="48" y="182"/>
                  </a:cubicBezTo>
                  <a:cubicBezTo>
                    <a:pt x="50" y="180"/>
                    <a:pt x="52" y="179"/>
                    <a:pt x="53" y="178"/>
                  </a:cubicBezTo>
                  <a:cubicBezTo>
                    <a:pt x="54" y="177"/>
                    <a:pt x="56" y="177"/>
                    <a:pt x="57" y="178"/>
                  </a:cubicBezTo>
                  <a:cubicBezTo>
                    <a:pt x="63" y="181"/>
                    <a:pt x="69" y="184"/>
                    <a:pt x="75" y="186"/>
                  </a:cubicBezTo>
                  <a:cubicBezTo>
                    <a:pt x="76" y="186"/>
                    <a:pt x="78" y="187"/>
                    <a:pt x="78" y="189"/>
                  </a:cubicBezTo>
                  <a:cubicBezTo>
                    <a:pt x="78" y="190"/>
                    <a:pt x="78" y="192"/>
                    <a:pt x="79" y="195"/>
                  </a:cubicBezTo>
                  <a:cubicBezTo>
                    <a:pt x="79" y="197"/>
                    <a:pt x="80" y="198"/>
                    <a:pt x="82" y="198"/>
                  </a:cubicBezTo>
                  <a:cubicBezTo>
                    <a:pt x="86" y="199"/>
                    <a:pt x="91" y="200"/>
                    <a:pt x="95" y="200"/>
                  </a:cubicBezTo>
                  <a:cubicBezTo>
                    <a:pt x="95" y="200"/>
                    <a:pt x="95" y="200"/>
                    <a:pt x="95" y="200"/>
                  </a:cubicBezTo>
                  <a:cubicBezTo>
                    <a:pt x="105" y="200"/>
                    <a:pt x="105" y="200"/>
                    <a:pt x="105" y="200"/>
                  </a:cubicBezTo>
                  <a:cubicBezTo>
                    <a:pt x="105" y="200"/>
                    <a:pt x="105" y="200"/>
                    <a:pt x="105" y="200"/>
                  </a:cubicBezTo>
                  <a:cubicBezTo>
                    <a:pt x="109" y="200"/>
                    <a:pt x="114" y="199"/>
                    <a:pt x="118" y="198"/>
                  </a:cubicBezTo>
                  <a:cubicBezTo>
                    <a:pt x="120" y="198"/>
                    <a:pt x="121" y="197"/>
                    <a:pt x="121" y="195"/>
                  </a:cubicBezTo>
                  <a:cubicBezTo>
                    <a:pt x="122" y="192"/>
                    <a:pt x="122" y="190"/>
                    <a:pt x="122" y="189"/>
                  </a:cubicBezTo>
                  <a:cubicBezTo>
                    <a:pt x="122" y="187"/>
                    <a:pt x="124" y="186"/>
                    <a:pt x="125" y="186"/>
                  </a:cubicBezTo>
                  <a:cubicBezTo>
                    <a:pt x="131" y="184"/>
                    <a:pt x="137" y="181"/>
                    <a:pt x="143" y="178"/>
                  </a:cubicBezTo>
                  <a:cubicBezTo>
                    <a:pt x="144" y="177"/>
                    <a:pt x="146" y="177"/>
                    <a:pt x="147" y="178"/>
                  </a:cubicBezTo>
                  <a:cubicBezTo>
                    <a:pt x="148" y="179"/>
                    <a:pt x="150" y="180"/>
                    <a:pt x="152" y="182"/>
                  </a:cubicBezTo>
                  <a:cubicBezTo>
                    <a:pt x="153" y="183"/>
                    <a:pt x="155" y="183"/>
                    <a:pt x="157" y="182"/>
                  </a:cubicBezTo>
                  <a:cubicBezTo>
                    <a:pt x="167" y="175"/>
                    <a:pt x="175" y="167"/>
                    <a:pt x="182" y="157"/>
                  </a:cubicBezTo>
                  <a:cubicBezTo>
                    <a:pt x="183" y="155"/>
                    <a:pt x="183" y="153"/>
                    <a:pt x="182" y="152"/>
                  </a:cubicBezTo>
                  <a:cubicBezTo>
                    <a:pt x="181" y="150"/>
                    <a:pt x="180" y="149"/>
                    <a:pt x="178" y="147"/>
                  </a:cubicBezTo>
                  <a:cubicBezTo>
                    <a:pt x="177" y="146"/>
                    <a:pt x="177" y="144"/>
                    <a:pt x="178" y="143"/>
                  </a:cubicBezTo>
                  <a:cubicBezTo>
                    <a:pt x="181" y="137"/>
                    <a:pt x="184" y="131"/>
                    <a:pt x="185" y="125"/>
                  </a:cubicBezTo>
                  <a:cubicBezTo>
                    <a:pt x="186" y="124"/>
                    <a:pt x="187" y="122"/>
                    <a:pt x="189" y="122"/>
                  </a:cubicBezTo>
                  <a:cubicBezTo>
                    <a:pt x="190" y="122"/>
                    <a:pt x="192" y="122"/>
                    <a:pt x="195" y="121"/>
                  </a:cubicBezTo>
                  <a:cubicBezTo>
                    <a:pt x="197" y="121"/>
                    <a:pt x="198" y="120"/>
                    <a:pt x="198" y="118"/>
                  </a:cubicBezTo>
                  <a:cubicBezTo>
                    <a:pt x="199" y="112"/>
                    <a:pt x="200" y="106"/>
                    <a:pt x="200" y="100"/>
                  </a:cubicBezTo>
                  <a:cubicBezTo>
                    <a:pt x="200" y="94"/>
                    <a:pt x="199" y="88"/>
                    <a:pt x="198" y="82"/>
                  </a:cubicBezTo>
                  <a:close/>
                  <a:moveTo>
                    <a:pt x="191" y="103"/>
                  </a:moveTo>
                  <a:cubicBezTo>
                    <a:pt x="191" y="105"/>
                    <a:pt x="190" y="106"/>
                    <a:pt x="188" y="107"/>
                  </a:cubicBezTo>
                  <a:cubicBezTo>
                    <a:pt x="185" y="107"/>
                    <a:pt x="183" y="107"/>
                    <a:pt x="182" y="108"/>
                  </a:cubicBezTo>
                  <a:cubicBezTo>
                    <a:pt x="180" y="108"/>
                    <a:pt x="179" y="110"/>
                    <a:pt x="179" y="111"/>
                  </a:cubicBezTo>
                  <a:cubicBezTo>
                    <a:pt x="177" y="125"/>
                    <a:pt x="172" y="137"/>
                    <a:pt x="164" y="148"/>
                  </a:cubicBezTo>
                  <a:cubicBezTo>
                    <a:pt x="163" y="149"/>
                    <a:pt x="163" y="151"/>
                    <a:pt x="164" y="152"/>
                  </a:cubicBezTo>
                  <a:cubicBezTo>
                    <a:pt x="164" y="154"/>
                    <a:pt x="165" y="155"/>
                    <a:pt x="167" y="157"/>
                  </a:cubicBezTo>
                  <a:cubicBezTo>
                    <a:pt x="168" y="158"/>
                    <a:pt x="168" y="161"/>
                    <a:pt x="166" y="162"/>
                  </a:cubicBezTo>
                  <a:cubicBezTo>
                    <a:pt x="165" y="164"/>
                    <a:pt x="164" y="165"/>
                    <a:pt x="162" y="166"/>
                  </a:cubicBezTo>
                  <a:cubicBezTo>
                    <a:pt x="161" y="168"/>
                    <a:pt x="158" y="168"/>
                    <a:pt x="157" y="167"/>
                  </a:cubicBezTo>
                  <a:cubicBezTo>
                    <a:pt x="155" y="165"/>
                    <a:pt x="153" y="164"/>
                    <a:pt x="152" y="164"/>
                  </a:cubicBezTo>
                  <a:cubicBezTo>
                    <a:pt x="151" y="163"/>
                    <a:pt x="149" y="163"/>
                    <a:pt x="147" y="164"/>
                  </a:cubicBezTo>
                  <a:cubicBezTo>
                    <a:pt x="137" y="172"/>
                    <a:pt x="125" y="177"/>
                    <a:pt x="112" y="179"/>
                  </a:cubicBezTo>
                  <a:cubicBezTo>
                    <a:pt x="110" y="179"/>
                    <a:pt x="109" y="180"/>
                    <a:pt x="108" y="182"/>
                  </a:cubicBezTo>
                  <a:cubicBezTo>
                    <a:pt x="108" y="184"/>
                    <a:pt x="107" y="185"/>
                    <a:pt x="107" y="188"/>
                  </a:cubicBezTo>
                  <a:cubicBezTo>
                    <a:pt x="107" y="189"/>
                    <a:pt x="106" y="190"/>
                    <a:pt x="105" y="190"/>
                  </a:cubicBezTo>
                  <a:cubicBezTo>
                    <a:pt x="103" y="191"/>
                    <a:pt x="97" y="191"/>
                    <a:pt x="95" y="190"/>
                  </a:cubicBezTo>
                  <a:cubicBezTo>
                    <a:pt x="94" y="190"/>
                    <a:pt x="93" y="189"/>
                    <a:pt x="93" y="188"/>
                  </a:cubicBezTo>
                  <a:cubicBezTo>
                    <a:pt x="93" y="185"/>
                    <a:pt x="92" y="184"/>
                    <a:pt x="92" y="182"/>
                  </a:cubicBezTo>
                  <a:cubicBezTo>
                    <a:pt x="91" y="180"/>
                    <a:pt x="90" y="179"/>
                    <a:pt x="88" y="179"/>
                  </a:cubicBezTo>
                  <a:cubicBezTo>
                    <a:pt x="75" y="177"/>
                    <a:pt x="63" y="172"/>
                    <a:pt x="53" y="164"/>
                  </a:cubicBezTo>
                  <a:cubicBezTo>
                    <a:pt x="51" y="163"/>
                    <a:pt x="49" y="163"/>
                    <a:pt x="48" y="164"/>
                  </a:cubicBezTo>
                  <a:cubicBezTo>
                    <a:pt x="47" y="164"/>
                    <a:pt x="45" y="165"/>
                    <a:pt x="43" y="167"/>
                  </a:cubicBezTo>
                  <a:cubicBezTo>
                    <a:pt x="42" y="168"/>
                    <a:pt x="39" y="168"/>
                    <a:pt x="38" y="166"/>
                  </a:cubicBezTo>
                  <a:cubicBezTo>
                    <a:pt x="36" y="165"/>
                    <a:pt x="35" y="164"/>
                    <a:pt x="34" y="162"/>
                  </a:cubicBezTo>
                  <a:cubicBezTo>
                    <a:pt x="32" y="161"/>
                    <a:pt x="32" y="158"/>
                    <a:pt x="33" y="157"/>
                  </a:cubicBezTo>
                  <a:cubicBezTo>
                    <a:pt x="35" y="155"/>
                    <a:pt x="36" y="154"/>
                    <a:pt x="37" y="152"/>
                  </a:cubicBezTo>
                  <a:cubicBezTo>
                    <a:pt x="37" y="151"/>
                    <a:pt x="37" y="149"/>
                    <a:pt x="36" y="148"/>
                  </a:cubicBezTo>
                  <a:cubicBezTo>
                    <a:pt x="29" y="137"/>
                    <a:pt x="23" y="125"/>
                    <a:pt x="21" y="111"/>
                  </a:cubicBezTo>
                  <a:cubicBezTo>
                    <a:pt x="21" y="110"/>
                    <a:pt x="20" y="108"/>
                    <a:pt x="18" y="108"/>
                  </a:cubicBezTo>
                  <a:cubicBezTo>
                    <a:pt x="17" y="107"/>
                    <a:pt x="15" y="107"/>
                    <a:pt x="12" y="107"/>
                  </a:cubicBezTo>
                  <a:cubicBezTo>
                    <a:pt x="10" y="106"/>
                    <a:pt x="9" y="105"/>
                    <a:pt x="9" y="103"/>
                  </a:cubicBezTo>
                  <a:cubicBezTo>
                    <a:pt x="9" y="101"/>
                    <a:pt x="9" y="99"/>
                    <a:pt x="9" y="97"/>
                  </a:cubicBezTo>
                  <a:cubicBezTo>
                    <a:pt x="9" y="95"/>
                    <a:pt x="11" y="93"/>
                    <a:pt x="13" y="93"/>
                  </a:cubicBezTo>
                  <a:cubicBezTo>
                    <a:pt x="15" y="93"/>
                    <a:pt x="16" y="92"/>
                    <a:pt x="18" y="92"/>
                  </a:cubicBezTo>
                  <a:cubicBezTo>
                    <a:pt x="20" y="91"/>
                    <a:pt x="21" y="90"/>
                    <a:pt x="21" y="88"/>
                  </a:cubicBezTo>
                  <a:cubicBezTo>
                    <a:pt x="23" y="75"/>
                    <a:pt x="29" y="63"/>
                    <a:pt x="36" y="52"/>
                  </a:cubicBezTo>
                  <a:cubicBezTo>
                    <a:pt x="37" y="51"/>
                    <a:pt x="37" y="49"/>
                    <a:pt x="37" y="47"/>
                  </a:cubicBezTo>
                  <a:cubicBezTo>
                    <a:pt x="36" y="46"/>
                    <a:pt x="35" y="44"/>
                    <a:pt x="33" y="43"/>
                  </a:cubicBezTo>
                  <a:cubicBezTo>
                    <a:pt x="32" y="41"/>
                    <a:pt x="32" y="39"/>
                    <a:pt x="34" y="38"/>
                  </a:cubicBezTo>
                  <a:cubicBezTo>
                    <a:pt x="35" y="36"/>
                    <a:pt x="36" y="35"/>
                    <a:pt x="38" y="34"/>
                  </a:cubicBezTo>
                  <a:cubicBezTo>
                    <a:pt x="39" y="32"/>
                    <a:pt x="42" y="32"/>
                    <a:pt x="43" y="33"/>
                  </a:cubicBezTo>
                  <a:cubicBezTo>
                    <a:pt x="45" y="35"/>
                    <a:pt x="47" y="36"/>
                    <a:pt x="48" y="36"/>
                  </a:cubicBezTo>
                  <a:cubicBezTo>
                    <a:pt x="49" y="37"/>
                    <a:pt x="51" y="37"/>
                    <a:pt x="53" y="36"/>
                  </a:cubicBezTo>
                  <a:cubicBezTo>
                    <a:pt x="63" y="28"/>
                    <a:pt x="75" y="23"/>
                    <a:pt x="88" y="21"/>
                  </a:cubicBezTo>
                  <a:cubicBezTo>
                    <a:pt x="90" y="21"/>
                    <a:pt x="91" y="20"/>
                    <a:pt x="92" y="18"/>
                  </a:cubicBezTo>
                  <a:cubicBezTo>
                    <a:pt x="92" y="16"/>
                    <a:pt x="93" y="14"/>
                    <a:pt x="93" y="12"/>
                  </a:cubicBezTo>
                  <a:cubicBezTo>
                    <a:pt x="93" y="11"/>
                    <a:pt x="94" y="10"/>
                    <a:pt x="95" y="9"/>
                  </a:cubicBezTo>
                  <a:cubicBezTo>
                    <a:pt x="97" y="9"/>
                    <a:pt x="103" y="9"/>
                    <a:pt x="105" y="9"/>
                  </a:cubicBezTo>
                  <a:cubicBezTo>
                    <a:pt x="106" y="10"/>
                    <a:pt x="107" y="11"/>
                    <a:pt x="107" y="12"/>
                  </a:cubicBezTo>
                  <a:cubicBezTo>
                    <a:pt x="107" y="14"/>
                    <a:pt x="108" y="16"/>
                    <a:pt x="108" y="18"/>
                  </a:cubicBezTo>
                  <a:cubicBezTo>
                    <a:pt x="109" y="20"/>
                    <a:pt x="110" y="21"/>
                    <a:pt x="112" y="21"/>
                  </a:cubicBezTo>
                  <a:cubicBezTo>
                    <a:pt x="125" y="23"/>
                    <a:pt x="137" y="28"/>
                    <a:pt x="148" y="36"/>
                  </a:cubicBezTo>
                  <a:cubicBezTo>
                    <a:pt x="149" y="37"/>
                    <a:pt x="151" y="37"/>
                    <a:pt x="152" y="36"/>
                  </a:cubicBezTo>
                  <a:cubicBezTo>
                    <a:pt x="154" y="36"/>
                    <a:pt x="155" y="35"/>
                    <a:pt x="157" y="33"/>
                  </a:cubicBezTo>
                  <a:cubicBezTo>
                    <a:pt x="159" y="32"/>
                    <a:pt x="161" y="32"/>
                    <a:pt x="162" y="34"/>
                  </a:cubicBezTo>
                  <a:cubicBezTo>
                    <a:pt x="164" y="35"/>
                    <a:pt x="165" y="36"/>
                    <a:pt x="166" y="38"/>
                  </a:cubicBezTo>
                  <a:cubicBezTo>
                    <a:pt x="168" y="39"/>
                    <a:pt x="168" y="41"/>
                    <a:pt x="167" y="43"/>
                  </a:cubicBezTo>
                  <a:cubicBezTo>
                    <a:pt x="165" y="44"/>
                    <a:pt x="164" y="46"/>
                    <a:pt x="164" y="47"/>
                  </a:cubicBezTo>
                  <a:cubicBezTo>
                    <a:pt x="163" y="49"/>
                    <a:pt x="163" y="51"/>
                    <a:pt x="164" y="52"/>
                  </a:cubicBezTo>
                  <a:cubicBezTo>
                    <a:pt x="172" y="63"/>
                    <a:pt x="177" y="75"/>
                    <a:pt x="179" y="88"/>
                  </a:cubicBezTo>
                  <a:cubicBezTo>
                    <a:pt x="179" y="90"/>
                    <a:pt x="180" y="91"/>
                    <a:pt x="182" y="92"/>
                  </a:cubicBezTo>
                  <a:cubicBezTo>
                    <a:pt x="184" y="92"/>
                    <a:pt x="185" y="93"/>
                    <a:pt x="187" y="93"/>
                  </a:cubicBezTo>
                  <a:cubicBezTo>
                    <a:pt x="190" y="93"/>
                    <a:pt x="191" y="95"/>
                    <a:pt x="191" y="97"/>
                  </a:cubicBezTo>
                  <a:cubicBezTo>
                    <a:pt x="191" y="99"/>
                    <a:pt x="191" y="101"/>
                    <a:pt x="191" y="103"/>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6" name="Freeform 83">
              <a:extLst>
                <a:ext uri="{FF2B5EF4-FFF2-40B4-BE49-F238E27FC236}">
                  <a16:creationId xmlns:a16="http://schemas.microsoft.com/office/drawing/2014/main" id="{EF5709BF-4070-4198-A7C2-D89A78F7CDD2}"/>
                </a:ext>
              </a:extLst>
            </p:cNvPr>
            <p:cNvSpPr>
              <a:spLocks noEditPoints="1"/>
            </p:cNvSpPr>
            <p:nvPr/>
          </p:nvSpPr>
          <p:spPr bwMode="auto">
            <a:xfrm>
              <a:off x="951872" y="5254671"/>
              <a:ext cx="378969" cy="378969"/>
            </a:xfrm>
            <a:custGeom>
              <a:avLst/>
              <a:gdLst>
                <a:gd name="T0" fmla="*/ 99 w 116"/>
                <a:gd name="T1" fmla="*/ 17 h 116"/>
                <a:gd name="T2" fmla="*/ 58 w 116"/>
                <a:gd name="T3" fmla="*/ 0 h 116"/>
                <a:gd name="T4" fmla="*/ 58 w 116"/>
                <a:gd name="T5" fmla="*/ 0 h 116"/>
                <a:gd name="T6" fmla="*/ 17 w 116"/>
                <a:gd name="T7" fmla="*/ 17 h 116"/>
                <a:gd name="T8" fmla="*/ 0 w 116"/>
                <a:gd name="T9" fmla="*/ 58 h 116"/>
                <a:gd name="T10" fmla="*/ 58 w 116"/>
                <a:gd name="T11" fmla="*/ 116 h 116"/>
                <a:gd name="T12" fmla="*/ 58 w 116"/>
                <a:gd name="T13" fmla="*/ 116 h 116"/>
                <a:gd name="T14" fmla="*/ 99 w 116"/>
                <a:gd name="T15" fmla="*/ 99 h 116"/>
                <a:gd name="T16" fmla="*/ 116 w 116"/>
                <a:gd name="T17" fmla="*/ 58 h 116"/>
                <a:gd name="T18" fmla="*/ 99 w 116"/>
                <a:gd name="T19" fmla="*/ 17 h 116"/>
                <a:gd name="T20" fmla="*/ 91 w 116"/>
                <a:gd name="T21" fmla="*/ 91 h 116"/>
                <a:gd name="T22" fmla="*/ 74 w 116"/>
                <a:gd name="T23" fmla="*/ 102 h 116"/>
                <a:gd name="T24" fmla="*/ 65 w 116"/>
                <a:gd name="T25" fmla="*/ 92 h 116"/>
                <a:gd name="T26" fmla="*/ 59 w 116"/>
                <a:gd name="T27" fmla="*/ 89 h 116"/>
                <a:gd name="T28" fmla="*/ 56 w 116"/>
                <a:gd name="T29" fmla="*/ 90 h 116"/>
                <a:gd name="T30" fmla="*/ 27 w 116"/>
                <a:gd name="T31" fmla="*/ 75 h 116"/>
                <a:gd name="T32" fmla="*/ 22 w 116"/>
                <a:gd name="T33" fmla="*/ 56 h 116"/>
                <a:gd name="T34" fmla="*/ 25 w 116"/>
                <a:gd name="T35" fmla="*/ 54 h 116"/>
                <a:gd name="T36" fmla="*/ 42 w 116"/>
                <a:gd name="T37" fmla="*/ 65 h 116"/>
                <a:gd name="T38" fmla="*/ 54 w 116"/>
                <a:gd name="T39" fmla="*/ 63 h 116"/>
                <a:gd name="T40" fmla="*/ 63 w 116"/>
                <a:gd name="T41" fmla="*/ 47 h 116"/>
                <a:gd name="T42" fmla="*/ 61 w 116"/>
                <a:gd name="T43" fmla="*/ 36 h 116"/>
                <a:gd name="T44" fmla="*/ 46 w 116"/>
                <a:gd name="T45" fmla="*/ 27 h 116"/>
                <a:gd name="T46" fmla="*/ 47 w 116"/>
                <a:gd name="T47" fmla="*/ 23 h 116"/>
                <a:gd name="T48" fmla="*/ 54 w 116"/>
                <a:gd name="T49" fmla="*/ 22 h 116"/>
                <a:gd name="T50" fmla="*/ 90 w 116"/>
                <a:gd name="T51" fmla="*/ 56 h 116"/>
                <a:gd name="T52" fmla="*/ 90 w 116"/>
                <a:gd name="T53" fmla="*/ 57 h 116"/>
                <a:gd name="T54" fmla="*/ 92 w 116"/>
                <a:gd name="T55" fmla="*/ 62 h 116"/>
                <a:gd name="T56" fmla="*/ 103 w 116"/>
                <a:gd name="T57" fmla="*/ 72 h 116"/>
                <a:gd name="T58" fmla="*/ 91 w 116"/>
                <a:gd name="T59" fmla="*/ 9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16">
                  <a:moveTo>
                    <a:pt x="99" y="17"/>
                  </a:moveTo>
                  <a:cubicBezTo>
                    <a:pt x="88" y="6"/>
                    <a:pt x="73" y="0"/>
                    <a:pt x="58" y="0"/>
                  </a:cubicBezTo>
                  <a:cubicBezTo>
                    <a:pt x="58" y="0"/>
                    <a:pt x="58" y="0"/>
                    <a:pt x="58" y="0"/>
                  </a:cubicBezTo>
                  <a:cubicBezTo>
                    <a:pt x="43" y="0"/>
                    <a:pt x="28" y="6"/>
                    <a:pt x="17" y="17"/>
                  </a:cubicBezTo>
                  <a:cubicBezTo>
                    <a:pt x="6" y="28"/>
                    <a:pt x="0" y="42"/>
                    <a:pt x="0" y="58"/>
                  </a:cubicBezTo>
                  <a:cubicBezTo>
                    <a:pt x="0" y="90"/>
                    <a:pt x="26" y="116"/>
                    <a:pt x="58" y="116"/>
                  </a:cubicBezTo>
                  <a:cubicBezTo>
                    <a:pt x="58" y="116"/>
                    <a:pt x="58" y="116"/>
                    <a:pt x="58" y="116"/>
                  </a:cubicBezTo>
                  <a:cubicBezTo>
                    <a:pt x="74" y="116"/>
                    <a:pt x="88" y="110"/>
                    <a:pt x="99" y="99"/>
                  </a:cubicBezTo>
                  <a:cubicBezTo>
                    <a:pt x="110" y="88"/>
                    <a:pt x="116" y="73"/>
                    <a:pt x="116" y="58"/>
                  </a:cubicBezTo>
                  <a:cubicBezTo>
                    <a:pt x="116" y="42"/>
                    <a:pt x="110" y="28"/>
                    <a:pt x="99" y="17"/>
                  </a:cubicBezTo>
                  <a:close/>
                  <a:moveTo>
                    <a:pt x="91" y="91"/>
                  </a:moveTo>
                  <a:cubicBezTo>
                    <a:pt x="86" y="96"/>
                    <a:pt x="81" y="100"/>
                    <a:pt x="74" y="102"/>
                  </a:cubicBezTo>
                  <a:cubicBezTo>
                    <a:pt x="65" y="92"/>
                    <a:pt x="65" y="92"/>
                    <a:pt x="65" y="92"/>
                  </a:cubicBezTo>
                  <a:cubicBezTo>
                    <a:pt x="64" y="90"/>
                    <a:pt x="61" y="89"/>
                    <a:pt x="59" y="89"/>
                  </a:cubicBezTo>
                  <a:cubicBezTo>
                    <a:pt x="58" y="90"/>
                    <a:pt x="57" y="90"/>
                    <a:pt x="56" y="90"/>
                  </a:cubicBezTo>
                  <a:cubicBezTo>
                    <a:pt x="44" y="90"/>
                    <a:pt x="33" y="84"/>
                    <a:pt x="27" y="75"/>
                  </a:cubicBezTo>
                  <a:cubicBezTo>
                    <a:pt x="24" y="70"/>
                    <a:pt x="22" y="62"/>
                    <a:pt x="22" y="56"/>
                  </a:cubicBezTo>
                  <a:cubicBezTo>
                    <a:pt x="22" y="54"/>
                    <a:pt x="24" y="53"/>
                    <a:pt x="25" y="54"/>
                  </a:cubicBezTo>
                  <a:cubicBezTo>
                    <a:pt x="42" y="65"/>
                    <a:pt x="42" y="65"/>
                    <a:pt x="42" y="65"/>
                  </a:cubicBezTo>
                  <a:cubicBezTo>
                    <a:pt x="46" y="67"/>
                    <a:pt x="51" y="66"/>
                    <a:pt x="54" y="63"/>
                  </a:cubicBezTo>
                  <a:cubicBezTo>
                    <a:pt x="63" y="47"/>
                    <a:pt x="63" y="47"/>
                    <a:pt x="63" y="47"/>
                  </a:cubicBezTo>
                  <a:cubicBezTo>
                    <a:pt x="66" y="44"/>
                    <a:pt x="65" y="38"/>
                    <a:pt x="61" y="36"/>
                  </a:cubicBezTo>
                  <a:cubicBezTo>
                    <a:pt x="46" y="27"/>
                    <a:pt x="46" y="27"/>
                    <a:pt x="46" y="27"/>
                  </a:cubicBezTo>
                  <a:cubicBezTo>
                    <a:pt x="45" y="26"/>
                    <a:pt x="45" y="23"/>
                    <a:pt x="47" y="23"/>
                  </a:cubicBezTo>
                  <a:cubicBezTo>
                    <a:pt x="49" y="22"/>
                    <a:pt x="52" y="22"/>
                    <a:pt x="54" y="22"/>
                  </a:cubicBezTo>
                  <a:cubicBezTo>
                    <a:pt x="74" y="21"/>
                    <a:pt x="90" y="36"/>
                    <a:pt x="90" y="56"/>
                  </a:cubicBezTo>
                  <a:cubicBezTo>
                    <a:pt x="90" y="56"/>
                    <a:pt x="90" y="56"/>
                    <a:pt x="90" y="57"/>
                  </a:cubicBezTo>
                  <a:cubicBezTo>
                    <a:pt x="90" y="59"/>
                    <a:pt x="90" y="61"/>
                    <a:pt x="92" y="62"/>
                  </a:cubicBezTo>
                  <a:cubicBezTo>
                    <a:pt x="103" y="72"/>
                    <a:pt x="103" y="72"/>
                    <a:pt x="103" y="72"/>
                  </a:cubicBezTo>
                  <a:cubicBezTo>
                    <a:pt x="101" y="79"/>
                    <a:pt x="97" y="86"/>
                    <a:pt x="91" y="9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207" name="Freeform 611">
            <a:extLst>
              <a:ext uri="{FF2B5EF4-FFF2-40B4-BE49-F238E27FC236}">
                <a16:creationId xmlns:a16="http://schemas.microsoft.com/office/drawing/2014/main" id="{82D61F98-28F2-4150-ABFA-CEE0DDF866D1}"/>
              </a:ext>
            </a:extLst>
          </p:cNvPr>
          <p:cNvSpPr>
            <a:spLocks noEditPoints="1"/>
          </p:cNvSpPr>
          <p:nvPr/>
        </p:nvSpPr>
        <p:spPr bwMode="auto">
          <a:xfrm>
            <a:off x="3450704" y="5831538"/>
            <a:ext cx="364382" cy="364380"/>
          </a:xfrm>
          <a:custGeom>
            <a:avLst/>
            <a:gdLst>
              <a:gd name="T0" fmla="*/ 2802 w 4096"/>
              <a:gd name="T1" fmla="*/ 3022 h 4096"/>
              <a:gd name="T2" fmla="*/ 2772 w 4096"/>
              <a:gd name="T3" fmla="*/ 3544 h 4096"/>
              <a:gd name="T4" fmla="*/ 2716 w 4096"/>
              <a:gd name="T5" fmla="*/ 4042 h 4096"/>
              <a:gd name="T6" fmla="*/ 1044 w 4096"/>
              <a:gd name="T7" fmla="*/ 3934 h 4096"/>
              <a:gd name="T8" fmla="*/ 150 w 4096"/>
              <a:gd name="T9" fmla="*/ 4096 h 4096"/>
              <a:gd name="T10" fmla="*/ 12 w 4096"/>
              <a:gd name="T11" fmla="*/ 2420 h 4096"/>
              <a:gd name="T12" fmla="*/ 784 w 4096"/>
              <a:gd name="T13" fmla="*/ 2384 h 4096"/>
              <a:gd name="T14" fmla="*/ 1166 w 4096"/>
              <a:gd name="T15" fmla="*/ 2114 h 4096"/>
              <a:gd name="T16" fmla="*/ 1444 w 4096"/>
              <a:gd name="T17" fmla="*/ 1466 h 4096"/>
              <a:gd name="T18" fmla="*/ 1748 w 4096"/>
              <a:gd name="T19" fmla="*/ 2524 h 4096"/>
              <a:gd name="T20" fmla="*/ 1582 w 4096"/>
              <a:gd name="T21" fmla="*/ 1652 h 4096"/>
              <a:gd name="T22" fmla="*/ 1308 w 4096"/>
              <a:gd name="T23" fmla="*/ 2054 h 4096"/>
              <a:gd name="T24" fmla="*/ 820 w 4096"/>
              <a:gd name="T25" fmla="*/ 2630 h 4096"/>
              <a:gd name="T26" fmla="*/ 684 w 4096"/>
              <a:gd name="T27" fmla="*/ 2464 h 4096"/>
              <a:gd name="T28" fmla="*/ 384 w 4096"/>
              <a:gd name="T29" fmla="*/ 3024 h 4096"/>
              <a:gd name="T30" fmla="*/ 700 w 4096"/>
              <a:gd name="T31" fmla="*/ 3046 h 4096"/>
              <a:gd name="T32" fmla="*/ 1176 w 4096"/>
              <a:gd name="T33" fmla="*/ 3854 h 4096"/>
              <a:gd name="T34" fmla="*/ 2674 w 4096"/>
              <a:gd name="T35" fmla="*/ 3772 h 4096"/>
              <a:gd name="T36" fmla="*/ 1916 w 4096"/>
              <a:gd name="T37" fmla="*/ 3554 h 4096"/>
              <a:gd name="T38" fmla="*/ 2588 w 4096"/>
              <a:gd name="T39" fmla="*/ 3236 h 4096"/>
              <a:gd name="T40" fmla="*/ 2588 w 4096"/>
              <a:gd name="T41" fmla="*/ 3102 h 4096"/>
              <a:gd name="T42" fmla="*/ 1916 w 4096"/>
              <a:gd name="T43" fmla="*/ 2784 h 4096"/>
              <a:gd name="T44" fmla="*/ 2674 w 4096"/>
              <a:gd name="T45" fmla="*/ 2566 h 4096"/>
              <a:gd name="T46" fmla="*/ 1902 w 4096"/>
              <a:gd name="T47" fmla="*/ 2282 h 4096"/>
              <a:gd name="T48" fmla="*/ 2802 w 4096"/>
              <a:gd name="T49" fmla="*/ 2454 h 4096"/>
              <a:gd name="T50" fmla="*/ 2332 w 4096"/>
              <a:gd name="T51" fmla="*/ 1414 h 4096"/>
              <a:gd name="T52" fmla="*/ 2636 w 4096"/>
              <a:gd name="T53" fmla="*/ 1916 h 4096"/>
              <a:gd name="T54" fmla="*/ 2094 w 4096"/>
              <a:gd name="T55" fmla="*/ 1958 h 4096"/>
              <a:gd name="T56" fmla="*/ 2340 w 4096"/>
              <a:gd name="T57" fmla="*/ 1948 h 4096"/>
              <a:gd name="T58" fmla="*/ 2532 w 4096"/>
              <a:gd name="T59" fmla="*/ 1656 h 4096"/>
              <a:gd name="T60" fmla="*/ 2186 w 4096"/>
              <a:gd name="T61" fmla="*/ 1626 h 4096"/>
              <a:gd name="T62" fmla="*/ 2764 w 4096"/>
              <a:gd name="T63" fmla="*/ 976 h 4096"/>
              <a:gd name="T64" fmla="*/ 1806 w 4096"/>
              <a:gd name="T65" fmla="*/ 1060 h 4096"/>
              <a:gd name="T66" fmla="*/ 1684 w 4096"/>
              <a:gd name="T67" fmla="*/ 1404 h 4096"/>
              <a:gd name="T68" fmla="*/ 2348 w 4096"/>
              <a:gd name="T69" fmla="*/ 1000 h 4096"/>
              <a:gd name="T70" fmla="*/ 2890 w 4096"/>
              <a:gd name="T71" fmla="*/ 1138 h 4096"/>
              <a:gd name="T72" fmla="*/ 3682 w 4096"/>
              <a:gd name="T73" fmla="*/ 614 h 4096"/>
              <a:gd name="T74" fmla="*/ 2894 w 4096"/>
              <a:gd name="T75" fmla="*/ 580 h 4096"/>
              <a:gd name="T76" fmla="*/ 2246 w 4096"/>
              <a:gd name="T77" fmla="*/ 0 h 4096"/>
              <a:gd name="T78" fmla="*/ 1464 w 4096"/>
              <a:gd name="T79" fmla="*/ 410 h 4096"/>
              <a:gd name="T80" fmla="*/ 998 w 4096"/>
              <a:gd name="T81" fmla="*/ 646 h 4096"/>
              <a:gd name="T82" fmla="*/ 724 w 4096"/>
              <a:gd name="T83" fmla="*/ 1448 h 4096"/>
              <a:gd name="T84" fmla="*/ 654 w 4096"/>
              <a:gd name="T85" fmla="*/ 1988 h 4096"/>
              <a:gd name="T86" fmla="*/ 1068 w 4096"/>
              <a:gd name="T87" fmla="*/ 2008 h 4096"/>
              <a:gd name="T88" fmla="*/ 790 w 4096"/>
              <a:gd name="T89" fmla="*/ 1560 h 4096"/>
              <a:gd name="T90" fmla="*/ 1346 w 4096"/>
              <a:gd name="T91" fmla="*/ 1128 h 4096"/>
              <a:gd name="T92" fmla="*/ 1714 w 4096"/>
              <a:gd name="T93" fmla="*/ 734 h 4096"/>
              <a:gd name="T94" fmla="*/ 2084 w 4096"/>
              <a:gd name="T95" fmla="*/ 582 h 4096"/>
              <a:gd name="T96" fmla="*/ 2618 w 4096"/>
              <a:gd name="T97" fmla="*/ 590 h 4096"/>
              <a:gd name="T98" fmla="*/ 3308 w 4096"/>
              <a:gd name="T99" fmla="*/ 518 h 4096"/>
              <a:gd name="T100" fmla="*/ 3352 w 4096"/>
              <a:gd name="T101" fmla="*/ 1136 h 4096"/>
              <a:gd name="T102" fmla="*/ 3924 w 4096"/>
              <a:gd name="T103" fmla="*/ 1566 h 4096"/>
              <a:gd name="T104" fmla="*/ 3478 w 4096"/>
              <a:gd name="T105" fmla="*/ 2036 h 4096"/>
              <a:gd name="T106" fmla="*/ 3592 w 4096"/>
              <a:gd name="T107" fmla="*/ 2762 h 4096"/>
              <a:gd name="T108" fmla="*/ 2904 w 4096"/>
              <a:gd name="T109" fmla="*/ 2766 h 4096"/>
              <a:gd name="T110" fmla="*/ 3458 w 4096"/>
              <a:gd name="T111" fmla="*/ 3092 h 4096"/>
              <a:gd name="T112" fmla="*/ 3492 w 4096"/>
              <a:gd name="T113" fmla="*/ 2342 h 4096"/>
              <a:gd name="T114" fmla="*/ 4096 w 4096"/>
              <a:gd name="T115" fmla="*/ 1642 h 4096"/>
              <a:gd name="T116" fmla="*/ 2972 w 4096"/>
              <a:gd name="T117" fmla="*/ 2360 h 4096"/>
              <a:gd name="T118" fmla="*/ 3158 w 4096"/>
              <a:gd name="T119" fmla="*/ 1414 h 4096"/>
              <a:gd name="T120" fmla="*/ 2954 w 4096"/>
              <a:gd name="T121" fmla="*/ 1310 h 4096"/>
              <a:gd name="T122" fmla="*/ 2944 w 4096"/>
              <a:gd name="T123" fmla="*/ 2196 h 4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96" h="4096">
                <a:moveTo>
                  <a:pt x="2802" y="2480"/>
                </a:moveTo>
                <a:lnTo>
                  <a:pt x="2802" y="2566"/>
                </a:lnTo>
                <a:lnTo>
                  <a:pt x="2802" y="2566"/>
                </a:lnTo>
                <a:lnTo>
                  <a:pt x="2802" y="2590"/>
                </a:lnTo>
                <a:lnTo>
                  <a:pt x="2798" y="2614"/>
                </a:lnTo>
                <a:lnTo>
                  <a:pt x="2792" y="2638"/>
                </a:lnTo>
                <a:lnTo>
                  <a:pt x="2782" y="2660"/>
                </a:lnTo>
                <a:lnTo>
                  <a:pt x="2772" y="2682"/>
                </a:lnTo>
                <a:lnTo>
                  <a:pt x="2758" y="2702"/>
                </a:lnTo>
                <a:lnTo>
                  <a:pt x="2744" y="2720"/>
                </a:lnTo>
                <a:lnTo>
                  <a:pt x="2728" y="2738"/>
                </a:lnTo>
                <a:lnTo>
                  <a:pt x="2728" y="2738"/>
                </a:lnTo>
                <a:lnTo>
                  <a:pt x="2744" y="2754"/>
                </a:lnTo>
                <a:lnTo>
                  <a:pt x="2758" y="2774"/>
                </a:lnTo>
                <a:lnTo>
                  <a:pt x="2772" y="2794"/>
                </a:lnTo>
                <a:lnTo>
                  <a:pt x="2782" y="2814"/>
                </a:lnTo>
                <a:lnTo>
                  <a:pt x="2792" y="2838"/>
                </a:lnTo>
                <a:lnTo>
                  <a:pt x="2798" y="2860"/>
                </a:lnTo>
                <a:lnTo>
                  <a:pt x="2802" y="2886"/>
                </a:lnTo>
                <a:lnTo>
                  <a:pt x="2802" y="2910"/>
                </a:lnTo>
                <a:lnTo>
                  <a:pt x="2802" y="2996"/>
                </a:lnTo>
                <a:lnTo>
                  <a:pt x="2802" y="2996"/>
                </a:lnTo>
                <a:lnTo>
                  <a:pt x="2802" y="3022"/>
                </a:lnTo>
                <a:lnTo>
                  <a:pt x="2798" y="3046"/>
                </a:lnTo>
                <a:lnTo>
                  <a:pt x="2792" y="3070"/>
                </a:lnTo>
                <a:lnTo>
                  <a:pt x="2782" y="3092"/>
                </a:lnTo>
                <a:lnTo>
                  <a:pt x="2772" y="3114"/>
                </a:lnTo>
                <a:lnTo>
                  <a:pt x="2758" y="3134"/>
                </a:lnTo>
                <a:lnTo>
                  <a:pt x="2744" y="3152"/>
                </a:lnTo>
                <a:lnTo>
                  <a:pt x="2728" y="3170"/>
                </a:lnTo>
                <a:lnTo>
                  <a:pt x="2728" y="3170"/>
                </a:lnTo>
                <a:lnTo>
                  <a:pt x="2744" y="3186"/>
                </a:lnTo>
                <a:lnTo>
                  <a:pt x="2758" y="3204"/>
                </a:lnTo>
                <a:lnTo>
                  <a:pt x="2772" y="3224"/>
                </a:lnTo>
                <a:lnTo>
                  <a:pt x="2782" y="3246"/>
                </a:lnTo>
                <a:lnTo>
                  <a:pt x="2792" y="3268"/>
                </a:lnTo>
                <a:lnTo>
                  <a:pt x="2798" y="3292"/>
                </a:lnTo>
                <a:lnTo>
                  <a:pt x="2802" y="3316"/>
                </a:lnTo>
                <a:lnTo>
                  <a:pt x="2802" y="3342"/>
                </a:lnTo>
                <a:lnTo>
                  <a:pt x="2802" y="3428"/>
                </a:lnTo>
                <a:lnTo>
                  <a:pt x="2802" y="3428"/>
                </a:lnTo>
                <a:lnTo>
                  <a:pt x="2802" y="3452"/>
                </a:lnTo>
                <a:lnTo>
                  <a:pt x="2798" y="3478"/>
                </a:lnTo>
                <a:lnTo>
                  <a:pt x="2792" y="3500"/>
                </a:lnTo>
                <a:lnTo>
                  <a:pt x="2782" y="3524"/>
                </a:lnTo>
                <a:lnTo>
                  <a:pt x="2772" y="3544"/>
                </a:lnTo>
                <a:lnTo>
                  <a:pt x="2758" y="3564"/>
                </a:lnTo>
                <a:lnTo>
                  <a:pt x="2744" y="3584"/>
                </a:lnTo>
                <a:lnTo>
                  <a:pt x="2728" y="3600"/>
                </a:lnTo>
                <a:lnTo>
                  <a:pt x="2728" y="3600"/>
                </a:lnTo>
                <a:lnTo>
                  <a:pt x="2744" y="3618"/>
                </a:lnTo>
                <a:lnTo>
                  <a:pt x="2758" y="3636"/>
                </a:lnTo>
                <a:lnTo>
                  <a:pt x="2772" y="3656"/>
                </a:lnTo>
                <a:lnTo>
                  <a:pt x="2782" y="3678"/>
                </a:lnTo>
                <a:lnTo>
                  <a:pt x="2792" y="3700"/>
                </a:lnTo>
                <a:lnTo>
                  <a:pt x="2798" y="3724"/>
                </a:lnTo>
                <a:lnTo>
                  <a:pt x="2802" y="3748"/>
                </a:lnTo>
                <a:lnTo>
                  <a:pt x="2802" y="3772"/>
                </a:lnTo>
                <a:lnTo>
                  <a:pt x="2802" y="3858"/>
                </a:lnTo>
                <a:lnTo>
                  <a:pt x="2802" y="3858"/>
                </a:lnTo>
                <a:lnTo>
                  <a:pt x="2802" y="3884"/>
                </a:lnTo>
                <a:lnTo>
                  <a:pt x="2798" y="3906"/>
                </a:lnTo>
                <a:lnTo>
                  <a:pt x="2792" y="3930"/>
                </a:lnTo>
                <a:lnTo>
                  <a:pt x="2784" y="3952"/>
                </a:lnTo>
                <a:lnTo>
                  <a:pt x="2774" y="3972"/>
                </a:lnTo>
                <a:lnTo>
                  <a:pt x="2762" y="3992"/>
                </a:lnTo>
                <a:lnTo>
                  <a:pt x="2748" y="4010"/>
                </a:lnTo>
                <a:lnTo>
                  <a:pt x="2732" y="4026"/>
                </a:lnTo>
                <a:lnTo>
                  <a:pt x="2716" y="4042"/>
                </a:lnTo>
                <a:lnTo>
                  <a:pt x="2698" y="4056"/>
                </a:lnTo>
                <a:lnTo>
                  <a:pt x="2678" y="4068"/>
                </a:lnTo>
                <a:lnTo>
                  <a:pt x="2658" y="4078"/>
                </a:lnTo>
                <a:lnTo>
                  <a:pt x="2636" y="4086"/>
                </a:lnTo>
                <a:lnTo>
                  <a:pt x="2614" y="4092"/>
                </a:lnTo>
                <a:lnTo>
                  <a:pt x="2590" y="4094"/>
                </a:lnTo>
                <a:lnTo>
                  <a:pt x="2566" y="4096"/>
                </a:lnTo>
                <a:lnTo>
                  <a:pt x="1394" y="4096"/>
                </a:lnTo>
                <a:lnTo>
                  <a:pt x="1394" y="4096"/>
                </a:lnTo>
                <a:lnTo>
                  <a:pt x="1358" y="4094"/>
                </a:lnTo>
                <a:lnTo>
                  <a:pt x="1324" y="4090"/>
                </a:lnTo>
                <a:lnTo>
                  <a:pt x="1290" y="4080"/>
                </a:lnTo>
                <a:lnTo>
                  <a:pt x="1256" y="4070"/>
                </a:lnTo>
                <a:lnTo>
                  <a:pt x="1226" y="4054"/>
                </a:lnTo>
                <a:lnTo>
                  <a:pt x="1196" y="4036"/>
                </a:lnTo>
                <a:lnTo>
                  <a:pt x="1168" y="4016"/>
                </a:lnTo>
                <a:lnTo>
                  <a:pt x="1140" y="3992"/>
                </a:lnTo>
                <a:lnTo>
                  <a:pt x="1140" y="3992"/>
                </a:lnTo>
                <a:lnTo>
                  <a:pt x="1124" y="3976"/>
                </a:lnTo>
                <a:lnTo>
                  <a:pt x="1106" y="3962"/>
                </a:lnTo>
                <a:lnTo>
                  <a:pt x="1086" y="3950"/>
                </a:lnTo>
                <a:lnTo>
                  <a:pt x="1066" y="3942"/>
                </a:lnTo>
                <a:lnTo>
                  <a:pt x="1044" y="3934"/>
                </a:lnTo>
                <a:lnTo>
                  <a:pt x="1022" y="3928"/>
                </a:lnTo>
                <a:lnTo>
                  <a:pt x="1000" y="3924"/>
                </a:lnTo>
                <a:lnTo>
                  <a:pt x="978" y="3924"/>
                </a:lnTo>
                <a:lnTo>
                  <a:pt x="820" y="3924"/>
                </a:lnTo>
                <a:lnTo>
                  <a:pt x="820" y="3946"/>
                </a:lnTo>
                <a:lnTo>
                  <a:pt x="820" y="3946"/>
                </a:lnTo>
                <a:lnTo>
                  <a:pt x="818" y="3960"/>
                </a:lnTo>
                <a:lnTo>
                  <a:pt x="816" y="3976"/>
                </a:lnTo>
                <a:lnTo>
                  <a:pt x="812" y="3990"/>
                </a:lnTo>
                <a:lnTo>
                  <a:pt x="808" y="4004"/>
                </a:lnTo>
                <a:lnTo>
                  <a:pt x="800" y="4016"/>
                </a:lnTo>
                <a:lnTo>
                  <a:pt x="794" y="4030"/>
                </a:lnTo>
                <a:lnTo>
                  <a:pt x="784" y="4042"/>
                </a:lnTo>
                <a:lnTo>
                  <a:pt x="774" y="4052"/>
                </a:lnTo>
                <a:lnTo>
                  <a:pt x="764" y="4062"/>
                </a:lnTo>
                <a:lnTo>
                  <a:pt x="752" y="4070"/>
                </a:lnTo>
                <a:lnTo>
                  <a:pt x="740" y="4078"/>
                </a:lnTo>
                <a:lnTo>
                  <a:pt x="726" y="4084"/>
                </a:lnTo>
                <a:lnTo>
                  <a:pt x="714" y="4090"/>
                </a:lnTo>
                <a:lnTo>
                  <a:pt x="698" y="4092"/>
                </a:lnTo>
                <a:lnTo>
                  <a:pt x="684" y="4096"/>
                </a:lnTo>
                <a:lnTo>
                  <a:pt x="668" y="4096"/>
                </a:lnTo>
                <a:lnTo>
                  <a:pt x="150" y="4096"/>
                </a:lnTo>
                <a:lnTo>
                  <a:pt x="150" y="4096"/>
                </a:lnTo>
                <a:lnTo>
                  <a:pt x="136" y="4096"/>
                </a:lnTo>
                <a:lnTo>
                  <a:pt x="120" y="4092"/>
                </a:lnTo>
                <a:lnTo>
                  <a:pt x="106" y="4090"/>
                </a:lnTo>
                <a:lnTo>
                  <a:pt x="92" y="4084"/>
                </a:lnTo>
                <a:lnTo>
                  <a:pt x="80" y="4078"/>
                </a:lnTo>
                <a:lnTo>
                  <a:pt x="66" y="4070"/>
                </a:lnTo>
                <a:lnTo>
                  <a:pt x="54" y="4062"/>
                </a:lnTo>
                <a:lnTo>
                  <a:pt x="44" y="4052"/>
                </a:lnTo>
                <a:lnTo>
                  <a:pt x="34" y="4042"/>
                </a:lnTo>
                <a:lnTo>
                  <a:pt x="26" y="4030"/>
                </a:lnTo>
                <a:lnTo>
                  <a:pt x="18" y="4016"/>
                </a:lnTo>
                <a:lnTo>
                  <a:pt x="12" y="4004"/>
                </a:lnTo>
                <a:lnTo>
                  <a:pt x="6" y="3990"/>
                </a:lnTo>
                <a:lnTo>
                  <a:pt x="4" y="3976"/>
                </a:lnTo>
                <a:lnTo>
                  <a:pt x="0" y="3960"/>
                </a:lnTo>
                <a:lnTo>
                  <a:pt x="0" y="3946"/>
                </a:lnTo>
                <a:lnTo>
                  <a:pt x="0" y="2480"/>
                </a:lnTo>
                <a:lnTo>
                  <a:pt x="0" y="2480"/>
                </a:lnTo>
                <a:lnTo>
                  <a:pt x="0" y="2464"/>
                </a:lnTo>
                <a:lnTo>
                  <a:pt x="4" y="2448"/>
                </a:lnTo>
                <a:lnTo>
                  <a:pt x="6" y="2434"/>
                </a:lnTo>
                <a:lnTo>
                  <a:pt x="12" y="2420"/>
                </a:lnTo>
                <a:lnTo>
                  <a:pt x="18" y="2408"/>
                </a:lnTo>
                <a:lnTo>
                  <a:pt x="26" y="2394"/>
                </a:lnTo>
                <a:lnTo>
                  <a:pt x="34" y="2384"/>
                </a:lnTo>
                <a:lnTo>
                  <a:pt x="44" y="2372"/>
                </a:lnTo>
                <a:lnTo>
                  <a:pt x="54" y="2362"/>
                </a:lnTo>
                <a:lnTo>
                  <a:pt x="66" y="2354"/>
                </a:lnTo>
                <a:lnTo>
                  <a:pt x="80" y="2346"/>
                </a:lnTo>
                <a:lnTo>
                  <a:pt x="92" y="2340"/>
                </a:lnTo>
                <a:lnTo>
                  <a:pt x="106" y="2336"/>
                </a:lnTo>
                <a:lnTo>
                  <a:pt x="120" y="2332"/>
                </a:lnTo>
                <a:lnTo>
                  <a:pt x="136" y="2330"/>
                </a:lnTo>
                <a:lnTo>
                  <a:pt x="150" y="2328"/>
                </a:lnTo>
                <a:lnTo>
                  <a:pt x="668" y="2328"/>
                </a:lnTo>
                <a:lnTo>
                  <a:pt x="668" y="2328"/>
                </a:lnTo>
                <a:lnTo>
                  <a:pt x="684" y="2330"/>
                </a:lnTo>
                <a:lnTo>
                  <a:pt x="698" y="2332"/>
                </a:lnTo>
                <a:lnTo>
                  <a:pt x="714" y="2336"/>
                </a:lnTo>
                <a:lnTo>
                  <a:pt x="726" y="2340"/>
                </a:lnTo>
                <a:lnTo>
                  <a:pt x="740" y="2346"/>
                </a:lnTo>
                <a:lnTo>
                  <a:pt x="752" y="2354"/>
                </a:lnTo>
                <a:lnTo>
                  <a:pt x="764" y="2362"/>
                </a:lnTo>
                <a:lnTo>
                  <a:pt x="774" y="2372"/>
                </a:lnTo>
                <a:lnTo>
                  <a:pt x="784" y="2384"/>
                </a:lnTo>
                <a:lnTo>
                  <a:pt x="794" y="2394"/>
                </a:lnTo>
                <a:lnTo>
                  <a:pt x="800" y="2408"/>
                </a:lnTo>
                <a:lnTo>
                  <a:pt x="808" y="2420"/>
                </a:lnTo>
                <a:lnTo>
                  <a:pt x="812" y="2434"/>
                </a:lnTo>
                <a:lnTo>
                  <a:pt x="816" y="2448"/>
                </a:lnTo>
                <a:lnTo>
                  <a:pt x="818" y="2464"/>
                </a:lnTo>
                <a:lnTo>
                  <a:pt x="820" y="2480"/>
                </a:lnTo>
                <a:lnTo>
                  <a:pt x="820" y="2500"/>
                </a:lnTo>
                <a:lnTo>
                  <a:pt x="976" y="2500"/>
                </a:lnTo>
                <a:lnTo>
                  <a:pt x="976" y="2500"/>
                </a:lnTo>
                <a:lnTo>
                  <a:pt x="992" y="2500"/>
                </a:lnTo>
                <a:lnTo>
                  <a:pt x="1008" y="2496"/>
                </a:lnTo>
                <a:lnTo>
                  <a:pt x="1024" y="2490"/>
                </a:lnTo>
                <a:lnTo>
                  <a:pt x="1038" y="2480"/>
                </a:lnTo>
                <a:lnTo>
                  <a:pt x="1050" y="2470"/>
                </a:lnTo>
                <a:lnTo>
                  <a:pt x="1062" y="2458"/>
                </a:lnTo>
                <a:lnTo>
                  <a:pt x="1070" y="2442"/>
                </a:lnTo>
                <a:lnTo>
                  <a:pt x="1078" y="2428"/>
                </a:lnTo>
                <a:lnTo>
                  <a:pt x="1102" y="2354"/>
                </a:lnTo>
                <a:lnTo>
                  <a:pt x="1102" y="2354"/>
                </a:lnTo>
                <a:lnTo>
                  <a:pt x="1126" y="2276"/>
                </a:lnTo>
                <a:lnTo>
                  <a:pt x="1148" y="2196"/>
                </a:lnTo>
                <a:lnTo>
                  <a:pt x="1166" y="2114"/>
                </a:lnTo>
                <a:lnTo>
                  <a:pt x="1180" y="2034"/>
                </a:lnTo>
                <a:lnTo>
                  <a:pt x="1192" y="1952"/>
                </a:lnTo>
                <a:lnTo>
                  <a:pt x="1200" y="1868"/>
                </a:lnTo>
                <a:lnTo>
                  <a:pt x="1206" y="1786"/>
                </a:lnTo>
                <a:lnTo>
                  <a:pt x="1208" y="1704"/>
                </a:lnTo>
                <a:lnTo>
                  <a:pt x="1208" y="1704"/>
                </a:lnTo>
                <a:lnTo>
                  <a:pt x="1208" y="1678"/>
                </a:lnTo>
                <a:lnTo>
                  <a:pt x="1212" y="1656"/>
                </a:lnTo>
                <a:lnTo>
                  <a:pt x="1218" y="1632"/>
                </a:lnTo>
                <a:lnTo>
                  <a:pt x="1226" y="1610"/>
                </a:lnTo>
                <a:lnTo>
                  <a:pt x="1236" y="1590"/>
                </a:lnTo>
                <a:lnTo>
                  <a:pt x="1248" y="1570"/>
                </a:lnTo>
                <a:lnTo>
                  <a:pt x="1262" y="1552"/>
                </a:lnTo>
                <a:lnTo>
                  <a:pt x="1276" y="1536"/>
                </a:lnTo>
                <a:lnTo>
                  <a:pt x="1294" y="1520"/>
                </a:lnTo>
                <a:lnTo>
                  <a:pt x="1312" y="1506"/>
                </a:lnTo>
                <a:lnTo>
                  <a:pt x="1332" y="1494"/>
                </a:lnTo>
                <a:lnTo>
                  <a:pt x="1352" y="1484"/>
                </a:lnTo>
                <a:lnTo>
                  <a:pt x="1374" y="1476"/>
                </a:lnTo>
                <a:lnTo>
                  <a:pt x="1396" y="1470"/>
                </a:lnTo>
                <a:lnTo>
                  <a:pt x="1420" y="1468"/>
                </a:lnTo>
                <a:lnTo>
                  <a:pt x="1444" y="1466"/>
                </a:lnTo>
                <a:lnTo>
                  <a:pt x="1444" y="1466"/>
                </a:lnTo>
                <a:lnTo>
                  <a:pt x="1476" y="1468"/>
                </a:lnTo>
                <a:lnTo>
                  <a:pt x="1508" y="1472"/>
                </a:lnTo>
                <a:lnTo>
                  <a:pt x="1538" y="1480"/>
                </a:lnTo>
                <a:lnTo>
                  <a:pt x="1568" y="1490"/>
                </a:lnTo>
                <a:lnTo>
                  <a:pt x="1596" y="1504"/>
                </a:lnTo>
                <a:lnTo>
                  <a:pt x="1624" y="1520"/>
                </a:lnTo>
                <a:lnTo>
                  <a:pt x="1650" y="1540"/>
                </a:lnTo>
                <a:lnTo>
                  <a:pt x="1674" y="1560"/>
                </a:lnTo>
                <a:lnTo>
                  <a:pt x="1674" y="1560"/>
                </a:lnTo>
                <a:lnTo>
                  <a:pt x="1694" y="1584"/>
                </a:lnTo>
                <a:lnTo>
                  <a:pt x="1714" y="1610"/>
                </a:lnTo>
                <a:lnTo>
                  <a:pt x="1730" y="1638"/>
                </a:lnTo>
                <a:lnTo>
                  <a:pt x="1744" y="1666"/>
                </a:lnTo>
                <a:lnTo>
                  <a:pt x="1754" y="1696"/>
                </a:lnTo>
                <a:lnTo>
                  <a:pt x="1762" y="1726"/>
                </a:lnTo>
                <a:lnTo>
                  <a:pt x="1766" y="1758"/>
                </a:lnTo>
                <a:lnTo>
                  <a:pt x="1768" y="1790"/>
                </a:lnTo>
                <a:lnTo>
                  <a:pt x="1768" y="2480"/>
                </a:lnTo>
                <a:lnTo>
                  <a:pt x="1768" y="2480"/>
                </a:lnTo>
                <a:lnTo>
                  <a:pt x="1766" y="2492"/>
                </a:lnTo>
                <a:lnTo>
                  <a:pt x="1762" y="2504"/>
                </a:lnTo>
                <a:lnTo>
                  <a:pt x="1756" y="2516"/>
                </a:lnTo>
                <a:lnTo>
                  <a:pt x="1748" y="2524"/>
                </a:lnTo>
                <a:lnTo>
                  <a:pt x="1740" y="2532"/>
                </a:lnTo>
                <a:lnTo>
                  <a:pt x="1728" y="2538"/>
                </a:lnTo>
                <a:lnTo>
                  <a:pt x="1716" y="2542"/>
                </a:lnTo>
                <a:lnTo>
                  <a:pt x="1704" y="2544"/>
                </a:lnTo>
                <a:lnTo>
                  <a:pt x="1704" y="2544"/>
                </a:lnTo>
                <a:lnTo>
                  <a:pt x="1690" y="2542"/>
                </a:lnTo>
                <a:lnTo>
                  <a:pt x="1678" y="2538"/>
                </a:lnTo>
                <a:lnTo>
                  <a:pt x="1666" y="2532"/>
                </a:lnTo>
                <a:lnTo>
                  <a:pt x="1658" y="2524"/>
                </a:lnTo>
                <a:lnTo>
                  <a:pt x="1650" y="2516"/>
                </a:lnTo>
                <a:lnTo>
                  <a:pt x="1644" y="2504"/>
                </a:lnTo>
                <a:lnTo>
                  <a:pt x="1640" y="2492"/>
                </a:lnTo>
                <a:lnTo>
                  <a:pt x="1638" y="2480"/>
                </a:lnTo>
                <a:lnTo>
                  <a:pt x="1638" y="1790"/>
                </a:lnTo>
                <a:lnTo>
                  <a:pt x="1638" y="1790"/>
                </a:lnTo>
                <a:lnTo>
                  <a:pt x="1638" y="1770"/>
                </a:lnTo>
                <a:lnTo>
                  <a:pt x="1634" y="1752"/>
                </a:lnTo>
                <a:lnTo>
                  <a:pt x="1630" y="1732"/>
                </a:lnTo>
                <a:lnTo>
                  <a:pt x="1624" y="1716"/>
                </a:lnTo>
                <a:lnTo>
                  <a:pt x="1616" y="1698"/>
                </a:lnTo>
                <a:lnTo>
                  <a:pt x="1606" y="1682"/>
                </a:lnTo>
                <a:lnTo>
                  <a:pt x="1594" y="1666"/>
                </a:lnTo>
                <a:lnTo>
                  <a:pt x="1582" y="1652"/>
                </a:lnTo>
                <a:lnTo>
                  <a:pt x="1582" y="1652"/>
                </a:lnTo>
                <a:lnTo>
                  <a:pt x="1568" y="1640"/>
                </a:lnTo>
                <a:lnTo>
                  <a:pt x="1552" y="1628"/>
                </a:lnTo>
                <a:lnTo>
                  <a:pt x="1536" y="1618"/>
                </a:lnTo>
                <a:lnTo>
                  <a:pt x="1518" y="1610"/>
                </a:lnTo>
                <a:lnTo>
                  <a:pt x="1500" y="1604"/>
                </a:lnTo>
                <a:lnTo>
                  <a:pt x="1482" y="1600"/>
                </a:lnTo>
                <a:lnTo>
                  <a:pt x="1464" y="1596"/>
                </a:lnTo>
                <a:lnTo>
                  <a:pt x="1444" y="1596"/>
                </a:lnTo>
                <a:lnTo>
                  <a:pt x="1444" y="1596"/>
                </a:lnTo>
                <a:lnTo>
                  <a:pt x="1422" y="1598"/>
                </a:lnTo>
                <a:lnTo>
                  <a:pt x="1402" y="1604"/>
                </a:lnTo>
                <a:lnTo>
                  <a:pt x="1384" y="1614"/>
                </a:lnTo>
                <a:lnTo>
                  <a:pt x="1368" y="1626"/>
                </a:lnTo>
                <a:lnTo>
                  <a:pt x="1356" y="1642"/>
                </a:lnTo>
                <a:lnTo>
                  <a:pt x="1346" y="1662"/>
                </a:lnTo>
                <a:lnTo>
                  <a:pt x="1338" y="1682"/>
                </a:lnTo>
                <a:lnTo>
                  <a:pt x="1336" y="1704"/>
                </a:lnTo>
                <a:lnTo>
                  <a:pt x="1336" y="1704"/>
                </a:lnTo>
                <a:lnTo>
                  <a:pt x="1334" y="1792"/>
                </a:lnTo>
                <a:lnTo>
                  <a:pt x="1330" y="1880"/>
                </a:lnTo>
                <a:lnTo>
                  <a:pt x="1320" y="1966"/>
                </a:lnTo>
                <a:lnTo>
                  <a:pt x="1308" y="2054"/>
                </a:lnTo>
                <a:lnTo>
                  <a:pt x="1292" y="2140"/>
                </a:lnTo>
                <a:lnTo>
                  <a:pt x="1274" y="2226"/>
                </a:lnTo>
                <a:lnTo>
                  <a:pt x="1250" y="2312"/>
                </a:lnTo>
                <a:lnTo>
                  <a:pt x="1224" y="2396"/>
                </a:lnTo>
                <a:lnTo>
                  <a:pt x="1200" y="2468"/>
                </a:lnTo>
                <a:lnTo>
                  <a:pt x="1200" y="2468"/>
                </a:lnTo>
                <a:lnTo>
                  <a:pt x="1194" y="2486"/>
                </a:lnTo>
                <a:lnTo>
                  <a:pt x="1186" y="2502"/>
                </a:lnTo>
                <a:lnTo>
                  <a:pt x="1176" y="2518"/>
                </a:lnTo>
                <a:lnTo>
                  <a:pt x="1166" y="2534"/>
                </a:lnTo>
                <a:lnTo>
                  <a:pt x="1154" y="2548"/>
                </a:lnTo>
                <a:lnTo>
                  <a:pt x="1142" y="2562"/>
                </a:lnTo>
                <a:lnTo>
                  <a:pt x="1128" y="2574"/>
                </a:lnTo>
                <a:lnTo>
                  <a:pt x="1114" y="2586"/>
                </a:lnTo>
                <a:lnTo>
                  <a:pt x="1098" y="2596"/>
                </a:lnTo>
                <a:lnTo>
                  <a:pt x="1082" y="2604"/>
                </a:lnTo>
                <a:lnTo>
                  <a:pt x="1066" y="2612"/>
                </a:lnTo>
                <a:lnTo>
                  <a:pt x="1048" y="2618"/>
                </a:lnTo>
                <a:lnTo>
                  <a:pt x="1032" y="2624"/>
                </a:lnTo>
                <a:lnTo>
                  <a:pt x="1012" y="2628"/>
                </a:lnTo>
                <a:lnTo>
                  <a:pt x="994" y="2630"/>
                </a:lnTo>
                <a:lnTo>
                  <a:pt x="976" y="2630"/>
                </a:lnTo>
                <a:lnTo>
                  <a:pt x="820" y="2630"/>
                </a:lnTo>
                <a:lnTo>
                  <a:pt x="820" y="2824"/>
                </a:lnTo>
                <a:lnTo>
                  <a:pt x="820" y="2824"/>
                </a:lnTo>
                <a:lnTo>
                  <a:pt x="818" y="2838"/>
                </a:lnTo>
                <a:lnTo>
                  <a:pt x="814" y="2850"/>
                </a:lnTo>
                <a:lnTo>
                  <a:pt x="808" y="2860"/>
                </a:lnTo>
                <a:lnTo>
                  <a:pt x="800" y="2870"/>
                </a:lnTo>
                <a:lnTo>
                  <a:pt x="790" y="2878"/>
                </a:lnTo>
                <a:lnTo>
                  <a:pt x="780" y="2884"/>
                </a:lnTo>
                <a:lnTo>
                  <a:pt x="768" y="2888"/>
                </a:lnTo>
                <a:lnTo>
                  <a:pt x="754" y="2888"/>
                </a:lnTo>
                <a:lnTo>
                  <a:pt x="754" y="2888"/>
                </a:lnTo>
                <a:lnTo>
                  <a:pt x="742" y="2888"/>
                </a:lnTo>
                <a:lnTo>
                  <a:pt x="730" y="2884"/>
                </a:lnTo>
                <a:lnTo>
                  <a:pt x="718" y="2878"/>
                </a:lnTo>
                <a:lnTo>
                  <a:pt x="708" y="2870"/>
                </a:lnTo>
                <a:lnTo>
                  <a:pt x="700" y="2860"/>
                </a:lnTo>
                <a:lnTo>
                  <a:pt x="694" y="2850"/>
                </a:lnTo>
                <a:lnTo>
                  <a:pt x="692" y="2838"/>
                </a:lnTo>
                <a:lnTo>
                  <a:pt x="690" y="2824"/>
                </a:lnTo>
                <a:lnTo>
                  <a:pt x="690" y="2480"/>
                </a:lnTo>
                <a:lnTo>
                  <a:pt x="690" y="2480"/>
                </a:lnTo>
                <a:lnTo>
                  <a:pt x="688" y="2470"/>
                </a:lnTo>
                <a:lnTo>
                  <a:pt x="684" y="2464"/>
                </a:lnTo>
                <a:lnTo>
                  <a:pt x="676" y="2460"/>
                </a:lnTo>
                <a:lnTo>
                  <a:pt x="668" y="2458"/>
                </a:lnTo>
                <a:lnTo>
                  <a:pt x="150" y="2458"/>
                </a:lnTo>
                <a:lnTo>
                  <a:pt x="150" y="2458"/>
                </a:lnTo>
                <a:lnTo>
                  <a:pt x="142" y="2460"/>
                </a:lnTo>
                <a:lnTo>
                  <a:pt x="136" y="2464"/>
                </a:lnTo>
                <a:lnTo>
                  <a:pt x="132" y="2470"/>
                </a:lnTo>
                <a:lnTo>
                  <a:pt x="130" y="2480"/>
                </a:lnTo>
                <a:lnTo>
                  <a:pt x="130" y="3946"/>
                </a:lnTo>
                <a:lnTo>
                  <a:pt x="130" y="3946"/>
                </a:lnTo>
                <a:lnTo>
                  <a:pt x="132" y="3954"/>
                </a:lnTo>
                <a:lnTo>
                  <a:pt x="136" y="3960"/>
                </a:lnTo>
                <a:lnTo>
                  <a:pt x="142" y="3964"/>
                </a:lnTo>
                <a:lnTo>
                  <a:pt x="150" y="3966"/>
                </a:lnTo>
                <a:lnTo>
                  <a:pt x="344" y="3966"/>
                </a:lnTo>
                <a:lnTo>
                  <a:pt x="344" y="3082"/>
                </a:lnTo>
                <a:lnTo>
                  <a:pt x="344" y="3082"/>
                </a:lnTo>
                <a:lnTo>
                  <a:pt x="346" y="3070"/>
                </a:lnTo>
                <a:lnTo>
                  <a:pt x="350" y="3058"/>
                </a:lnTo>
                <a:lnTo>
                  <a:pt x="356" y="3046"/>
                </a:lnTo>
                <a:lnTo>
                  <a:pt x="364" y="3038"/>
                </a:lnTo>
                <a:lnTo>
                  <a:pt x="374" y="3030"/>
                </a:lnTo>
                <a:lnTo>
                  <a:pt x="384" y="3024"/>
                </a:lnTo>
                <a:lnTo>
                  <a:pt x="396" y="3020"/>
                </a:lnTo>
                <a:lnTo>
                  <a:pt x="410" y="3018"/>
                </a:lnTo>
                <a:lnTo>
                  <a:pt x="410" y="3018"/>
                </a:lnTo>
                <a:lnTo>
                  <a:pt x="422" y="3020"/>
                </a:lnTo>
                <a:lnTo>
                  <a:pt x="434" y="3024"/>
                </a:lnTo>
                <a:lnTo>
                  <a:pt x="446" y="3030"/>
                </a:lnTo>
                <a:lnTo>
                  <a:pt x="456" y="3038"/>
                </a:lnTo>
                <a:lnTo>
                  <a:pt x="464" y="3046"/>
                </a:lnTo>
                <a:lnTo>
                  <a:pt x="470" y="3058"/>
                </a:lnTo>
                <a:lnTo>
                  <a:pt x="472" y="3070"/>
                </a:lnTo>
                <a:lnTo>
                  <a:pt x="474" y="3082"/>
                </a:lnTo>
                <a:lnTo>
                  <a:pt x="474" y="3966"/>
                </a:lnTo>
                <a:lnTo>
                  <a:pt x="668" y="3966"/>
                </a:lnTo>
                <a:lnTo>
                  <a:pt x="668" y="3966"/>
                </a:lnTo>
                <a:lnTo>
                  <a:pt x="676" y="3964"/>
                </a:lnTo>
                <a:lnTo>
                  <a:pt x="684" y="3960"/>
                </a:lnTo>
                <a:lnTo>
                  <a:pt x="688" y="3954"/>
                </a:lnTo>
                <a:lnTo>
                  <a:pt x="690" y="3946"/>
                </a:lnTo>
                <a:lnTo>
                  <a:pt x="690" y="3082"/>
                </a:lnTo>
                <a:lnTo>
                  <a:pt x="690" y="3082"/>
                </a:lnTo>
                <a:lnTo>
                  <a:pt x="692" y="3070"/>
                </a:lnTo>
                <a:lnTo>
                  <a:pt x="694" y="3058"/>
                </a:lnTo>
                <a:lnTo>
                  <a:pt x="700" y="3046"/>
                </a:lnTo>
                <a:lnTo>
                  <a:pt x="708" y="3038"/>
                </a:lnTo>
                <a:lnTo>
                  <a:pt x="718" y="3030"/>
                </a:lnTo>
                <a:lnTo>
                  <a:pt x="730" y="3024"/>
                </a:lnTo>
                <a:lnTo>
                  <a:pt x="742" y="3020"/>
                </a:lnTo>
                <a:lnTo>
                  <a:pt x="754" y="3018"/>
                </a:lnTo>
                <a:lnTo>
                  <a:pt x="754" y="3018"/>
                </a:lnTo>
                <a:lnTo>
                  <a:pt x="768" y="3020"/>
                </a:lnTo>
                <a:lnTo>
                  <a:pt x="780" y="3024"/>
                </a:lnTo>
                <a:lnTo>
                  <a:pt x="790" y="3030"/>
                </a:lnTo>
                <a:lnTo>
                  <a:pt x="800" y="3038"/>
                </a:lnTo>
                <a:lnTo>
                  <a:pt x="808" y="3046"/>
                </a:lnTo>
                <a:lnTo>
                  <a:pt x="814" y="3058"/>
                </a:lnTo>
                <a:lnTo>
                  <a:pt x="818" y="3070"/>
                </a:lnTo>
                <a:lnTo>
                  <a:pt x="820" y="3082"/>
                </a:lnTo>
                <a:lnTo>
                  <a:pt x="820" y="3794"/>
                </a:lnTo>
                <a:lnTo>
                  <a:pt x="978" y="3794"/>
                </a:lnTo>
                <a:lnTo>
                  <a:pt x="978" y="3794"/>
                </a:lnTo>
                <a:lnTo>
                  <a:pt x="1014" y="3796"/>
                </a:lnTo>
                <a:lnTo>
                  <a:pt x="1048" y="3802"/>
                </a:lnTo>
                <a:lnTo>
                  <a:pt x="1082" y="3810"/>
                </a:lnTo>
                <a:lnTo>
                  <a:pt x="1114" y="3822"/>
                </a:lnTo>
                <a:lnTo>
                  <a:pt x="1146" y="3836"/>
                </a:lnTo>
                <a:lnTo>
                  <a:pt x="1176" y="3854"/>
                </a:lnTo>
                <a:lnTo>
                  <a:pt x="1206" y="3876"/>
                </a:lnTo>
                <a:lnTo>
                  <a:pt x="1232" y="3900"/>
                </a:lnTo>
                <a:lnTo>
                  <a:pt x="1232" y="3900"/>
                </a:lnTo>
                <a:lnTo>
                  <a:pt x="1248" y="3916"/>
                </a:lnTo>
                <a:lnTo>
                  <a:pt x="1266" y="3928"/>
                </a:lnTo>
                <a:lnTo>
                  <a:pt x="1286" y="3940"/>
                </a:lnTo>
                <a:lnTo>
                  <a:pt x="1306" y="3950"/>
                </a:lnTo>
                <a:lnTo>
                  <a:pt x="1328" y="3956"/>
                </a:lnTo>
                <a:lnTo>
                  <a:pt x="1348" y="3962"/>
                </a:lnTo>
                <a:lnTo>
                  <a:pt x="1372" y="3966"/>
                </a:lnTo>
                <a:lnTo>
                  <a:pt x="1394" y="3966"/>
                </a:lnTo>
                <a:lnTo>
                  <a:pt x="2566" y="3966"/>
                </a:lnTo>
                <a:lnTo>
                  <a:pt x="2566" y="3966"/>
                </a:lnTo>
                <a:lnTo>
                  <a:pt x="2588" y="3964"/>
                </a:lnTo>
                <a:lnTo>
                  <a:pt x="2608" y="3958"/>
                </a:lnTo>
                <a:lnTo>
                  <a:pt x="2626" y="3948"/>
                </a:lnTo>
                <a:lnTo>
                  <a:pt x="2642" y="3936"/>
                </a:lnTo>
                <a:lnTo>
                  <a:pt x="2654" y="3920"/>
                </a:lnTo>
                <a:lnTo>
                  <a:pt x="2664" y="3900"/>
                </a:lnTo>
                <a:lnTo>
                  <a:pt x="2670" y="3880"/>
                </a:lnTo>
                <a:lnTo>
                  <a:pt x="2674" y="3858"/>
                </a:lnTo>
                <a:lnTo>
                  <a:pt x="2674" y="3772"/>
                </a:lnTo>
                <a:lnTo>
                  <a:pt x="2674" y="3772"/>
                </a:lnTo>
                <a:lnTo>
                  <a:pt x="2670" y="3750"/>
                </a:lnTo>
                <a:lnTo>
                  <a:pt x="2664" y="3730"/>
                </a:lnTo>
                <a:lnTo>
                  <a:pt x="2654" y="3712"/>
                </a:lnTo>
                <a:lnTo>
                  <a:pt x="2642" y="3696"/>
                </a:lnTo>
                <a:lnTo>
                  <a:pt x="2626" y="3684"/>
                </a:lnTo>
                <a:lnTo>
                  <a:pt x="2608" y="3674"/>
                </a:lnTo>
                <a:lnTo>
                  <a:pt x="2588" y="3668"/>
                </a:lnTo>
                <a:lnTo>
                  <a:pt x="2566" y="3664"/>
                </a:lnTo>
                <a:lnTo>
                  <a:pt x="1962" y="3664"/>
                </a:lnTo>
                <a:lnTo>
                  <a:pt x="1962" y="3664"/>
                </a:lnTo>
                <a:lnTo>
                  <a:pt x="1948" y="3664"/>
                </a:lnTo>
                <a:lnTo>
                  <a:pt x="1936" y="3660"/>
                </a:lnTo>
                <a:lnTo>
                  <a:pt x="1926" y="3654"/>
                </a:lnTo>
                <a:lnTo>
                  <a:pt x="1916" y="3646"/>
                </a:lnTo>
                <a:lnTo>
                  <a:pt x="1908" y="3636"/>
                </a:lnTo>
                <a:lnTo>
                  <a:pt x="1902" y="3626"/>
                </a:lnTo>
                <a:lnTo>
                  <a:pt x="1898" y="3614"/>
                </a:lnTo>
                <a:lnTo>
                  <a:pt x="1898" y="3600"/>
                </a:lnTo>
                <a:lnTo>
                  <a:pt x="1898" y="3600"/>
                </a:lnTo>
                <a:lnTo>
                  <a:pt x="1898" y="3588"/>
                </a:lnTo>
                <a:lnTo>
                  <a:pt x="1902" y="3574"/>
                </a:lnTo>
                <a:lnTo>
                  <a:pt x="1908" y="3564"/>
                </a:lnTo>
                <a:lnTo>
                  <a:pt x="1916" y="3554"/>
                </a:lnTo>
                <a:lnTo>
                  <a:pt x="1926" y="3546"/>
                </a:lnTo>
                <a:lnTo>
                  <a:pt x="1936" y="3540"/>
                </a:lnTo>
                <a:lnTo>
                  <a:pt x="1948" y="3536"/>
                </a:lnTo>
                <a:lnTo>
                  <a:pt x="1962" y="3536"/>
                </a:lnTo>
                <a:lnTo>
                  <a:pt x="2566" y="3536"/>
                </a:lnTo>
                <a:lnTo>
                  <a:pt x="2566" y="3536"/>
                </a:lnTo>
                <a:lnTo>
                  <a:pt x="2588" y="3534"/>
                </a:lnTo>
                <a:lnTo>
                  <a:pt x="2608" y="3528"/>
                </a:lnTo>
                <a:lnTo>
                  <a:pt x="2626" y="3518"/>
                </a:lnTo>
                <a:lnTo>
                  <a:pt x="2642" y="3504"/>
                </a:lnTo>
                <a:lnTo>
                  <a:pt x="2654" y="3488"/>
                </a:lnTo>
                <a:lnTo>
                  <a:pt x="2664" y="3470"/>
                </a:lnTo>
                <a:lnTo>
                  <a:pt x="2670" y="3450"/>
                </a:lnTo>
                <a:lnTo>
                  <a:pt x="2674" y="3428"/>
                </a:lnTo>
                <a:lnTo>
                  <a:pt x="2674" y="3342"/>
                </a:lnTo>
                <a:lnTo>
                  <a:pt x="2674" y="3342"/>
                </a:lnTo>
                <a:lnTo>
                  <a:pt x="2670" y="3320"/>
                </a:lnTo>
                <a:lnTo>
                  <a:pt x="2664" y="3300"/>
                </a:lnTo>
                <a:lnTo>
                  <a:pt x="2654" y="3282"/>
                </a:lnTo>
                <a:lnTo>
                  <a:pt x="2642" y="3266"/>
                </a:lnTo>
                <a:lnTo>
                  <a:pt x="2626" y="3252"/>
                </a:lnTo>
                <a:lnTo>
                  <a:pt x="2608" y="3242"/>
                </a:lnTo>
                <a:lnTo>
                  <a:pt x="2588" y="3236"/>
                </a:lnTo>
                <a:lnTo>
                  <a:pt x="2566" y="3234"/>
                </a:lnTo>
                <a:lnTo>
                  <a:pt x="1962" y="3234"/>
                </a:lnTo>
                <a:lnTo>
                  <a:pt x="1962" y="3234"/>
                </a:lnTo>
                <a:lnTo>
                  <a:pt x="1948" y="3232"/>
                </a:lnTo>
                <a:lnTo>
                  <a:pt x="1936" y="3228"/>
                </a:lnTo>
                <a:lnTo>
                  <a:pt x="1926" y="3222"/>
                </a:lnTo>
                <a:lnTo>
                  <a:pt x="1916" y="3214"/>
                </a:lnTo>
                <a:lnTo>
                  <a:pt x="1908" y="3206"/>
                </a:lnTo>
                <a:lnTo>
                  <a:pt x="1902" y="3194"/>
                </a:lnTo>
                <a:lnTo>
                  <a:pt x="1898" y="3182"/>
                </a:lnTo>
                <a:lnTo>
                  <a:pt x="1898" y="3170"/>
                </a:lnTo>
                <a:lnTo>
                  <a:pt x="1898" y="3170"/>
                </a:lnTo>
                <a:lnTo>
                  <a:pt x="1898" y="3156"/>
                </a:lnTo>
                <a:lnTo>
                  <a:pt x="1902" y="3144"/>
                </a:lnTo>
                <a:lnTo>
                  <a:pt x="1908" y="3132"/>
                </a:lnTo>
                <a:lnTo>
                  <a:pt x="1916" y="3124"/>
                </a:lnTo>
                <a:lnTo>
                  <a:pt x="1926" y="3116"/>
                </a:lnTo>
                <a:lnTo>
                  <a:pt x="1936" y="3110"/>
                </a:lnTo>
                <a:lnTo>
                  <a:pt x="1948" y="3106"/>
                </a:lnTo>
                <a:lnTo>
                  <a:pt x="1962" y="3104"/>
                </a:lnTo>
                <a:lnTo>
                  <a:pt x="2566" y="3104"/>
                </a:lnTo>
                <a:lnTo>
                  <a:pt x="2566" y="3104"/>
                </a:lnTo>
                <a:lnTo>
                  <a:pt x="2588" y="3102"/>
                </a:lnTo>
                <a:lnTo>
                  <a:pt x="2608" y="3096"/>
                </a:lnTo>
                <a:lnTo>
                  <a:pt x="2626" y="3086"/>
                </a:lnTo>
                <a:lnTo>
                  <a:pt x="2642" y="3072"/>
                </a:lnTo>
                <a:lnTo>
                  <a:pt x="2654" y="3056"/>
                </a:lnTo>
                <a:lnTo>
                  <a:pt x="2664" y="3038"/>
                </a:lnTo>
                <a:lnTo>
                  <a:pt x="2670" y="3018"/>
                </a:lnTo>
                <a:lnTo>
                  <a:pt x="2674" y="2996"/>
                </a:lnTo>
                <a:lnTo>
                  <a:pt x="2674" y="2910"/>
                </a:lnTo>
                <a:lnTo>
                  <a:pt x="2674" y="2910"/>
                </a:lnTo>
                <a:lnTo>
                  <a:pt x="2670" y="2888"/>
                </a:lnTo>
                <a:lnTo>
                  <a:pt x="2664" y="2868"/>
                </a:lnTo>
                <a:lnTo>
                  <a:pt x="2654" y="2850"/>
                </a:lnTo>
                <a:lnTo>
                  <a:pt x="2642" y="2834"/>
                </a:lnTo>
                <a:lnTo>
                  <a:pt x="2626" y="2820"/>
                </a:lnTo>
                <a:lnTo>
                  <a:pt x="2608" y="2812"/>
                </a:lnTo>
                <a:lnTo>
                  <a:pt x="2588" y="2804"/>
                </a:lnTo>
                <a:lnTo>
                  <a:pt x="2566" y="2802"/>
                </a:lnTo>
                <a:lnTo>
                  <a:pt x="1962" y="2802"/>
                </a:lnTo>
                <a:lnTo>
                  <a:pt x="1962" y="2802"/>
                </a:lnTo>
                <a:lnTo>
                  <a:pt x="1948" y="2802"/>
                </a:lnTo>
                <a:lnTo>
                  <a:pt x="1936" y="2798"/>
                </a:lnTo>
                <a:lnTo>
                  <a:pt x="1926" y="2792"/>
                </a:lnTo>
                <a:lnTo>
                  <a:pt x="1916" y="2784"/>
                </a:lnTo>
                <a:lnTo>
                  <a:pt x="1908" y="2774"/>
                </a:lnTo>
                <a:lnTo>
                  <a:pt x="1902" y="2764"/>
                </a:lnTo>
                <a:lnTo>
                  <a:pt x="1898" y="2750"/>
                </a:lnTo>
                <a:lnTo>
                  <a:pt x="1898" y="2738"/>
                </a:lnTo>
                <a:lnTo>
                  <a:pt x="1898" y="2738"/>
                </a:lnTo>
                <a:lnTo>
                  <a:pt x="1898" y="2724"/>
                </a:lnTo>
                <a:lnTo>
                  <a:pt x="1902" y="2712"/>
                </a:lnTo>
                <a:lnTo>
                  <a:pt x="1908" y="2702"/>
                </a:lnTo>
                <a:lnTo>
                  <a:pt x="1916" y="2692"/>
                </a:lnTo>
                <a:lnTo>
                  <a:pt x="1926" y="2684"/>
                </a:lnTo>
                <a:lnTo>
                  <a:pt x="1936" y="2678"/>
                </a:lnTo>
                <a:lnTo>
                  <a:pt x="1948" y="2674"/>
                </a:lnTo>
                <a:lnTo>
                  <a:pt x="1962" y="2674"/>
                </a:lnTo>
                <a:lnTo>
                  <a:pt x="2566" y="2674"/>
                </a:lnTo>
                <a:lnTo>
                  <a:pt x="2566" y="2674"/>
                </a:lnTo>
                <a:lnTo>
                  <a:pt x="2588" y="2670"/>
                </a:lnTo>
                <a:lnTo>
                  <a:pt x="2608" y="2664"/>
                </a:lnTo>
                <a:lnTo>
                  <a:pt x="2626" y="2654"/>
                </a:lnTo>
                <a:lnTo>
                  <a:pt x="2642" y="2642"/>
                </a:lnTo>
                <a:lnTo>
                  <a:pt x="2654" y="2626"/>
                </a:lnTo>
                <a:lnTo>
                  <a:pt x="2664" y="2608"/>
                </a:lnTo>
                <a:lnTo>
                  <a:pt x="2670" y="2588"/>
                </a:lnTo>
                <a:lnTo>
                  <a:pt x="2674" y="2566"/>
                </a:lnTo>
                <a:lnTo>
                  <a:pt x="2674" y="2480"/>
                </a:lnTo>
                <a:lnTo>
                  <a:pt x="2674" y="2480"/>
                </a:lnTo>
                <a:lnTo>
                  <a:pt x="2670" y="2458"/>
                </a:lnTo>
                <a:lnTo>
                  <a:pt x="2664" y="2438"/>
                </a:lnTo>
                <a:lnTo>
                  <a:pt x="2654" y="2418"/>
                </a:lnTo>
                <a:lnTo>
                  <a:pt x="2642" y="2402"/>
                </a:lnTo>
                <a:lnTo>
                  <a:pt x="2626" y="2390"/>
                </a:lnTo>
                <a:lnTo>
                  <a:pt x="2608" y="2380"/>
                </a:lnTo>
                <a:lnTo>
                  <a:pt x="2588" y="2374"/>
                </a:lnTo>
                <a:lnTo>
                  <a:pt x="2566" y="2372"/>
                </a:lnTo>
                <a:lnTo>
                  <a:pt x="1962" y="2372"/>
                </a:lnTo>
                <a:lnTo>
                  <a:pt x="1962" y="2372"/>
                </a:lnTo>
                <a:lnTo>
                  <a:pt x="1948" y="2370"/>
                </a:lnTo>
                <a:lnTo>
                  <a:pt x="1936" y="2366"/>
                </a:lnTo>
                <a:lnTo>
                  <a:pt x="1926" y="2360"/>
                </a:lnTo>
                <a:lnTo>
                  <a:pt x="1916" y="2352"/>
                </a:lnTo>
                <a:lnTo>
                  <a:pt x="1908" y="2342"/>
                </a:lnTo>
                <a:lnTo>
                  <a:pt x="1902" y="2332"/>
                </a:lnTo>
                <a:lnTo>
                  <a:pt x="1898" y="2320"/>
                </a:lnTo>
                <a:lnTo>
                  <a:pt x="1898" y="2306"/>
                </a:lnTo>
                <a:lnTo>
                  <a:pt x="1898" y="2306"/>
                </a:lnTo>
                <a:lnTo>
                  <a:pt x="1898" y="2294"/>
                </a:lnTo>
                <a:lnTo>
                  <a:pt x="1902" y="2282"/>
                </a:lnTo>
                <a:lnTo>
                  <a:pt x="1908" y="2270"/>
                </a:lnTo>
                <a:lnTo>
                  <a:pt x="1916" y="2260"/>
                </a:lnTo>
                <a:lnTo>
                  <a:pt x="1926" y="2254"/>
                </a:lnTo>
                <a:lnTo>
                  <a:pt x="1936" y="2248"/>
                </a:lnTo>
                <a:lnTo>
                  <a:pt x="1948" y="2244"/>
                </a:lnTo>
                <a:lnTo>
                  <a:pt x="1962" y="2242"/>
                </a:lnTo>
                <a:lnTo>
                  <a:pt x="2566" y="2242"/>
                </a:lnTo>
                <a:lnTo>
                  <a:pt x="2566" y="2242"/>
                </a:lnTo>
                <a:lnTo>
                  <a:pt x="2590" y="2244"/>
                </a:lnTo>
                <a:lnTo>
                  <a:pt x="2614" y="2246"/>
                </a:lnTo>
                <a:lnTo>
                  <a:pt x="2636" y="2252"/>
                </a:lnTo>
                <a:lnTo>
                  <a:pt x="2658" y="2260"/>
                </a:lnTo>
                <a:lnTo>
                  <a:pt x="2678" y="2270"/>
                </a:lnTo>
                <a:lnTo>
                  <a:pt x="2698" y="2282"/>
                </a:lnTo>
                <a:lnTo>
                  <a:pt x="2716" y="2296"/>
                </a:lnTo>
                <a:lnTo>
                  <a:pt x="2732" y="2312"/>
                </a:lnTo>
                <a:lnTo>
                  <a:pt x="2748" y="2328"/>
                </a:lnTo>
                <a:lnTo>
                  <a:pt x="2762" y="2346"/>
                </a:lnTo>
                <a:lnTo>
                  <a:pt x="2774" y="2366"/>
                </a:lnTo>
                <a:lnTo>
                  <a:pt x="2784" y="2386"/>
                </a:lnTo>
                <a:lnTo>
                  <a:pt x="2792" y="2408"/>
                </a:lnTo>
                <a:lnTo>
                  <a:pt x="2798" y="2432"/>
                </a:lnTo>
                <a:lnTo>
                  <a:pt x="2802" y="2454"/>
                </a:lnTo>
                <a:lnTo>
                  <a:pt x="2802" y="2480"/>
                </a:lnTo>
                <a:lnTo>
                  <a:pt x="2802" y="2480"/>
                </a:lnTo>
                <a:close/>
                <a:moveTo>
                  <a:pt x="2022" y="1798"/>
                </a:moveTo>
                <a:lnTo>
                  <a:pt x="2022" y="1798"/>
                </a:lnTo>
                <a:lnTo>
                  <a:pt x="2018" y="1764"/>
                </a:lnTo>
                <a:lnTo>
                  <a:pt x="2018" y="1730"/>
                </a:lnTo>
                <a:lnTo>
                  <a:pt x="2022" y="1698"/>
                </a:lnTo>
                <a:lnTo>
                  <a:pt x="2028" y="1666"/>
                </a:lnTo>
                <a:lnTo>
                  <a:pt x="2038" y="1634"/>
                </a:lnTo>
                <a:lnTo>
                  <a:pt x="2050" y="1606"/>
                </a:lnTo>
                <a:lnTo>
                  <a:pt x="2064" y="1578"/>
                </a:lnTo>
                <a:lnTo>
                  <a:pt x="2082" y="1550"/>
                </a:lnTo>
                <a:lnTo>
                  <a:pt x="2102" y="1526"/>
                </a:lnTo>
                <a:lnTo>
                  <a:pt x="2124" y="1502"/>
                </a:lnTo>
                <a:lnTo>
                  <a:pt x="2148" y="1482"/>
                </a:lnTo>
                <a:lnTo>
                  <a:pt x="2176" y="1464"/>
                </a:lnTo>
                <a:lnTo>
                  <a:pt x="2204" y="1448"/>
                </a:lnTo>
                <a:lnTo>
                  <a:pt x="2234" y="1436"/>
                </a:lnTo>
                <a:lnTo>
                  <a:pt x="2266" y="1426"/>
                </a:lnTo>
                <a:lnTo>
                  <a:pt x="2298" y="1418"/>
                </a:lnTo>
                <a:lnTo>
                  <a:pt x="2298" y="1418"/>
                </a:lnTo>
                <a:lnTo>
                  <a:pt x="2298" y="1418"/>
                </a:lnTo>
                <a:lnTo>
                  <a:pt x="2332" y="1414"/>
                </a:lnTo>
                <a:lnTo>
                  <a:pt x="2366" y="1414"/>
                </a:lnTo>
                <a:lnTo>
                  <a:pt x="2398" y="1418"/>
                </a:lnTo>
                <a:lnTo>
                  <a:pt x="2430" y="1424"/>
                </a:lnTo>
                <a:lnTo>
                  <a:pt x="2460" y="1434"/>
                </a:lnTo>
                <a:lnTo>
                  <a:pt x="2490" y="1446"/>
                </a:lnTo>
                <a:lnTo>
                  <a:pt x="2518" y="1460"/>
                </a:lnTo>
                <a:lnTo>
                  <a:pt x="2546" y="1478"/>
                </a:lnTo>
                <a:lnTo>
                  <a:pt x="2570" y="1498"/>
                </a:lnTo>
                <a:lnTo>
                  <a:pt x="2594" y="1520"/>
                </a:lnTo>
                <a:lnTo>
                  <a:pt x="2614" y="1544"/>
                </a:lnTo>
                <a:lnTo>
                  <a:pt x="2632" y="1572"/>
                </a:lnTo>
                <a:lnTo>
                  <a:pt x="2648" y="1600"/>
                </a:lnTo>
                <a:lnTo>
                  <a:pt x="2660" y="1630"/>
                </a:lnTo>
                <a:lnTo>
                  <a:pt x="2670" y="1662"/>
                </a:lnTo>
                <a:lnTo>
                  <a:pt x="2678" y="1696"/>
                </a:lnTo>
                <a:lnTo>
                  <a:pt x="2678" y="1696"/>
                </a:lnTo>
                <a:lnTo>
                  <a:pt x="2682" y="1728"/>
                </a:lnTo>
                <a:lnTo>
                  <a:pt x="2682" y="1762"/>
                </a:lnTo>
                <a:lnTo>
                  <a:pt x="2678" y="1794"/>
                </a:lnTo>
                <a:lnTo>
                  <a:pt x="2672" y="1826"/>
                </a:lnTo>
                <a:lnTo>
                  <a:pt x="2662" y="1858"/>
                </a:lnTo>
                <a:lnTo>
                  <a:pt x="2650" y="1888"/>
                </a:lnTo>
                <a:lnTo>
                  <a:pt x="2636" y="1916"/>
                </a:lnTo>
                <a:lnTo>
                  <a:pt x="2618" y="1942"/>
                </a:lnTo>
                <a:lnTo>
                  <a:pt x="2598" y="1966"/>
                </a:lnTo>
                <a:lnTo>
                  <a:pt x="2576" y="1990"/>
                </a:lnTo>
                <a:lnTo>
                  <a:pt x="2552" y="2010"/>
                </a:lnTo>
                <a:lnTo>
                  <a:pt x="2524" y="2028"/>
                </a:lnTo>
                <a:lnTo>
                  <a:pt x="2496" y="2044"/>
                </a:lnTo>
                <a:lnTo>
                  <a:pt x="2466" y="2058"/>
                </a:lnTo>
                <a:lnTo>
                  <a:pt x="2434" y="2068"/>
                </a:lnTo>
                <a:lnTo>
                  <a:pt x="2400" y="2074"/>
                </a:lnTo>
                <a:lnTo>
                  <a:pt x="2400" y="2074"/>
                </a:lnTo>
                <a:lnTo>
                  <a:pt x="2376" y="2078"/>
                </a:lnTo>
                <a:lnTo>
                  <a:pt x="2350" y="2078"/>
                </a:lnTo>
                <a:lnTo>
                  <a:pt x="2350" y="2078"/>
                </a:lnTo>
                <a:lnTo>
                  <a:pt x="2320" y="2076"/>
                </a:lnTo>
                <a:lnTo>
                  <a:pt x="2290" y="2072"/>
                </a:lnTo>
                <a:lnTo>
                  <a:pt x="2262" y="2066"/>
                </a:lnTo>
                <a:lnTo>
                  <a:pt x="2234" y="2058"/>
                </a:lnTo>
                <a:lnTo>
                  <a:pt x="2208" y="2046"/>
                </a:lnTo>
                <a:lnTo>
                  <a:pt x="2182" y="2032"/>
                </a:lnTo>
                <a:lnTo>
                  <a:pt x="2158" y="2016"/>
                </a:lnTo>
                <a:lnTo>
                  <a:pt x="2136" y="2000"/>
                </a:lnTo>
                <a:lnTo>
                  <a:pt x="2114" y="1980"/>
                </a:lnTo>
                <a:lnTo>
                  <a:pt x="2094" y="1958"/>
                </a:lnTo>
                <a:lnTo>
                  <a:pt x="2076" y="1936"/>
                </a:lnTo>
                <a:lnTo>
                  <a:pt x="2062" y="1910"/>
                </a:lnTo>
                <a:lnTo>
                  <a:pt x="2048" y="1884"/>
                </a:lnTo>
                <a:lnTo>
                  <a:pt x="2036" y="1856"/>
                </a:lnTo>
                <a:lnTo>
                  <a:pt x="2028" y="1828"/>
                </a:lnTo>
                <a:lnTo>
                  <a:pt x="2022" y="1798"/>
                </a:lnTo>
                <a:lnTo>
                  <a:pt x="2022" y="1798"/>
                </a:lnTo>
                <a:close/>
                <a:moveTo>
                  <a:pt x="2150" y="1778"/>
                </a:moveTo>
                <a:lnTo>
                  <a:pt x="2150" y="1778"/>
                </a:lnTo>
                <a:lnTo>
                  <a:pt x="2154" y="1798"/>
                </a:lnTo>
                <a:lnTo>
                  <a:pt x="2160" y="1818"/>
                </a:lnTo>
                <a:lnTo>
                  <a:pt x="2168" y="1836"/>
                </a:lnTo>
                <a:lnTo>
                  <a:pt x="2178" y="1852"/>
                </a:lnTo>
                <a:lnTo>
                  <a:pt x="2188" y="1870"/>
                </a:lnTo>
                <a:lnTo>
                  <a:pt x="2202" y="1884"/>
                </a:lnTo>
                <a:lnTo>
                  <a:pt x="2216" y="1898"/>
                </a:lnTo>
                <a:lnTo>
                  <a:pt x="2230" y="1910"/>
                </a:lnTo>
                <a:lnTo>
                  <a:pt x="2246" y="1920"/>
                </a:lnTo>
                <a:lnTo>
                  <a:pt x="2264" y="1930"/>
                </a:lnTo>
                <a:lnTo>
                  <a:pt x="2282" y="1938"/>
                </a:lnTo>
                <a:lnTo>
                  <a:pt x="2300" y="1942"/>
                </a:lnTo>
                <a:lnTo>
                  <a:pt x="2320" y="1946"/>
                </a:lnTo>
                <a:lnTo>
                  <a:pt x="2340" y="1948"/>
                </a:lnTo>
                <a:lnTo>
                  <a:pt x="2360" y="1948"/>
                </a:lnTo>
                <a:lnTo>
                  <a:pt x="2382" y="1946"/>
                </a:lnTo>
                <a:lnTo>
                  <a:pt x="2382" y="1946"/>
                </a:lnTo>
                <a:lnTo>
                  <a:pt x="2402" y="1942"/>
                </a:lnTo>
                <a:lnTo>
                  <a:pt x="2420" y="1936"/>
                </a:lnTo>
                <a:lnTo>
                  <a:pt x="2440" y="1928"/>
                </a:lnTo>
                <a:lnTo>
                  <a:pt x="2456" y="1918"/>
                </a:lnTo>
                <a:lnTo>
                  <a:pt x="2472" y="1908"/>
                </a:lnTo>
                <a:lnTo>
                  <a:pt x="2488" y="1894"/>
                </a:lnTo>
                <a:lnTo>
                  <a:pt x="2502" y="1880"/>
                </a:lnTo>
                <a:lnTo>
                  <a:pt x="2514" y="1866"/>
                </a:lnTo>
                <a:lnTo>
                  <a:pt x="2524" y="1850"/>
                </a:lnTo>
                <a:lnTo>
                  <a:pt x="2534" y="1832"/>
                </a:lnTo>
                <a:lnTo>
                  <a:pt x="2540" y="1814"/>
                </a:lnTo>
                <a:lnTo>
                  <a:pt x="2546" y="1796"/>
                </a:lnTo>
                <a:lnTo>
                  <a:pt x="2550" y="1776"/>
                </a:lnTo>
                <a:lnTo>
                  <a:pt x="2552" y="1756"/>
                </a:lnTo>
                <a:lnTo>
                  <a:pt x="2552" y="1736"/>
                </a:lnTo>
                <a:lnTo>
                  <a:pt x="2550" y="1714"/>
                </a:lnTo>
                <a:lnTo>
                  <a:pt x="2550" y="1714"/>
                </a:lnTo>
                <a:lnTo>
                  <a:pt x="2546" y="1694"/>
                </a:lnTo>
                <a:lnTo>
                  <a:pt x="2540" y="1676"/>
                </a:lnTo>
                <a:lnTo>
                  <a:pt x="2532" y="1656"/>
                </a:lnTo>
                <a:lnTo>
                  <a:pt x="2522" y="1640"/>
                </a:lnTo>
                <a:lnTo>
                  <a:pt x="2510" y="1624"/>
                </a:lnTo>
                <a:lnTo>
                  <a:pt x="2498" y="1608"/>
                </a:lnTo>
                <a:lnTo>
                  <a:pt x="2484" y="1594"/>
                </a:lnTo>
                <a:lnTo>
                  <a:pt x="2470" y="1582"/>
                </a:lnTo>
                <a:lnTo>
                  <a:pt x="2452" y="1572"/>
                </a:lnTo>
                <a:lnTo>
                  <a:pt x="2436" y="1562"/>
                </a:lnTo>
                <a:lnTo>
                  <a:pt x="2418" y="1556"/>
                </a:lnTo>
                <a:lnTo>
                  <a:pt x="2398" y="1550"/>
                </a:lnTo>
                <a:lnTo>
                  <a:pt x="2380" y="1546"/>
                </a:lnTo>
                <a:lnTo>
                  <a:pt x="2360" y="1544"/>
                </a:lnTo>
                <a:lnTo>
                  <a:pt x="2340" y="1544"/>
                </a:lnTo>
                <a:lnTo>
                  <a:pt x="2318" y="1546"/>
                </a:lnTo>
                <a:lnTo>
                  <a:pt x="2318" y="1546"/>
                </a:lnTo>
                <a:lnTo>
                  <a:pt x="2318" y="1546"/>
                </a:lnTo>
                <a:lnTo>
                  <a:pt x="2298" y="1550"/>
                </a:lnTo>
                <a:lnTo>
                  <a:pt x="2278" y="1556"/>
                </a:lnTo>
                <a:lnTo>
                  <a:pt x="2260" y="1564"/>
                </a:lnTo>
                <a:lnTo>
                  <a:pt x="2244" y="1574"/>
                </a:lnTo>
                <a:lnTo>
                  <a:pt x="2226" y="1586"/>
                </a:lnTo>
                <a:lnTo>
                  <a:pt x="2212" y="1598"/>
                </a:lnTo>
                <a:lnTo>
                  <a:pt x="2198" y="1612"/>
                </a:lnTo>
                <a:lnTo>
                  <a:pt x="2186" y="1626"/>
                </a:lnTo>
                <a:lnTo>
                  <a:pt x="2176" y="1644"/>
                </a:lnTo>
                <a:lnTo>
                  <a:pt x="2166" y="1660"/>
                </a:lnTo>
                <a:lnTo>
                  <a:pt x="2158" y="1678"/>
                </a:lnTo>
                <a:lnTo>
                  <a:pt x="2154" y="1698"/>
                </a:lnTo>
                <a:lnTo>
                  <a:pt x="2150" y="1716"/>
                </a:lnTo>
                <a:lnTo>
                  <a:pt x="2148" y="1736"/>
                </a:lnTo>
                <a:lnTo>
                  <a:pt x="2148" y="1756"/>
                </a:lnTo>
                <a:lnTo>
                  <a:pt x="2150" y="1778"/>
                </a:lnTo>
                <a:lnTo>
                  <a:pt x="2150" y="1778"/>
                </a:lnTo>
                <a:close/>
                <a:moveTo>
                  <a:pt x="2890" y="1138"/>
                </a:moveTo>
                <a:lnTo>
                  <a:pt x="2890" y="1138"/>
                </a:lnTo>
                <a:lnTo>
                  <a:pt x="2896" y="1128"/>
                </a:lnTo>
                <a:lnTo>
                  <a:pt x="2900" y="1116"/>
                </a:lnTo>
                <a:lnTo>
                  <a:pt x="2902" y="1102"/>
                </a:lnTo>
                <a:lnTo>
                  <a:pt x="2902" y="1090"/>
                </a:lnTo>
                <a:lnTo>
                  <a:pt x="2898" y="1078"/>
                </a:lnTo>
                <a:lnTo>
                  <a:pt x="2894" y="1068"/>
                </a:lnTo>
                <a:lnTo>
                  <a:pt x="2886" y="1056"/>
                </a:lnTo>
                <a:lnTo>
                  <a:pt x="2876" y="1048"/>
                </a:lnTo>
                <a:lnTo>
                  <a:pt x="2876" y="1048"/>
                </a:lnTo>
                <a:lnTo>
                  <a:pt x="2840" y="1022"/>
                </a:lnTo>
                <a:lnTo>
                  <a:pt x="2802" y="998"/>
                </a:lnTo>
                <a:lnTo>
                  <a:pt x="2764" y="976"/>
                </a:lnTo>
                <a:lnTo>
                  <a:pt x="2726" y="956"/>
                </a:lnTo>
                <a:lnTo>
                  <a:pt x="2686" y="938"/>
                </a:lnTo>
                <a:lnTo>
                  <a:pt x="2646" y="922"/>
                </a:lnTo>
                <a:lnTo>
                  <a:pt x="2604" y="908"/>
                </a:lnTo>
                <a:lnTo>
                  <a:pt x="2562" y="898"/>
                </a:lnTo>
                <a:lnTo>
                  <a:pt x="2520" y="888"/>
                </a:lnTo>
                <a:lnTo>
                  <a:pt x="2478" y="880"/>
                </a:lnTo>
                <a:lnTo>
                  <a:pt x="2434" y="876"/>
                </a:lnTo>
                <a:lnTo>
                  <a:pt x="2390" y="872"/>
                </a:lnTo>
                <a:lnTo>
                  <a:pt x="2348" y="872"/>
                </a:lnTo>
                <a:lnTo>
                  <a:pt x="2304" y="872"/>
                </a:lnTo>
                <a:lnTo>
                  <a:pt x="2260" y="876"/>
                </a:lnTo>
                <a:lnTo>
                  <a:pt x="2214" y="882"/>
                </a:lnTo>
                <a:lnTo>
                  <a:pt x="2214" y="882"/>
                </a:lnTo>
                <a:lnTo>
                  <a:pt x="2164" y="892"/>
                </a:lnTo>
                <a:lnTo>
                  <a:pt x="2116" y="904"/>
                </a:lnTo>
                <a:lnTo>
                  <a:pt x="2068" y="918"/>
                </a:lnTo>
                <a:lnTo>
                  <a:pt x="2020" y="936"/>
                </a:lnTo>
                <a:lnTo>
                  <a:pt x="1974" y="956"/>
                </a:lnTo>
                <a:lnTo>
                  <a:pt x="1930" y="978"/>
                </a:lnTo>
                <a:lnTo>
                  <a:pt x="1888" y="1002"/>
                </a:lnTo>
                <a:lnTo>
                  <a:pt x="1846" y="1030"/>
                </a:lnTo>
                <a:lnTo>
                  <a:pt x="1806" y="1060"/>
                </a:lnTo>
                <a:lnTo>
                  <a:pt x="1768" y="1092"/>
                </a:lnTo>
                <a:lnTo>
                  <a:pt x="1732" y="1126"/>
                </a:lnTo>
                <a:lnTo>
                  <a:pt x="1698" y="1162"/>
                </a:lnTo>
                <a:lnTo>
                  <a:pt x="1666" y="1200"/>
                </a:lnTo>
                <a:lnTo>
                  <a:pt x="1636" y="1240"/>
                </a:lnTo>
                <a:lnTo>
                  <a:pt x="1608" y="1282"/>
                </a:lnTo>
                <a:lnTo>
                  <a:pt x="1582" y="1328"/>
                </a:lnTo>
                <a:lnTo>
                  <a:pt x="1582" y="1328"/>
                </a:lnTo>
                <a:lnTo>
                  <a:pt x="1576" y="1340"/>
                </a:lnTo>
                <a:lnTo>
                  <a:pt x="1574" y="1352"/>
                </a:lnTo>
                <a:lnTo>
                  <a:pt x="1574" y="1364"/>
                </a:lnTo>
                <a:lnTo>
                  <a:pt x="1576" y="1376"/>
                </a:lnTo>
                <a:lnTo>
                  <a:pt x="1582" y="1388"/>
                </a:lnTo>
                <a:lnTo>
                  <a:pt x="1588" y="1398"/>
                </a:lnTo>
                <a:lnTo>
                  <a:pt x="1596" y="1408"/>
                </a:lnTo>
                <a:lnTo>
                  <a:pt x="1608" y="1414"/>
                </a:lnTo>
                <a:lnTo>
                  <a:pt x="1608" y="1414"/>
                </a:lnTo>
                <a:lnTo>
                  <a:pt x="1622" y="1420"/>
                </a:lnTo>
                <a:lnTo>
                  <a:pt x="1638" y="1422"/>
                </a:lnTo>
                <a:lnTo>
                  <a:pt x="1638" y="1422"/>
                </a:lnTo>
                <a:lnTo>
                  <a:pt x="1656" y="1420"/>
                </a:lnTo>
                <a:lnTo>
                  <a:pt x="1672" y="1414"/>
                </a:lnTo>
                <a:lnTo>
                  <a:pt x="1684" y="1404"/>
                </a:lnTo>
                <a:lnTo>
                  <a:pt x="1690" y="1396"/>
                </a:lnTo>
                <a:lnTo>
                  <a:pt x="1696" y="1390"/>
                </a:lnTo>
                <a:lnTo>
                  <a:pt x="1696" y="1390"/>
                </a:lnTo>
                <a:lnTo>
                  <a:pt x="1718" y="1352"/>
                </a:lnTo>
                <a:lnTo>
                  <a:pt x="1742" y="1316"/>
                </a:lnTo>
                <a:lnTo>
                  <a:pt x="1768" y="1282"/>
                </a:lnTo>
                <a:lnTo>
                  <a:pt x="1794" y="1248"/>
                </a:lnTo>
                <a:lnTo>
                  <a:pt x="1824" y="1218"/>
                </a:lnTo>
                <a:lnTo>
                  <a:pt x="1854" y="1188"/>
                </a:lnTo>
                <a:lnTo>
                  <a:pt x="1886" y="1162"/>
                </a:lnTo>
                <a:lnTo>
                  <a:pt x="1920" y="1136"/>
                </a:lnTo>
                <a:lnTo>
                  <a:pt x="1956" y="1112"/>
                </a:lnTo>
                <a:lnTo>
                  <a:pt x="1992" y="1092"/>
                </a:lnTo>
                <a:lnTo>
                  <a:pt x="2030" y="1072"/>
                </a:lnTo>
                <a:lnTo>
                  <a:pt x="2070" y="1056"/>
                </a:lnTo>
                <a:lnTo>
                  <a:pt x="2110" y="1040"/>
                </a:lnTo>
                <a:lnTo>
                  <a:pt x="2150" y="1028"/>
                </a:lnTo>
                <a:lnTo>
                  <a:pt x="2192" y="1018"/>
                </a:lnTo>
                <a:lnTo>
                  <a:pt x="2234" y="1010"/>
                </a:lnTo>
                <a:lnTo>
                  <a:pt x="2234" y="1010"/>
                </a:lnTo>
                <a:lnTo>
                  <a:pt x="2272" y="1004"/>
                </a:lnTo>
                <a:lnTo>
                  <a:pt x="2310" y="1002"/>
                </a:lnTo>
                <a:lnTo>
                  <a:pt x="2348" y="1000"/>
                </a:lnTo>
                <a:lnTo>
                  <a:pt x="2384" y="1002"/>
                </a:lnTo>
                <a:lnTo>
                  <a:pt x="2422" y="1004"/>
                </a:lnTo>
                <a:lnTo>
                  <a:pt x="2458" y="1008"/>
                </a:lnTo>
                <a:lnTo>
                  <a:pt x="2496" y="1014"/>
                </a:lnTo>
                <a:lnTo>
                  <a:pt x="2532" y="1022"/>
                </a:lnTo>
                <a:lnTo>
                  <a:pt x="2566" y="1032"/>
                </a:lnTo>
                <a:lnTo>
                  <a:pt x="2602" y="1044"/>
                </a:lnTo>
                <a:lnTo>
                  <a:pt x="2636" y="1058"/>
                </a:lnTo>
                <a:lnTo>
                  <a:pt x="2670" y="1072"/>
                </a:lnTo>
                <a:lnTo>
                  <a:pt x="2704" y="1090"/>
                </a:lnTo>
                <a:lnTo>
                  <a:pt x="2736" y="1108"/>
                </a:lnTo>
                <a:lnTo>
                  <a:pt x="2768" y="1128"/>
                </a:lnTo>
                <a:lnTo>
                  <a:pt x="2798" y="1152"/>
                </a:lnTo>
                <a:lnTo>
                  <a:pt x="2798" y="1152"/>
                </a:lnTo>
                <a:lnTo>
                  <a:pt x="2810" y="1158"/>
                </a:lnTo>
                <a:lnTo>
                  <a:pt x="2822" y="1162"/>
                </a:lnTo>
                <a:lnTo>
                  <a:pt x="2834" y="1164"/>
                </a:lnTo>
                <a:lnTo>
                  <a:pt x="2846" y="1164"/>
                </a:lnTo>
                <a:lnTo>
                  <a:pt x="2858" y="1160"/>
                </a:lnTo>
                <a:lnTo>
                  <a:pt x="2870" y="1156"/>
                </a:lnTo>
                <a:lnTo>
                  <a:pt x="2880" y="1148"/>
                </a:lnTo>
                <a:lnTo>
                  <a:pt x="2890" y="1138"/>
                </a:lnTo>
                <a:lnTo>
                  <a:pt x="2890" y="1138"/>
                </a:lnTo>
                <a:close/>
                <a:moveTo>
                  <a:pt x="3922" y="1428"/>
                </a:moveTo>
                <a:lnTo>
                  <a:pt x="3578" y="1360"/>
                </a:lnTo>
                <a:lnTo>
                  <a:pt x="3578" y="1360"/>
                </a:lnTo>
                <a:lnTo>
                  <a:pt x="3560" y="1306"/>
                </a:lnTo>
                <a:lnTo>
                  <a:pt x="3540" y="1254"/>
                </a:lnTo>
                <a:lnTo>
                  <a:pt x="3516" y="1202"/>
                </a:lnTo>
                <a:lnTo>
                  <a:pt x="3492" y="1150"/>
                </a:lnTo>
                <a:lnTo>
                  <a:pt x="3686" y="860"/>
                </a:lnTo>
                <a:lnTo>
                  <a:pt x="3686" y="860"/>
                </a:lnTo>
                <a:lnTo>
                  <a:pt x="3696" y="844"/>
                </a:lnTo>
                <a:lnTo>
                  <a:pt x="3704" y="826"/>
                </a:lnTo>
                <a:lnTo>
                  <a:pt x="3710" y="808"/>
                </a:lnTo>
                <a:lnTo>
                  <a:pt x="3716" y="790"/>
                </a:lnTo>
                <a:lnTo>
                  <a:pt x="3720" y="772"/>
                </a:lnTo>
                <a:lnTo>
                  <a:pt x="3722" y="754"/>
                </a:lnTo>
                <a:lnTo>
                  <a:pt x="3722" y="736"/>
                </a:lnTo>
                <a:lnTo>
                  <a:pt x="3720" y="718"/>
                </a:lnTo>
                <a:lnTo>
                  <a:pt x="3718" y="700"/>
                </a:lnTo>
                <a:lnTo>
                  <a:pt x="3714" y="682"/>
                </a:lnTo>
                <a:lnTo>
                  <a:pt x="3708" y="664"/>
                </a:lnTo>
                <a:lnTo>
                  <a:pt x="3702" y="646"/>
                </a:lnTo>
                <a:lnTo>
                  <a:pt x="3692" y="630"/>
                </a:lnTo>
                <a:lnTo>
                  <a:pt x="3682" y="614"/>
                </a:lnTo>
                <a:lnTo>
                  <a:pt x="3672" y="600"/>
                </a:lnTo>
                <a:lnTo>
                  <a:pt x="3658" y="584"/>
                </a:lnTo>
                <a:lnTo>
                  <a:pt x="3512" y="438"/>
                </a:lnTo>
                <a:lnTo>
                  <a:pt x="3512" y="438"/>
                </a:lnTo>
                <a:lnTo>
                  <a:pt x="3496" y="424"/>
                </a:lnTo>
                <a:lnTo>
                  <a:pt x="3482" y="414"/>
                </a:lnTo>
                <a:lnTo>
                  <a:pt x="3466" y="404"/>
                </a:lnTo>
                <a:lnTo>
                  <a:pt x="3450" y="394"/>
                </a:lnTo>
                <a:lnTo>
                  <a:pt x="3432" y="388"/>
                </a:lnTo>
                <a:lnTo>
                  <a:pt x="3414" y="382"/>
                </a:lnTo>
                <a:lnTo>
                  <a:pt x="3396" y="378"/>
                </a:lnTo>
                <a:lnTo>
                  <a:pt x="3378" y="376"/>
                </a:lnTo>
                <a:lnTo>
                  <a:pt x="3360" y="374"/>
                </a:lnTo>
                <a:lnTo>
                  <a:pt x="3342" y="374"/>
                </a:lnTo>
                <a:lnTo>
                  <a:pt x="3324" y="376"/>
                </a:lnTo>
                <a:lnTo>
                  <a:pt x="3306" y="380"/>
                </a:lnTo>
                <a:lnTo>
                  <a:pt x="3288" y="386"/>
                </a:lnTo>
                <a:lnTo>
                  <a:pt x="3270" y="392"/>
                </a:lnTo>
                <a:lnTo>
                  <a:pt x="3252" y="400"/>
                </a:lnTo>
                <a:lnTo>
                  <a:pt x="3236" y="410"/>
                </a:lnTo>
                <a:lnTo>
                  <a:pt x="2946" y="604"/>
                </a:lnTo>
                <a:lnTo>
                  <a:pt x="2946" y="604"/>
                </a:lnTo>
                <a:lnTo>
                  <a:pt x="2894" y="580"/>
                </a:lnTo>
                <a:lnTo>
                  <a:pt x="2842" y="556"/>
                </a:lnTo>
                <a:lnTo>
                  <a:pt x="2790" y="536"/>
                </a:lnTo>
                <a:lnTo>
                  <a:pt x="2736" y="518"/>
                </a:lnTo>
                <a:lnTo>
                  <a:pt x="2668" y="174"/>
                </a:lnTo>
                <a:lnTo>
                  <a:pt x="2668" y="174"/>
                </a:lnTo>
                <a:lnTo>
                  <a:pt x="2662" y="156"/>
                </a:lnTo>
                <a:lnTo>
                  <a:pt x="2656" y="138"/>
                </a:lnTo>
                <a:lnTo>
                  <a:pt x="2648" y="122"/>
                </a:lnTo>
                <a:lnTo>
                  <a:pt x="2640" y="104"/>
                </a:lnTo>
                <a:lnTo>
                  <a:pt x="2630" y="90"/>
                </a:lnTo>
                <a:lnTo>
                  <a:pt x="2618" y="76"/>
                </a:lnTo>
                <a:lnTo>
                  <a:pt x="2606" y="62"/>
                </a:lnTo>
                <a:lnTo>
                  <a:pt x="2592" y="50"/>
                </a:lnTo>
                <a:lnTo>
                  <a:pt x="2576" y="38"/>
                </a:lnTo>
                <a:lnTo>
                  <a:pt x="2562" y="28"/>
                </a:lnTo>
                <a:lnTo>
                  <a:pt x="2544" y="20"/>
                </a:lnTo>
                <a:lnTo>
                  <a:pt x="2528" y="14"/>
                </a:lnTo>
                <a:lnTo>
                  <a:pt x="2510" y="8"/>
                </a:lnTo>
                <a:lnTo>
                  <a:pt x="2492" y="4"/>
                </a:lnTo>
                <a:lnTo>
                  <a:pt x="2472" y="0"/>
                </a:lnTo>
                <a:lnTo>
                  <a:pt x="2454" y="0"/>
                </a:lnTo>
                <a:lnTo>
                  <a:pt x="2246" y="0"/>
                </a:lnTo>
                <a:lnTo>
                  <a:pt x="2246" y="0"/>
                </a:lnTo>
                <a:lnTo>
                  <a:pt x="2226" y="0"/>
                </a:lnTo>
                <a:lnTo>
                  <a:pt x="2208" y="4"/>
                </a:lnTo>
                <a:lnTo>
                  <a:pt x="2190" y="8"/>
                </a:lnTo>
                <a:lnTo>
                  <a:pt x="2172" y="14"/>
                </a:lnTo>
                <a:lnTo>
                  <a:pt x="2154" y="20"/>
                </a:lnTo>
                <a:lnTo>
                  <a:pt x="2138" y="28"/>
                </a:lnTo>
                <a:lnTo>
                  <a:pt x="2122" y="38"/>
                </a:lnTo>
                <a:lnTo>
                  <a:pt x="2108" y="50"/>
                </a:lnTo>
                <a:lnTo>
                  <a:pt x="2094" y="62"/>
                </a:lnTo>
                <a:lnTo>
                  <a:pt x="2082" y="76"/>
                </a:lnTo>
                <a:lnTo>
                  <a:pt x="2070" y="90"/>
                </a:lnTo>
                <a:lnTo>
                  <a:pt x="2060" y="104"/>
                </a:lnTo>
                <a:lnTo>
                  <a:pt x="2050" y="122"/>
                </a:lnTo>
                <a:lnTo>
                  <a:pt x="2044" y="138"/>
                </a:lnTo>
                <a:lnTo>
                  <a:pt x="2038" y="156"/>
                </a:lnTo>
                <a:lnTo>
                  <a:pt x="2032" y="174"/>
                </a:lnTo>
                <a:lnTo>
                  <a:pt x="1964" y="518"/>
                </a:lnTo>
                <a:lnTo>
                  <a:pt x="1964" y="518"/>
                </a:lnTo>
                <a:lnTo>
                  <a:pt x="1910" y="536"/>
                </a:lnTo>
                <a:lnTo>
                  <a:pt x="1858" y="556"/>
                </a:lnTo>
                <a:lnTo>
                  <a:pt x="1806" y="580"/>
                </a:lnTo>
                <a:lnTo>
                  <a:pt x="1754" y="604"/>
                </a:lnTo>
                <a:lnTo>
                  <a:pt x="1464" y="410"/>
                </a:lnTo>
                <a:lnTo>
                  <a:pt x="1464" y="410"/>
                </a:lnTo>
                <a:lnTo>
                  <a:pt x="1446" y="400"/>
                </a:lnTo>
                <a:lnTo>
                  <a:pt x="1430" y="392"/>
                </a:lnTo>
                <a:lnTo>
                  <a:pt x="1412" y="386"/>
                </a:lnTo>
                <a:lnTo>
                  <a:pt x="1394" y="380"/>
                </a:lnTo>
                <a:lnTo>
                  <a:pt x="1376" y="376"/>
                </a:lnTo>
                <a:lnTo>
                  <a:pt x="1358" y="374"/>
                </a:lnTo>
                <a:lnTo>
                  <a:pt x="1340" y="374"/>
                </a:lnTo>
                <a:lnTo>
                  <a:pt x="1320" y="376"/>
                </a:lnTo>
                <a:lnTo>
                  <a:pt x="1302" y="378"/>
                </a:lnTo>
                <a:lnTo>
                  <a:pt x="1284" y="382"/>
                </a:lnTo>
                <a:lnTo>
                  <a:pt x="1268" y="388"/>
                </a:lnTo>
                <a:lnTo>
                  <a:pt x="1250" y="394"/>
                </a:lnTo>
                <a:lnTo>
                  <a:pt x="1234" y="404"/>
                </a:lnTo>
                <a:lnTo>
                  <a:pt x="1218" y="414"/>
                </a:lnTo>
                <a:lnTo>
                  <a:pt x="1202" y="424"/>
                </a:lnTo>
                <a:lnTo>
                  <a:pt x="1188" y="438"/>
                </a:lnTo>
                <a:lnTo>
                  <a:pt x="1042" y="584"/>
                </a:lnTo>
                <a:lnTo>
                  <a:pt x="1042" y="584"/>
                </a:lnTo>
                <a:lnTo>
                  <a:pt x="1028" y="600"/>
                </a:lnTo>
                <a:lnTo>
                  <a:pt x="1018" y="614"/>
                </a:lnTo>
                <a:lnTo>
                  <a:pt x="1006" y="630"/>
                </a:lnTo>
                <a:lnTo>
                  <a:pt x="998" y="646"/>
                </a:lnTo>
                <a:lnTo>
                  <a:pt x="992" y="664"/>
                </a:lnTo>
                <a:lnTo>
                  <a:pt x="986" y="682"/>
                </a:lnTo>
                <a:lnTo>
                  <a:pt x="982" y="700"/>
                </a:lnTo>
                <a:lnTo>
                  <a:pt x="980" y="718"/>
                </a:lnTo>
                <a:lnTo>
                  <a:pt x="978" y="736"/>
                </a:lnTo>
                <a:lnTo>
                  <a:pt x="978" y="754"/>
                </a:lnTo>
                <a:lnTo>
                  <a:pt x="980" y="772"/>
                </a:lnTo>
                <a:lnTo>
                  <a:pt x="984" y="790"/>
                </a:lnTo>
                <a:lnTo>
                  <a:pt x="990" y="808"/>
                </a:lnTo>
                <a:lnTo>
                  <a:pt x="996" y="826"/>
                </a:lnTo>
                <a:lnTo>
                  <a:pt x="1004" y="844"/>
                </a:lnTo>
                <a:lnTo>
                  <a:pt x="1014" y="860"/>
                </a:lnTo>
                <a:lnTo>
                  <a:pt x="1208" y="1150"/>
                </a:lnTo>
                <a:lnTo>
                  <a:pt x="1208" y="1150"/>
                </a:lnTo>
                <a:lnTo>
                  <a:pt x="1184" y="1202"/>
                </a:lnTo>
                <a:lnTo>
                  <a:pt x="1160" y="1254"/>
                </a:lnTo>
                <a:lnTo>
                  <a:pt x="1140" y="1306"/>
                </a:lnTo>
                <a:lnTo>
                  <a:pt x="1122" y="1360"/>
                </a:lnTo>
                <a:lnTo>
                  <a:pt x="778" y="1428"/>
                </a:lnTo>
                <a:lnTo>
                  <a:pt x="778" y="1428"/>
                </a:lnTo>
                <a:lnTo>
                  <a:pt x="760" y="1434"/>
                </a:lnTo>
                <a:lnTo>
                  <a:pt x="742" y="1440"/>
                </a:lnTo>
                <a:lnTo>
                  <a:pt x="724" y="1448"/>
                </a:lnTo>
                <a:lnTo>
                  <a:pt x="708" y="1456"/>
                </a:lnTo>
                <a:lnTo>
                  <a:pt x="694" y="1466"/>
                </a:lnTo>
                <a:lnTo>
                  <a:pt x="678" y="1478"/>
                </a:lnTo>
                <a:lnTo>
                  <a:pt x="666" y="1490"/>
                </a:lnTo>
                <a:lnTo>
                  <a:pt x="654" y="1504"/>
                </a:lnTo>
                <a:lnTo>
                  <a:pt x="642" y="1520"/>
                </a:lnTo>
                <a:lnTo>
                  <a:pt x="632" y="1534"/>
                </a:lnTo>
                <a:lnTo>
                  <a:pt x="624" y="1552"/>
                </a:lnTo>
                <a:lnTo>
                  <a:pt x="616" y="1568"/>
                </a:lnTo>
                <a:lnTo>
                  <a:pt x="612" y="1586"/>
                </a:lnTo>
                <a:lnTo>
                  <a:pt x="606" y="1604"/>
                </a:lnTo>
                <a:lnTo>
                  <a:pt x="604" y="1624"/>
                </a:lnTo>
                <a:lnTo>
                  <a:pt x="604" y="1642"/>
                </a:lnTo>
                <a:lnTo>
                  <a:pt x="604" y="1850"/>
                </a:lnTo>
                <a:lnTo>
                  <a:pt x="604" y="1850"/>
                </a:lnTo>
                <a:lnTo>
                  <a:pt x="604" y="1870"/>
                </a:lnTo>
                <a:lnTo>
                  <a:pt x="606" y="1888"/>
                </a:lnTo>
                <a:lnTo>
                  <a:pt x="612" y="1906"/>
                </a:lnTo>
                <a:lnTo>
                  <a:pt x="616" y="1924"/>
                </a:lnTo>
                <a:lnTo>
                  <a:pt x="624" y="1942"/>
                </a:lnTo>
                <a:lnTo>
                  <a:pt x="632" y="1958"/>
                </a:lnTo>
                <a:lnTo>
                  <a:pt x="642" y="1974"/>
                </a:lnTo>
                <a:lnTo>
                  <a:pt x="654" y="1988"/>
                </a:lnTo>
                <a:lnTo>
                  <a:pt x="666" y="2002"/>
                </a:lnTo>
                <a:lnTo>
                  <a:pt x="678" y="2014"/>
                </a:lnTo>
                <a:lnTo>
                  <a:pt x="694" y="2026"/>
                </a:lnTo>
                <a:lnTo>
                  <a:pt x="708" y="2036"/>
                </a:lnTo>
                <a:lnTo>
                  <a:pt x="724" y="2046"/>
                </a:lnTo>
                <a:lnTo>
                  <a:pt x="742" y="2052"/>
                </a:lnTo>
                <a:lnTo>
                  <a:pt x="760" y="2058"/>
                </a:lnTo>
                <a:lnTo>
                  <a:pt x="778" y="2064"/>
                </a:lnTo>
                <a:lnTo>
                  <a:pt x="1000" y="2108"/>
                </a:lnTo>
                <a:lnTo>
                  <a:pt x="1000" y="2108"/>
                </a:lnTo>
                <a:lnTo>
                  <a:pt x="1014" y="2110"/>
                </a:lnTo>
                <a:lnTo>
                  <a:pt x="1026" y="2108"/>
                </a:lnTo>
                <a:lnTo>
                  <a:pt x="1038" y="2104"/>
                </a:lnTo>
                <a:lnTo>
                  <a:pt x="1050" y="2098"/>
                </a:lnTo>
                <a:lnTo>
                  <a:pt x="1058" y="2090"/>
                </a:lnTo>
                <a:lnTo>
                  <a:pt x="1066" y="2080"/>
                </a:lnTo>
                <a:lnTo>
                  <a:pt x="1072" y="2070"/>
                </a:lnTo>
                <a:lnTo>
                  <a:pt x="1076" y="2058"/>
                </a:lnTo>
                <a:lnTo>
                  <a:pt x="1076" y="2058"/>
                </a:lnTo>
                <a:lnTo>
                  <a:pt x="1078" y="2044"/>
                </a:lnTo>
                <a:lnTo>
                  <a:pt x="1076" y="2032"/>
                </a:lnTo>
                <a:lnTo>
                  <a:pt x="1072" y="2020"/>
                </a:lnTo>
                <a:lnTo>
                  <a:pt x="1068" y="2008"/>
                </a:lnTo>
                <a:lnTo>
                  <a:pt x="1060" y="1998"/>
                </a:lnTo>
                <a:lnTo>
                  <a:pt x="1050" y="1990"/>
                </a:lnTo>
                <a:lnTo>
                  <a:pt x="1038" y="1984"/>
                </a:lnTo>
                <a:lnTo>
                  <a:pt x="1026" y="1982"/>
                </a:lnTo>
                <a:lnTo>
                  <a:pt x="804" y="1936"/>
                </a:lnTo>
                <a:lnTo>
                  <a:pt x="804" y="1936"/>
                </a:lnTo>
                <a:lnTo>
                  <a:pt x="790" y="1932"/>
                </a:lnTo>
                <a:lnTo>
                  <a:pt x="776" y="1926"/>
                </a:lnTo>
                <a:lnTo>
                  <a:pt x="764" y="1916"/>
                </a:lnTo>
                <a:lnTo>
                  <a:pt x="754" y="1906"/>
                </a:lnTo>
                <a:lnTo>
                  <a:pt x="744" y="1894"/>
                </a:lnTo>
                <a:lnTo>
                  <a:pt x="738" y="1880"/>
                </a:lnTo>
                <a:lnTo>
                  <a:pt x="734" y="1866"/>
                </a:lnTo>
                <a:lnTo>
                  <a:pt x="732" y="1850"/>
                </a:lnTo>
                <a:lnTo>
                  <a:pt x="732" y="1642"/>
                </a:lnTo>
                <a:lnTo>
                  <a:pt x="732" y="1642"/>
                </a:lnTo>
                <a:lnTo>
                  <a:pt x="734" y="1626"/>
                </a:lnTo>
                <a:lnTo>
                  <a:pt x="738" y="1612"/>
                </a:lnTo>
                <a:lnTo>
                  <a:pt x="744" y="1598"/>
                </a:lnTo>
                <a:lnTo>
                  <a:pt x="754" y="1586"/>
                </a:lnTo>
                <a:lnTo>
                  <a:pt x="764" y="1576"/>
                </a:lnTo>
                <a:lnTo>
                  <a:pt x="776" y="1566"/>
                </a:lnTo>
                <a:lnTo>
                  <a:pt x="790" y="1560"/>
                </a:lnTo>
                <a:lnTo>
                  <a:pt x="804" y="1556"/>
                </a:lnTo>
                <a:lnTo>
                  <a:pt x="1186" y="1480"/>
                </a:lnTo>
                <a:lnTo>
                  <a:pt x="1186" y="1480"/>
                </a:lnTo>
                <a:lnTo>
                  <a:pt x="1194" y="1478"/>
                </a:lnTo>
                <a:lnTo>
                  <a:pt x="1202" y="1474"/>
                </a:lnTo>
                <a:lnTo>
                  <a:pt x="1210" y="1470"/>
                </a:lnTo>
                <a:lnTo>
                  <a:pt x="1216" y="1464"/>
                </a:lnTo>
                <a:lnTo>
                  <a:pt x="1222" y="1458"/>
                </a:lnTo>
                <a:lnTo>
                  <a:pt x="1228" y="1450"/>
                </a:lnTo>
                <a:lnTo>
                  <a:pt x="1232" y="1442"/>
                </a:lnTo>
                <a:lnTo>
                  <a:pt x="1234" y="1434"/>
                </a:lnTo>
                <a:lnTo>
                  <a:pt x="1234" y="1434"/>
                </a:lnTo>
                <a:lnTo>
                  <a:pt x="1256" y="1368"/>
                </a:lnTo>
                <a:lnTo>
                  <a:pt x="1280" y="1302"/>
                </a:lnTo>
                <a:lnTo>
                  <a:pt x="1308" y="1240"/>
                </a:lnTo>
                <a:lnTo>
                  <a:pt x="1340" y="1178"/>
                </a:lnTo>
                <a:lnTo>
                  <a:pt x="1340" y="1178"/>
                </a:lnTo>
                <a:lnTo>
                  <a:pt x="1344" y="1170"/>
                </a:lnTo>
                <a:lnTo>
                  <a:pt x="1346" y="1162"/>
                </a:lnTo>
                <a:lnTo>
                  <a:pt x="1348" y="1154"/>
                </a:lnTo>
                <a:lnTo>
                  <a:pt x="1348" y="1144"/>
                </a:lnTo>
                <a:lnTo>
                  <a:pt x="1348" y="1136"/>
                </a:lnTo>
                <a:lnTo>
                  <a:pt x="1346" y="1128"/>
                </a:lnTo>
                <a:lnTo>
                  <a:pt x="1342" y="1120"/>
                </a:lnTo>
                <a:lnTo>
                  <a:pt x="1338" y="1112"/>
                </a:lnTo>
                <a:lnTo>
                  <a:pt x="1122" y="788"/>
                </a:lnTo>
                <a:lnTo>
                  <a:pt x="1122" y="788"/>
                </a:lnTo>
                <a:lnTo>
                  <a:pt x="1114" y="774"/>
                </a:lnTo>
                <a:lnTo>
                  <a:pt x="1110" y="760"/>
                </a:lnTo>
                <a:lnTo>
                  <a:pt x="1108" y="744"/>
                </a:lnTo>
                <a:lnTo>
                  <a:pt x="1108" y="730"/>
                </a:lnTo>
                <a:lnTo>
                  <a:pt x="1110" y="716"/>
                </a:lnTo>
                <a:lnTo>
                  <a:pt x="1116" y="702"/>
                </a:lnTo>
                <a:lnTo>
                  <a:pt x="1124" y="688"/>
                </a:lnTo>
                <a:lnTo>
                  <a:pt x="1134" y="676"/>
                </a:lnTo>
                <a:lnTo>
                  <a:pt x="1280" y="530"/>
                </a:lnTo>
                <a:lnTo>
                  <a:pt x="1280" y="530"/>
                </a:lnTo>
                <a:lnTo>
                  <a:pt x="1292" y="520"/>
                </a:lnTo>
                <a:lnTo>
                  <a:pt x="1306" y="512"/>
                </a:lnTo>
                <a:lnTo>
                  <a:pt x="1320" y="506"/>
                </a:lnTo>
                <a:lnTo>
                  <a:pt x="1334" y="504"/>
                </a:lnTo>
                <a:lnTo>
                  <a:pt x="1348" y="504"/>
                </a:lnTo>
                <a:lnTo>
                  <a:pt x="1364" y="506"/>
                </a:lnTo>
                <a:lnTo>
                  <a:pt x="1378" y="510"/>
                </a:lnTo>
                <a:lnTo>
                  <a:pt x="1392" y="518"/>
                </a:lnTo>
                <a:lnTo>
                  <a:pt x="1714" y="734"/>
                </a:lnTo>
                <a:lnTo>
                  <a:pt x="1714" y="734"/>
                </a:lnTo>
                <a:lnTo>
                  <a:pt x="1722" y="738"/>
                </a:lnTo>
                <a:lnTo>
                  <a:pt x="1730" y="742"/>
                </a:lnTo>
                <a:lnTo>
                  <a:pt x="1740" y="744"/>
                </a:lnTo>
                <a:lnTo>
                  <a:pt x="1748" y="744"/>
                </a:lnTo>
                <a:lnTo>
                  <a:pt x="1758" y="744"/>
                </a:lnTo>
                <a:lnTo>
                  <a:pt x="1766" y="744"/>
                </a:lnTo>
                <a:lnTo>
                  <a:pt x="1774" y="740"/>
                </a:lnTo>
                <a:lnTo>
                  <a:pt x="1782" y="736"/>
                </a:lnTo>
                <a:lnTo>
                  <a:pt x="1782" y="736"/>
                </a:lnTo>
                <a:lnTo>
                  <a:pt x="1844" y="704"/>
                </a:lnTo>
                <a:lnTo>
                  <a:pt x="1906" y="676"/>
                </a:lnTo>
                <a:lnTo>
                  <a:pt x="1972" y="652"/>
                </a:lnTo>
                <a:lnTo>
                  <a:pt x="2038" y="632"/>
                </a:lnTo>
                <a:lnTo>
                  <a:pt x="2038" y="632"/>
                </a:lnTo>
                <a:lnTo>
                  <a:pt x="2046" y="628"/>
                </a:lnTo>
                <a:lnTo>
                  <a:pt x="2054" y="624"/>
                </a:lnTo>
                <a:lnTo>
                  <a:pt x="2060" y="618"/>
                </a:lnTo>
                <a:lnTo>
                  <a:pt x="2068" y="612"/>
                </a:lnTo>
                <a:lnTo>
                  <a:pt x="2072" y="606"/>
                </a:lnTo>
                <a:lnTo>
                  <a:pt x="2078" y="598"/>
                </a:lnTo>
                <a:lnTo>
                  <a:pt x="2080" y="590"/>
                </a:lnTo>
                <a:lnTo>
                  <a:pt x="2084" y="582"/>
                </a:lnTo>
                <a:lnTo>
                  <a:pt x="2160" y="200"/>
                </a:lnTo>
                <a:lnTo>
                  <a:pt x="2160" y="200"/>
                </a:lnTo>
                <a:lnTo>
                  <a:pt x="2164" y="186"/>
                </a:lnTo>
                <a:lnTo>
                  <a:pt x="2170" y="172"/>
                </a:lnTo>
                <a:lnTo>
                  <a:pt x="2180" y="160"/>
                </a:lnTo>
                <a:lnTo>
                  <a:pt x="2190" y="150"/>
                </a:lnTo>
                <a:lnTo>
                  <a:pt x="2202" y="140"/>
                </a:lnTo>
                <a:lnTo>
                  <a:pt x="2216" y="134"/>
                </a:lnTo>
                <a:lnTo>
                  <a:pt x="2230" y="130"/>
                </a:lnTo>
                <a:lnTo>
                  <a:pt x="2246" y="130"/>
                </a:lnTo>
                <a:lnTo>
                  <a:pt x="2454" y="130"/>
                </a:lnTo>
                <a:lnTo>
                  <a:pt x="2454" y="130"/>
                </a:lnTo>
                <a:lnTo>
                  <a:pt x="2470" y="130"/>
                </a:lnTo>
                <a:lnTo>
                  <a:pt x="2484" y="134"/>
                </a:lnTo>
                <a:lnTo>
                  <a:pt x="2498" y="140"/>
                </a:lnTo>
                <a:lnTo>
                  <a:pt x="2510" y="150"/>
                </a:lnTo>
                <a:lnTo>
                  <a:pt x="2520" y="160"/>
                </a:lnTo>
                <a:lnTo>
                  <a:pt x="2530" y="172"/>
                </a:lnTo>
                <a:lnTo>
                  <a:pt x="2536" y="186"/>
                </a:lnTo>
                <a:lnTo>
                  <a:pt x="2540" y="200"/>
                </a:lnTo>
                <a:lnTo>
                  <a:pt x="2616" y="582"/>
                </a:lnTo>
                <a:lnTo>
                  <a:pt x="2616" y="582"/>
                </a:lnTo>
                <a:lnTo>
                  <a:pt x="2618" y="590"/>
                </a:lnTo>
                <a:lnTo>
                  <a:pt x="2622" y="598"/>
                </a:lnTo>
                <a:lnTo>
                  <a:pt x="2626" y="606"/>
                </a:lnTo>
                <a:lnTo>
                  <a:pt x="2632" y="612"/>
                </a:lnTo>
                <a:lnTo>
                  <a:pt x="2638" y="618"/>
                </a:lnTo>
                <a:lnTo>
                  <a:pt x="2646" y="624"/>
                </a:lnTo>
                <a:lnTo>
                  <a:pt x="2654" y="628"/>
                </a:lnTo>
                <a:lnTo>
                  <a:pt x="2662" y="632"/>
                </a:lnTo>
                <a:lnTo>
                  <a:pt x="2662" y="632"/>
                </a:lnTo>
                <a:lnTo>
                  <a:pt x="2728" y="652"/>
                </a:lnTo>
                <a:lnTo>
                  <a:pt x="2794" y="676"/>
                </a:lnTo>
                <a:lnTo>
                  <a:pt x="2856" y="704"/>
                </a:lnTo>
                <a:lnTo>
                  <a:pt x="2918" y="736"/>
                </a:lnTo>
                <a:lnTo>
                  <a:pt x="2918" y="736"/>
                </a:lnTo>
                <a:lnTo>
                  <a:pt x="2926" y="740"/>
                </a:lnTo>
                <a:lnTo>
                  <a:pt x="2934" y="744"/>
                </a:lnTo>
                <a:lnTo>
                  <a:pt x="2942" y="744"/>
                </a:lnTo>
                <a:lnTo>
                  <a:pt x="2952" y="744"/>
                </a:lnTo>
                <a:lnTo>
                  <a:pt x="2960" y="744"/>
                </a:lnTo>
                <a:lnTo>
                  <a:pt x="2968" y="742"/>
                </a:lnTo>
                <a:lnTo>
                  <a:pt x="2976" y="738"/>
                </a:lnTo>
                <a:lnTo>
                  <a:pt x="2984" y="734"/>
                </a:lnTo>
                <a:lnTo>
                  <a:pt x="3308" y="518"/>
                </a:lnTo>
                <a:lnTo>
                  <a:pt x="3308" y="518"/>
                </a:lnTo>
                <a:lnTo>
                  <a:pt x="3322" y="510"/>
                </a:lnTo>
                <a:lnTo>
                  <a:pt x="3336" y="506"/>
                </a:lnTo>
                <a:lnTo>
                  <a:pt x="3352" y="504"/>
                </a:lnTo>
                <a:lnTo>
                  <a:pt x="3366" y="504"/>
                </a:lnTo>
                <a:lnTo>
                  <a:pt x="3380" y="506"/>
                </a:lnTo>
                <a:lnTo>
                  <a:pt x="3394" y="512"/>
                </a:lnTo>
                <a:lnTo>
                  <a:pt x="3408" y="520"/>
                </a:lnTo>
                <a:lnTo>
                  <a:pt x="3420" y="530"/>
                </a:lnTo>
                <a:lnTo>
                  <a:pt x="3566" y="676"/>
                </a:lnTo>
                <a:lnTo>
                  <a:pt x="3566" y="676"/>
                </a:lnTo>
                <a:lnTo>
                  <a:pt x="3576" y="688"/>
                </a:lnTo>
                <a:lnTo>
                  <a:pt x="3584" y="702"/>
                </a:lnTo>
                <a:lnTo>
                  <a:pt x="3590" y="716"/>
                </a:lnTo>
                <a:lnTo>
                  <a:pt x="3592" y="730"/>
                </a:lnTo>
                <a:lnTo>
                  <a:pt x="3592" y="744"/>
                </a:lnTo>
                <a:lnTo>
                  <a:pt x="3590" y="760"/>
                </a:lnTo>
                <a:lnTo>
                  <a:pt x="3586" y="774"/>
                </a:lnTo>
                <a:lnTo>
                  <a:pt x="3578" y="788"/>
                </a:lnTo>
                <a:lnTo>
                  <a:pt x="3362" y="1112"/>
                </a:lnTo>
                <a:lnTo>
                  <a:pt x="3362" y="1112"/>
                </a:lnTo>
                <a:lnTo>
                  <a:pt x="3358" y="1120"/>
                </a:lnTo>
                <a:lnTo>
                  <a:pt x="3354" y="1128"/>
                </a:lnTo>
                <a:lnTo>
                  <a:pt x="3352" y="1136"/>
                </a:lnTo>
                <a:lnTo>
                  <a:pt x="3352" y="1144"/>
                </a:lnTo>
                <a:lnTo>
                  <a:pt x="3352" y="1154"/>
                </a:lnTo>
                <a:lnTo>
                  <a:pt x="3352" y="1162"/>
                </a:lnTo>
                <a:lnTo>
                  <a:pt x="3356" y="1170"/>
                </a:lnTo>
                <a:lnTo>
                  <a:pt x="3360" y="1178"/>
                </a:lnTo>
                <a:lnTo>
                  <a:pt x="3360" y="1178"/>
                </a:lnTo>
                <a:lnTo>
                  <a:pt x="3392" y="1240"/>
                </a:lnTo>
                <a:lnTo>
                  <a:pt x="3420" y="1302"/>
                </a:lnTo>
                <a:lnTo>
                  <a:pt x="3444" y="1368"/>
                </a:lnTo>
                <a:lnTo>
                  <a:pt x="3466" y="1434"/>
                </a:lnTo>
                <a:lnTo>
                  <a:pt x="3466" y="1434"/>
                </a:lnTo>
                <a:lnTo>
                  <a:pt x="3468" y="1442"/>
                </a:lnTo>
                <a:lnTo>
                  <a:pt x="3472" y="1450"/>
                </a:lnTo>
                <a:lnTo>
                  <a:pt x="3478" y="1458"/>
                </a:lnTo>
                <a:lnTo>
                  <a:pt x="3484" y="1464"/>
                </a:lnTo>
                <a:lnTo>
                  <a:pt x="3490" y="1470"/>
                </a:lnTo>
                <a:lnTo>
                  <a:pt x="3498" y="1474"/>
                </a:lnTo>
                <a:lnTo>
                  <a:pt x="3506" y="1478"/>
                </a:lnTo>
                <a:lnTo>
                  <a:pt x="3514" y="1480"/>
                </a:lnTo>
                <a:lnTo>
                  <a:pt x="3896" y="1556"/>
                </a:lnTo>
                <a:lnTo>
                  <a:pt x="3896" y="1556"/>
                </a:lnTo>
                <a:lnTo>
                  <a:pt x="3910" y="1560"/>
                </a:lnTo>
                <a:lnTo>
                  <a:pt x="3924" y="1566"/>
                </a:lnTo>
                <a:lnTo>
                  <a:pt x="3936" y="1576"/>
                </a:lnTo>
                <a:lnTo>
                  <a:pt x="3946" y="1586"/>
                </a:lnTo>
                <a:lnTo>
                  <a:pt x="3956" y="1598"/>
                </a:lnTo>
                <a:lnTo>
                  <a:pt x="3962" y="1612"/>
                </a:lnTo>
                <a:lnTo>
                  <a:pt x="3966" y="1626"/>
                </a:lnTo>
                <a:lnTo>
                  <a:pt x="3966" y="1642"/>
                </a:lnTo>
                <a:lnTo>
                  <a:pt x="3966" y="1850"/>
                </a:lnTo>
                <a:lnTo>
                  <a:pt x="3966" y="1850"/>
                </a:lnTo>
                <a:lnTo>
                  <a:pt x="3966" y="1866"/>
                </a:lnTo>
                <a:lnTo>
                  <a:pt x="3962" y="1880"/>
                </a:lnTo>
                <a:lnTo>
                  <a:pt x="3956" y="1894"/>
                </a:lnTo>
                <a:lnTo>
                  <a:pt x="3946" y="1906"/>
                </a:lnTo>
                <a:lnTo>
                  <a:pt x="3936" y="1916"/>
                </a:lnTo>
                <a:lnTo>
                  <a:pt x="3924" y="1926"/>
                </a:lnTo>
                <a:lnTo>
                  <a:pt x="3910" y="1932"/>
                </a:lnTo>
                <a:lnTo>
                  <a:pt x="3896" y="1936"/>
                </a:lnTo>
                <a:lnTo>
                  <a:pt x="3514" y="2012"/>
                </a:lnTo>
                <a:lnTo>
                  <a:pt x="3514" y="2012"/>
                </a:lnTo>
                <a:lnTo>
                  <a:pt x="3506" y="2016"/>
                </a:lnTo>
                <a:lnTo>
                  <a:pt x="3498" y="2018"/>
                </a:lnTo>
                <a:lnTo>
                  <a:pt x="3490" y="2024"/>
                </a:lnTo>
                <a:lnTo>
                  <a:pt x="3484" y="2028"/>
                </a:lnTo>
                <a:lnTo>
                  <a:pt x="3478" y="2036"/>
                </a:lnTo>
                <a:lnTo>
                  <a:pt x="3472" y="2042"/>
                </a:lnTo>
                <a:lnTo>
                  <a:pt x="3468" y="2050"/>
                </a:lnTo>
                <a:lnTo>
                  <a:pt x="3466" y="2058"/>
                </a:lnTo>
                <a:lnTo>
                  <a:pt x="3466" y="2058"/>
                </a:lnTo>
                <a:lnTo>
                  <a:pt x="3444" y="2124"/>
                </a:lnTo>
                <a:lnTo>
                  <a:pt x="3420" y="2190"/>
                </a:lnTo>
                <a:lnTo>
                  <a:pt x="3392" y="2252"/>
                </a:lnTo>
                <a:lnTo>
                  <a:pt x="3360" y="2314"/>
                </a:lnTo>
                <a:lnTo>
                  <a:pt x="3360" y="2314"/>
                </a:lnTo>
                <a:lnTo>
                  <a:pt x="3356" y="2322"/>
                </a:lnTo>
                <a:lnTo>
                  <a:pt x="3352" y="2330"/>
                </a:lnTo>
                <a:lnTo>
                  <a:pt x="3352" y="2338"/>
                </a:lnTo>
                <a:lnTo>
                  <a:pt x="3352" y="2348"/>
                </a:lnTo>
                <a:lnTo>
                  <a:pt x="3352" y="2356"/>
                </a:lnTo>
                <a:lnTo>
                  <a:pt x="3354" y="2366"/>
                </a:lnTo>
                <a:lnTo>
                  <a:pt x="3358" y="2374"/>
                </a:lnTo>
                <a:lnTo>
                  <a:pt x="3362" y="2382"/>
                </a:lnTo>
                <a:lnTo>
                  <a:pt x="3578" y="2704"/>
                </a:lnTo>
                <a:lnTo>
                  <a:pt x="3578" y="2704"/>
                </a:lnTo>
                <a:lnTo>
                  <a:pt x="3586" y="2718"/>
                </a:lnTo>
                <a:lnTo>
                  <a:pt x="3590" y="2732"/>
                </a:lnTo>
                <a:lnTo>
                  <a:pt x="3592" y="2748"/>
                </a:lnTo>
                <a:lnTo>
                  <a:pt x="3592" y="2762"/>
                </a:lnTo>
                <a:lnTo>
                  <a:pt x="3590" y="2776"/>
                </a:lnTo>
                <a:lnTo>
                  <a:pt x="3584" y="2790"/>
                </a:lnTo>
                <a:lnTo>
                  <a:pt x="3576" y="2804"/>
                </a:lnTo>
                <a:lnTo>
                  <a:pt x="3566" y="2816"/>
                </a:lnTo>
                <a:lnTo>
                  <a:pt x="3420" y="2962"/>
                </a:lnTo>
                <a:lnTo>
                  <a:pt x="3420" y="2962"/>
                </a:lnTo>
                <a:lnTo>
                  <a:pt x="3408" y="2972"/>
                </a:lnTo>
                <a:lnTo>
                  <a:pt x="3394" y="2980"/>
                </a:lnTo>
                <a:lnTo>
                  <a:pt x="3380" y="2986"/>
                </a:lnTo>
                <a:lnTo>
                  <a:pt x="3366" y="2988"/>
                </a:lnTo>
                <a:lnTo>
                  <a:pt x="3352" y="2988"/>
                </a:lnTo>
                <a:lnTo>
                  <a:pt x="3336" y="2986"/>
                </a:lnTo>
                <a:lnTo>
                  <a:pt x="3322" y="2982"/>
                </a:lnTo>
                <a:lnTo>
                  <a:pt x="3308" y="2974"/>
                </a:lnTo>
                <a:lnTo>
                  <a:pt x="2984" y="2758"/>
                </a:lnTo>
                <a:lnTo>
                  <a:pt x="2984" y="2758"/>
                </a:lnTo>
                <a:lnTo>
                  <a:pt x="2974" y="2752"/>
                </a:lnTo>
                <a:lnTo>
                  <a:pt x="2962" y="2748"/>
                </a:lnTo>
                <a:lnTo>
                  <a:pt x="2948" y="2748"/>
                </a:lnTo>
                <a:lnTo>
                  <a:pt x="2936" y="2748"/>
                </a:lnTo>
                <a:lnTo>
                  <a:pt x="2924" y="2752"/>
                </a:lnTo>
                <a:lnTo>
                  <a:pt x="2914" y="2758"/>
                </a:lnTo>
                <a:lnTo>
                  <a:pt x="2904" y="2766"/>
                </a:lnTo>
                <a:lnTo>
                  <a:pt x="2896" y="2776"/>
                </a:lnTo>
                <a:lnTo>
                  <a:pt x="2896" y="2776"/>
                </a:lnTo>
                <a:lnTo>
                  <a:pt x="2890" y="2788"/>
                </a:lnTo>
                <a:lnTo>
                  <a:pt x="2886" y="2800"/>
                </a:lnTo>
                <a:lnTo>
                  <a:pt x="2884" y="2812"/>
                </a:lnTo>
                <a:lnTo>
                  <a:pt x="2886" y="2824"/>
                </a:lnTo>
                <a:lnTo>
                  <a:pt x="2890" y="2836"/>
                </a:lnTo>
                <a:lnTo>
                  <a:pt x="2894" y="2848"/>
                </a:lnTo>
                <a:lnTo>
                  <a:pt x="2902" y="2858"/>
                </a:lnTo>
                <a:lnTo>
                  <a:pt x="2914" y="2866"/>
                </a:lnTo>
                <a:lnTo>
                  <a:pt x="3236" y="3082"/>
                </a:lnTo>
                <a:lnTo>
                  <a:pt x="3236" y="3082"/>
                </a:lnTo>
                <a:lnTo>
                  <a:pt x="3250" y="3090"/>
                </a:lnTo>
                <a:lnTo>
                  <a:pt x="3264" y="3098"/>
                </a:lnTo>
                <a:lnTo>
                  <a:pt x="3294" y="3108"/>
                </a:lnTo>
                <a:lnTo>
                  <a:pt x="3326" y="3116"/>
                </a:lnTo>
                <a:lnTo>
                  <a:pt x="3356" y="3118"/>
                </a:lnTo>
                <a:lnTo>
                  <a:pt x="3356" y="3118"/>
                </a:lnTo>
                <a:lnTo>
                  <a:pt x="3378" y="3118"/>
                </a:lnTo>
                <a:lnTo>
                  <a:pt x="3398" y="3114"/>
                </a:lnTo>
                <a:lnTo>
                  <a:pt x="3420" y="3108"/>
                </a:lnTo>
                <a:lnTo>
                  <a:pt x="3440" y="3102"/>
                </a:lnTo>
                <a:lnTo>
                  <a:pt x="3458" y="3092"/>
                </a:lnTo>
                <a:lnTo>
                  <a:pt x="3478" y="3082"/>
                </a:lnTo>
                <a:lnTo>
                  <a:pt x="3494" y="3070"/>
                </a:lnTo>
                <a:lnTo>
                  <a:pt x="3512" y="3054"/>
                </a:lnTo>
                <a:lnTo>
                  <a:pt x="3658" y="2908"/>
                </a:lnTo>
                <a:lnTo>
                  <a:pt x="3658" y="2908"/>
                </a:lnTo>
                <a:lnTo>
                  <a:pt x="3672" y="2894"/>
                </a:lnTo>
                <a:lnTo>
                  <a:pt x="3682" y="2878"/>
                </a:lnTo>
                <a:lnTo>
                  <a:pt x="3692" y="2862"/>
                </a:lnTo>
                <a:lnTo>
                  <a:pt x="3702" y="2846"/>
                </a:lnTo>
                <a:lnTo>
                  <a:pt x="3708" y="2828"/>
                </a:lnTo>
                <a:lnTo>
                  <a:pt x="3714" y="2812"/>
                </a:lnTo>
                <a:lnTo>
                  <a:pt x="3718" y="2794"/>
                </a:lnTo>
                <a:lnTo>
                  <a:pt x="3720" y="2776"/>
                </a:lnTo>
                <a:lnTo>
                  <a:pt x="3722" y="2756"/>
                </a:lnTo>
                <a:lnTo>
                  <a:pt x="3722" y="2738"/>
                </a:lnTo>
                <a:lnTo>
                  <a:pt x="3720" y="2720"/>
                </a:lnTo>
                <a:lnTo>
                  <a:pt x="3716" y="2702"/>
                </a:lnTo>
                <a:lnTo>
                  <a:pt x="3710" y="2684"/>
                </a:lnTo>
                <a:lnTo>
                  <a:pt x="3704" y="2666"/>
                </a:lnTo>
                <a:lnTo>
                  <a:pt x="3696" y="2650"/>
                </a:lnTo>
                <a:lnTo>
                  <a:pt x="3686" y="2632"/>
                </a:lnTo>
                <a:lnTo>
                  <a:pt x="3492" y="2342"/>
                </a:lnTo>
                <a:lnTo>
                  <a:pt x="3492" y="2342"/>
                </a:lnTo>
                <a:lnTo>
                  <a:pt x="3516" y="2290"/>
                </a:lnTo>
                <a:lnTo>
                  <a:pt x="3540" y="2238"/>
                </a:lnTo>
                <a:lnTo>
                  <a:pt x="3560" y="2186"/>
                </a:lnTo>
                <a:lnTo>
                  <a:pt x="3578" y="2132"/>
                </a:lnTo>
                <a:lnTo>
                  <a:pt x="3922" y="2064"/>
                </a:lnTo>
                <a:lnTo>
                  <a:pt x="3922" y="2064"/>
                </a:lnTo>
                <a:lnTo>
                  <a:pt x="3940" y="2058"/>
                </a:lnTo>
                <a:lnTo>
                  <a:pt x="3958" y="2052"/>
                </a:lnTo>
                <a:lnTo>
                  <a:pt x="3974" y="2046"/>
                </a:lnTo>
                <a:lnTo>
                  <a:pt x="3992" y="2036"/>
                </a:lnTo>
                <a:lnTo>
                  <a:pt x="4006" y="2026"/>
                </a:lnTo>
                <a:lnTo>
                  <a:pt x="4020" y="2014"/>
                </a:lnTo>
                <a:lnTo>
                  <a:pt x="4034" y="2002"/>
                </a:lnTo>
                <a:lnTo>
                  <a:pt x="4046" y="1988"/>
                </a:lnTo>
                <a:lnTo>
                  <a:pt x="4058" y="1974"/>
                </a:lnTo>
                <a:lnTo>
                  <a:pt x="4068" y="1958"/>
                </a:lnTo>
                <a:lnTo>
                  <a:pt x="4076" y="1942"/>
                </a:lnTo>
                <a:lnTo>
                  <a:pt x="4082" y="1924"/>
                </a:lnTo>
                <a:lnTo>
                  <a:pt x="4088" y="1906"/>
                </a:lnTo>
                <a:lnTo>
                  <a:pt x="4092" y="1888"/>
                </a:lnTo>
                <a:lnTo>
                  <a:pt x="4096" y="1870"/>
                </a:lnTo>
                <a:lnTo>
                  <a:pt x="4096" y="1850"/>
                </a:lnTo>
                <a:lnTo>
                  <a:pt x="4096" y="1642"/>
                </a:lnTo>
                <a:lnTo>
                  <a:pt x="4096" y="1642"/>
                </a:lnTo>
                <a:lnTo>
                  <a:pt x="4096" y="1624"/>
                </a:lnTo>
                <a:lnTo>
                  <a:pt x="4092" y="1604"/>
                </a:lnTo>
                <a:lnTo>
                  <a:pt x="4088" y="1586"/>
                </a:lnTo>
                <a:lnTo>
                  <a:pt x="4082" y="1568"/>
                </a:lnTo>
                <a:lnTo>
                  <a:pt x="4076" y="1552"/>
                </a:lnTo>
                <a:lnTo>
                  <a:pt x="4068" y="1534"/>
                </a:lnTo>
                <a:lnTo>
                  <a:pt x="4058" y="1520"/>
                </a:lnTo>
                <a:lnTo>
                  <a:pt x="4046" y="1504"/>
                </a:lnTo>
                <a:lnTo>
                  <a:pt x="4034" y="1490"/>
                </a:lnTo>
                <a:lnTo>
                  <a:pt x="4020" y="1478"/>
                </a:lnTo>
                <a:lnTo>
                  <a:pt x="4006" y="1466"/>
                </a:lnTo>
                <a:lnTo>
                  <a:pt x="3992" y="1456"/>
                </a:lnTo>
                <a:lnTo>
                  <a:pt x="3974" y="1448"/>
                </a:lnTo>
                <a:lnTo>
                  <a:pt x="3958" y="1440"/>
                </a:lnTo>
                <a:lnTo>
                  <a:pt x="3940" y="1434"/>
                </a:lnTo>
                <a:lnTo>
                  <a:pt x="3922" y="1428"/>
                </a:lnTo>
                <a:lnTo>
                  <a:pt x="3922" y="1428"/>
                </a:lnTo>
                <a:close/>
                <a:moveTo>
                  <a:pt x="2934" y="2372"/>
                </a:moveTo>
                <a:lnTo>
                  <a:pt x="2934" y="2372"/>
                </a:lnTo>
                <a:lnTo>
                  <a:pt x="2948" y="2370"/>
                </a:lnTo>
                <a:lnTo>
                  <a:pt x="2960" y="2366"/>
                </a:lnTo>
                <a:lnTo>
                  <a:pt x="2972" y="2360"/>
                </a:lnTo>
                <a:lnTo>
                  <a:pt x="2982" y="2352"/>
                </a:lnTo>
                <a:lnTo>
                  <a:pt x="2982" y="2352"/>
                </a:lnTo>
                <a:lnTo>
                  <a:pt x="3016" y="2314"/>
                </a:lnTo>
                <a:lnTo>
                  <a:pt x="3048" y="2274"/>
                </a:lnTo>
                <a:lnTo>
                  <a:pt x="3078" y="2232"/>
                </a:lnTo>
                <a:lnTo>
                  <a:pt x="3104" y="2190"/>
                </a:lnTo>
                <a:lnTo>
                  <a:pt x="3128" y="2146"/>
                </a:lnTo>
                <a:lnTo>
                  <a:pt x="3150" y="2102"/>
                </a:lnTo>
                <a:lnTo>
                  <a:pt x="3168" y="2056"/>
                </a:lnTo>
                <a:lnTo>
                  <a:pt x="3184" y="2008"/>
                </a:lnTo>
                <a:lnTo>
                  <a:pt x="3198" y="1960"/>
                </a:lnTo>
                <a:lnTo>
                  <a:pt x="3210" y="1912"/>
                </a:lnTo>
                <a:lnTo>
                  <a:pt x="3218" y="1864"/>
                </a:lnTo>
                <a:lnTo>
                  <a:pt x="3222" y="1814"/>
                </a:lnTo>
                <a:lnTo>
                  <a:pt x="3224" y="1764"/>
                </a:lnTo>
                <a:lnTo>
                  <a:pt x="3224" y="1712"/>
                </a:lnTo>
                <a:lnTo>
                  <a:pt x="3220" y="1662"/>
                </a:lnTo>
                <a:lnTo>
                  <a:pt x="3214" y="1612"/>
                </a:lnTo>
                <a:lnTo>
                  <a:pt x="3214" y="1612"/>
                </a:lnTo>
                <a:lnTo>
                  <a:pt x="3204" y="1560"/>
                </a:lnTo>
                <a:lnTo>
                  <a:pt x="3192" y="1510"/>
                </a:lnTo>
                <a:lnTo>
                  <a:pt x="3176" y="1460"/>
                </a:lnTo>
                <a:lnTo>
                  <a:pt x="3158" y="1414"/>
                </a:lnTo>
                <a:lnTo>
                  <a:pt x="3138" y="1366"/>
                </a:lnTo>
                <a:lnTo>
                  <a:pt x="3114" y="1320"/>
                </a:lnTo>
                <a:lnTo>
                  <a:pt x="3088" y="1276"/>
                </a:lnTo>
                <a:lnTo>
                  <a:pt x="3060" y="1234"/>
                </a:lnTo>
                <a:lnTo>
                  <a:pt x="3060" y="1234"/>
                </a:lnTo>
                <a:lnTo>
                  <a:pt x="3050" y="1224"/>
                </a:lnTo>
                <a:lnTo>
                  <a:pt x="3040" y="1216"/>
                </a:lnTo>
                <a:lnTo>
                  <a:pt x="3028" y="1212"/>
                </a:lnTo>
                <a:lnTo>
                  <a:pt x="3016" y="1208"/>
                </a:lnTo>
                <a:lnTo>
                  <a:pt x="3004" y="1208"/>
                </a:lnTo>
                <a:lnTo>
                  <a:pt x="2992" y="1208"/>
                </a:lnTo>
                <a:lnTo>
                  <a:pt x="2980" y="1212"/>
                </a:lnTo>
                <a:lnTo>
                  <a:pt x="2968" y="1220"/>
                </a:lnTo>
                <a:lnTo>
                  <a:pt x="2968" y="1220"/>
                </a:lnTo>
                <a:lnTo>
                  <a:pt x="2958" y="1228"/>
                </a:lnTo>
                <a:lnTo>
                  <a:pt x="2952" y="1238"/>
                </a:lnTo>
                <a:lnTo>
                  <a:pt x="2946" y="1250"/>
                </a:lnTo>
                <a:lnTo>
                  <a:pt x="2942" y="1262"/>
                </a:lnTo>
                <a:lnTo>
                  <a:pt x="2942" y="1274"/>
                </a:lnTo>
                <a:lnTo>
                  <a:pt x="2944" y="1286"/>
                </a:lnTo>
                <a:lnTo>
                  <a:pt x="2948" y="1298"/>
                </a:lnTo>
                <a:lnTo>
                  <a:pt x="2954" y="1310"/>
                </a:lnTo>
                <a:lnTo>
                  <a:pt x="2954" y="1310"/>
                </a:lnTo>
                <a:lnTo>
                  <a:pt x="2980" y="1346"/>
                </a:lnTo>
                <a:lnTo>
                  <a:pt x="3002" y="1384"/>
                </a:lnTo>
                <a:lnTo>
                  <a:pt x="3022" y="1422"/>
                </a:lnTo>
                <a:lnTo>
                  <a:pt x="3040" y="1462"/>
                </a:lnTo>
                <a:lnTo>
                  <a:pt x="3054" y="1504"/>
                </a:lnTo>
                <a:lnTo>
                  <a:pt x="3068" y="1544"/>
                </a:lnTo>
                <a:lnTo>
                  <a:pt x="3078" y="1588"/>
                </a:lnTo>
                <a:lnTo>
                  <a:pt x="3086" y="1632"/>
                </a:lnTo>
                <a:lnTo>
                  <a:pt x="3086" y="1632"/>
                </a:lnTo>
                <a:lnTo>
                  <a:pt x="3092" y="1674"/>
                </a:lnTo>
                <a:lnTo>
                  <a:pt x="3094" y="1718"/>
                </a:lnTo>
                <a:lnTo>
                  <a:pt x="3096" y="1760"/>
                </a:lnTo>
                <a:lnTo>
                  <a:pt x="3094" y="1804"/>
                </a:lnTo>
                <a:lnTo>
                  <a:pt x="3088" y="1846"/>
                </a:lnTo>
                <a:lnTo>
                  <a:pt x="3082" y="1888"/>
                </a:lnTo>
                <a:lnTo>
                  <a:pt x="3072" y="1930"/>
                </a:lnTo>
                <a:lnTo>
                  <a:pt x="3062" y="1970"/>
                </a:lnTo>
                <a:lnTo>
                  <a:pt x="3048" y="2010"/>
                </a:lnTo>
                <a:lnTo>
                  <a:pt x="3032" y="2048"/>
                </a:lnTo>
                <a:lnTo>
                  <a:pt x="3014" y="2088"/>
                </a:lnTo>
                <a:lnTo>
                  <a:pt x="2992" y="2124"/>
                </a:lnTo>
                <a:lnTo>
                  <a:pt x="2970" y="2160"/>
                </a:lnTo>
                <a:lnTo>
                  <a:pt x="2944" y="2196"/>
                </a:lnTo>
                <a:lnTo>
                  <a:pt x="2918" y="2230"/>
                </a:lnTo>
                <a:lnTo>
                  <a:pt x="2888" y="2262"/>
                </a:lnTo>
                <a:lnTo>
                  <a:pt x="2888" y="2262"/>
                </a:lnTo>
                <a:lnTo>
                  <a:pt x="2880" y="2272"/>
                </a:lnTo>
                <a:lnTo>
                  <a:pt x="2874" y="2284"/>
                </a:lnTo>
                <a:lnTo>
                  <a:pt x="2870" y="2296"/>
                </a:lnTo>
                <a:lnTo>
                  <a:pt x="2870" y="2308"/>
                </a:lnTo>
                <a:lnTo>
                  <a:pt x="2872" y="2320"/>
                </a:lnTo>
                <a:lnTo>
                  <a:pt x="2876" y="2332"/>
                </a:lnTo>
                <a:lnTo>
                  <a:pt x="2882" y="2344"/>
                </a:lnTo>
                <a:lnTo>
                  <a:pt x="2890" y="2354"/>
                </a:lnTo>
                <a:lnTo>
                  <a:pt x="2890" y="2354"/>
                </a:lnTo>
                <a:lnTo>
                  <a:pt x="2900" y="2362"/>
                </a:lnTo>
                <a:lnTo>
                  <a:pt x="2910" y="2366"/>
                </a:lnTo>
                <a:lnTo>
                  <a:pt x="2922" y="2370"/>
                </a:lnTo>
                <a:lnTo>
                  <a:pt x="2934" y="2372"/>
                </a:lnTo>
                <a:lnTo>
                  <a:pt x="2934" y="237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468110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18">
            <a:extLst>
              <a:ext uri="{FF2B5EF4-FFF2-40B4-BE49-F238E27FC236}">
                <a16:creationId xmlns:a16="http://schemas.microsoft.com/office/drawing/2014/main" id="{56953C94-89C5-4E90-BB4F-70B33728744E}"/>
              </a:ext>
            </a:extLst>
          </p:cNvPr>
          <p:cNvSpPr>
            <a:spLocks noGrp="1"/>
          </p:cNvSpPr>
          <p:nvPr>
            <p:ph type="title"/>
          </p:nvPr>
        </p:nvSpPr>
        <p:spPr>
          <a:xfrm>
            <a:off x="442913" y="25400"/>
            <a:ext cx="8577797" cy="822325"/>
          </a:xfrm>
          <a:prstGeom prst="rect">
            <a:avLst/>
          </a:prstGeom>
          <a:gradFill flip="none" rotWithShape="1">
            <a:gsLst>
              <a:gs pos="0">
                <a:schemeClr val="bg1">
                  <a:alpha val="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noAutofit/>
          </a:bodyPr>
          <a:lstStyle/>
          <a:p>
            <a:pPr>
              <a:spcBef>
                <a:spcPts val="300"/>
              </a:spcBef>
              <a:spcAft>
                <a:spcPts val="300"/>
              </a:spcAft>
            </a:pPr>
            <a:r>
              <a:rPr lang="en-US" sz="2000" b="1" dirty="0"/>
              <a:t>Analytics Services</a:t>
            </a:r>
          </a:p>
        </p:txBody>
      </p:sp>
      <p:sp>
        <p:nvSpPr>
          <p:cNvPr id="27" name="Freeform 25">
            <a:extLst>
              <a:ext uri="{FF2B5EF4-FFF2-40B4-BE49-F238E27FC236}">
                <a16:creationId xmlns:a16="http://schemas.microsoft.com/office/drawing/2014/main" id="{F00817DA-451E-43F0-9668-895E33E16936}"/>
              </a:ext>
            </a:extLst>
          </p:cNvPr>
          <p:cNvSpPr>
            <a:spLocks noEditPoints="1"/>
          </p:cNvSpPr>
          <p:nvPr/>
        </p:nvSpPr>
        <p:spPr bwMode="auto">
          <a:xfrm rot="19589649">
            <a:off x="3681774" y="5801135"/>
            <a:ext cx="517480" cy="575630"/>
          </a:xfrm>
          <a:custGeom>
            <a:avLst/>
            <a:gdLst>
              <a:gd name="T0" fmla="*/ 2 w 232"/>
              <a:gd name="T1" fmla="*/ 246 h 248"/>
              <a:gd name="T2" fmla="*/ 1 w 232"/>
              <a:gd name="T3" fmla="*/ 246 h 248"/>
              <a:gd name="T4" fmla="*/ 1 w 232"/>
              <a:gd name="T5" fmla="*/ 246 h 248"/>
              <a:gd name="T6" fmla="*/ 1 w 232"/>
              <a:gd name="T7" fmla="*/ 246 h 248"/>
              <a:gd name="T8" fmla="*/ 1 w 232"/>
              <a:gd name="T9" fmla="*/ 246 h 248"/>
              <a:gd name="T10" fmla="*/ 0 w 232"/>
              <a:gd name="T11" fmla="*/ 246 h 248"/>
              <a:gd name="T12" fmla="*/ 0 w 232"/>
              <a:gd name="T13" fmla="*/ 246 h 248"/>
              <a:gd name="T14" fmla="*/ 31 w 232"/>
              <a:gd name="T15" fmla="*/ 248 h 248"/>
              <a:gd name="T16" fmla="*/ 58 w 232"/>
              <a:gd name="T17" fmla="*/ 246 h 248"/>
              <a:gd name="T18" fmla="*/ 231 w 232"/>
              <a:gd name="T19" fmla="*/ 20 h 248"/>
              <a:gd name="T20" fmla="*/ 231 w 232"/>
              <a:gd name="T21" fmla="*/ 19 h 248"/>
              <a:gd name="T22" fmla="*/ 230 w 232"/>
              <a:gd name="T23" fmla="*/ 19 h 248"/>
              <a:gd name="T24" fmla="*/ 230 w 232"/>
              <a:gd name="T25" fmla="*/ 19 h 248"/>
              <a:gd name="T26" fmla="*/ 230 w 232"/>
              <a:gd name="T27" fmla="*/ 18 h 248"/>
              <a:gd name="T28" fmla="*/ 230 w 232"/>
              <a:gd name="T29" fmla="*/ 18 h 248"/>
              <a:gd name="T30" fmla="*/ 230 w 232"/>
              <a:gd name="T31" fmla="*/ 18 h 248"/>
              <a:gd name="T32" fmla="*/ 230 w 232"/>
              <a:gd name="T33" fmla="*/ 17 h 248"/>
              <a:gd name="T34" fmla="*/ 230 w 232"/>
              <a:gd name="T35" fmla="*/ 17 h 248"/>
              <a:gd name="T36" fmla="*/ 230 w 232"/>
              <a:gd name="T37" fmla="*/ 17 h 248"/>
              <a:gd name="T38" fmla="*/ 230 w 232"/>
              <a:gd name="T39" fmla="*/ 17 h 248"/>
              <a:gd name="T40" fmla="*/ 230 w 232"/>
              <a:gd name="T41" fmla="*/ 16 h 248"/>
              <a:gd name="T42" fmla="*/ 230 w 232"/>
              <a:gd name="T43" fmla="*/ 16 h 248"/>
              <a:gd name="T44" fmla="*/ 230 w 232"/>
              <a:gd name="T45" fmla="*/ 15 h 248"/>
              <a:gd name="T46" fmla="*/ 230 w 232"/>
              <a:gd name="T47" fmla="*/ 15 h 248"/>
              <a:gd name="T48" fmla="*/ 230 w 232"/>
              <a:gd name="T49" fmla="*/ 15 h 248"/>
              <a:gd name="T50" fmla="*/ 230 w 232"/>
              <a:gd name="T51" fmla="*/ 14 h 248"/>
              <a:gd name="T52" fmla="*/ 230 w 232"/>
              <a:gd name="T53" fmla="*/ 14 h 248"/>
              <a:gd name="T54" fmla="*/ 230 w 232"/>
              <a:gd name="T55" fmla="*/ 14 h 248"/>
              <a:gd name="T56" fmla="*/ 230 w 232"/>
              <a:gd name="T57" fmla="*/ 13 h 248"/>
              <a:gd name="T58" fmla="*/ 230 w 232"/>
              <a:gd name="T59" fmla="*/ 13 h 248"/>
              <a:gd name="T60" fmla="*/ 229 w 232"/>
              <a:gd name="T61" fmla="*/ 13 h 248"/>
              <a:gd name="T62" fmla="*/ 229 w 232"/>
              <a:gd name="T63" fmla="*/ 12 h 248"/>
              <a:gd name="T64" fmla="*/ 229 w 232"/>
              <a:gd name="T65" fmla="*/ 12 h 248"/>
              <a:gd name="T66" fmla="*/ 229 w 232"/>
              <a:gd name="T67" fmla="*/ 12 h 248"/>
              <a:gd name="T68" fmla="*/ 229 w 232"/>
              <a:gd name="T69" fmla="*/ 11 h 248"/>
              <a:gd name="T70" fmla="*/ 229 w 232"/>
              <a:gd name="T71" fmla="*/ 11 h 248"/>
              <a:gd name="T72" fmla="*/ 229 w 232"/>
              <a:gd name="T73" fmla="*/ 11 h 248"/>
              <a:gd name="T74" fmla="*/ 229 w 232"/>
              <a:gd name="T75" fmla="*/ 10 h 248"/>
              <a:gd name="T76" fmla="*/ 229 w 232"/>
              <a:gd name="T77" fmla="*/ 10 h 248"/>
              <a:gd name="T78" fmla="*/ 229 w 232"/>
              <a:gd name="T79" fmla="*/ 10 h 248"/>
              <a:gd name="T80" fmla="*/ 229 w 232"/>
              <a:gd name="T81" fmla="*/ 10 h 248"/>
              <a:gd name="T82" fmla="*/ 229 w 232"/>
              <a:gd name="T83" fmla="*/ 9 h 248"/>
              <a:gd name="T84" fmla="*/ 229 w 232"/>
              <a:gd name="T85" fmla="*/ 9 h 248"/>
              <a:gd name="T86" fmla="*/ 229 w 232"/>
              <a:gd name="T87" fmla="*/ 8 h 248"/>
              <a:gd name="T88" fmla="*/ 229 w 232"/>
              <a:gd name="T89" fmla="*/ 8 h 248"/>
              <a:gd name="T90" fmla="*/ 229 w 232"/>
              <a:gd name="T91" fmla="*/ 8 h 248"/>
              <a:gd name="T92" fmla="*/ 229 w 232"/>
              <a:gd name="T93" fmla="*/ 8 h 248"/>
              <a:gd name="T94" fmla="*/ 228 w 232"/>
              <a:gd name="T95" fmla="*/ 7 h 248"/>
              <a:gd name="T96" fmla="*/ 228 w 232"/>
              <a:gd name="T97" fmla="*/ 7 h 248"/>
              <a:gd name="T98" fmla="*/ 228 w 232"/>
              <a:gd name="T99" fmla="*/ 7 h 248"/>
              <a:gd name="T100" fmla="*/ 228 w 232"/>
              <a:gd name="T101" fmla="*/ 6 h 248"/>
              <a:gd name="T102" fmla="*/ 228 w 232"/>
              <a:gd name="T103" fmla="*/ 5 h 248"/>
              <a:gd name="T104" fmla="*/ 228 w 232"/>
              <a:gd name="T105" fmla="*/ 5 h 248"/>
              <a:gd name="T106" fmla="*/ 228 w 232"/>
              <a:gd name="T107" fmla="*/ 5 h 248"/>
              <a:gd name="T108" fmla="*/ 228 w 232"/>
              <a:gd name="T109" fmla="*/ 4 h 248"/>
              <a:gd name="T110" fmla="*/ 228 w 232"/>
              <a:gd name="T111" fmla="*/ 4 h 248"/>
              <a:gd name="T112" fmla="*/ 228 w 232"/>
              <a:gd name="T113" fmla="*/ 4 h 248"/>
              <a:gd name="T114" fmla="*/ 228 w 232"/>
              <a:gd name="T115" fmla="*/ 4 h 248"/>
              <a:gd name="T116" fmla="*/ 228 w 232"/>
              <a:gd name="T117" fmla="*/ 3 h 248"/>
              <a:gd name="T118" fmla="*/ 227 w 232"/>
              <a:gd name="T119" fmla="*/ 1 h 248"/>
              <a:gd name="T120" fmla="*/ 227 w 232"/>
              <a:gd name="T121" fmla="*/ 1 h 248"/>
              <a:gd name="T122" fmla="*/ 227 w 232"/>
              <a:gd name="T123" fmla="*/ 1 h 248"/>
              <a:gd name="T124" fmla="*/ 227 w 232"/>
              <a:gd name="T12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248">
                <a:moveTo>
                  <a:pt x="2" y="246"/>
                </a:moveTo>
                <a:cubicBezTo>
                  <a:pt x="2" y="246"/>
                  <a:pt x="2" y="246"/>
                  <a:pt x="2" y="246"/>
                </a:cubicBezTo>
                <a:cubicBezTo>
                  <a:pt x="2" y="246"/>
                  <a:pt x="2" y="246"/>
                  <a:pt x="2" y="246"/>
                </a:cubicBezTo>
                <a:moveTo>
                  <a:pt x="1" y="246"/>
                </a:moveTo>
                <a:cubicBezTo>
                  <a:pt x="1" y="246"/>
                  <a:pt x="1" y="246"/>
                  <a:pt x="2"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0" y="246"/>
                </a:moveTo>
                <a:cubicBezTo>
                  <a:pt x="0" y="246"/>
                  <a:pt x="0" y="246"/>
                  <a:pt x="0" y="246"/>
                </a:cubicBezTo>
                <a:cubicBezTo>
                  <a:pt x="0" y="246"/>
                  <a:pt x="0" y="246"/>
                  <a:pt x="0" y="246"/>
                </a:cubicBezTo>
                <a:moveTo>
                  <a:pt x="0" y="246"/>
                </a:moveTo>
                <a:cubicBezTo>
                  <a:pt x="0" y="246"/>
                  <a:pt x="0" y="246"/>
                  <a:pt x="0" y="246"/>
                </a:cubicBezTo>
                <a:cubicBezTo>
                  <a:pt x="0" y="246"/>
                  <a:pt x="0" y="246"/>
                  <a:pt x="0" y="246"/>
                </a:cubicBezTo>
                <a:moveTo>
                  <a:pt x="232" y="47"/>
                </a:moveTo>
                <a:cubicBezTo>
                  <a:pt x="232" y="146"/>
                  <a:pt x="159" y="232"/>
                  <a:pt x="58" y="246"/>
                </a:cubicBezTo>
                <a:cubicBezTo>
                  <a:pt x="49" y="247"/>
                  <a:pt x="40" y="248"/>
                  <a:pt x="31" y="248"/>
                </a:cubicBezTo>
                <a:cubicBezTo>
                  <a:pt x="21" y="248"/>
                  <a:pt x="11" y="247"/>
                  <a:pt x="2" y="246"/>
                </a:cubicBezTo>
                <a:cubicBezTo>
                  <a:pt x="11" y="247"/>
                  <a:pt x="21" y="248"/>
                  <a:pt x="31" y="248"/>
                </a:cubicBezTo>
                <a:cubicBezTo>
                  <a:pt x="40" y="248"/>
                  <a:pt x="49" y="247"/>
                  <a:pt x="58" y="246"/>
                </a:cubicBezTo>
                <a:cubicBezTo>
                  <a:pt x="159" y="232"/>
                  <a:pt x="232" y="146"/>
                  <a:pt x="232" y="47"/>
                </a:cubicBezTo>
                <a:moveTo>
                  <a:pt x="231" y="19"/>
                </a:moveTo>
                <a:cubicBezTo>
                  <a:pt x="231" y="20"/>
                  <a:pt x="231" y="20"/>
                  <a:pt x="231" y="20"/>
                </a:cubicBezTo>
                <a:cubicBezTo>
                  <a:pt x="231" y="20"/>
                  <a:pt x="231" y="20"/>
                  <a:pt x="231" y="19"/>
                </a:cubicBezTo>
                <a:moveTo>
                  <a:pt x="230" y="19"/>
                </a:moveTo>
                <a:cubicBezTo>
                  <a:pt x="230" y="19"/>
                  <a:pt x="231" y="19"/>
                  <a:pt x="231" y="19"/>
                </a:cubicBezTo>
                <a:cubicBezTo>
                  <a:pt x="231" y="19"/>
                  <a:pt x="230" y="19"/>
                  <a:pt x="230" y="19"/>
                </a:cubicBezTo>
                <a:moveTo>
                  <a:pt x="230" y="19"/>
                </a:moveTo>
                <a:cubicBezTo>
                  <a:pt x="230" y="19"/>
                  <a:pt x="230" y="19"/>
                  <a:pt x="230" y="19"/>
                </a:cubicBezTo>
                <a:cubicBezTo>
                  <a:pt x="230" y="19"/>
                  <a:pt x="230" y="19"/>
                  <a:pt x="230" y="19"/>
                </a:cubicBezTo>
                <a:moveTo>
                  <a:pt x="230" y="19"/>
                </a:moveTo>
                <a:cubicBezTo>
                  <a:pt x="230" y="19"/>
                  <a:pt x="230" y="19"/>
                  <a:pt x="230" y="19"/>
                </a:cubicBezTo>
                <a:cubicBezTo>
                  <a:pt x="230" y="19"/>
                  <a:pt x="230" y="19"/>
                  <a:pt x="230" y="19"/>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6"/>
                </a:moveTo>
                <a:cubicBezTo>
                  <a:pt x="230" y="16"/>
                  <a:pt x="230" y="16"/>
                  <a:pt x="230" y="17"/>
                </a:cubicBezTo>
                <a:cubicBezTo>
                  <a:pt x="230" y="16"/>
                  <a:pt x="230" y="16"/>
                  <a:pt x="230" y="16"/>
                </a:cubicBezTo>
                <a:moveTo>
                  <a:pt x="230" y="16"/>
                </a:moveTo>
                <a:cubicBezTo>
                  <a:pt x="230" y="16"/>
                  <a:pt x="230" y="16"/>
                  <a:pt x="230" y="16"/>
                </a:cubicBezTo>
                <a:cubicBezTo>
                  <a:pt x="230" y="16"/>
                  <a:pt x="230" y="16"/>
                  <a:pt x="230" y="16"/>
                </a:cubicBezTo>
                <a:moveTo>
                  <a:pt x="230" y="15"/>
                </a:moveTo>
                <a:cubicBezTo>
                  <a:pt x="230" y="15"/>
                  <a:pt x="230" y="15"/>
                  <a:pt x="230" y="16"/>
                </a:cubicBezTo>
                <a:cubicBezTo>
                  <a:pt x="230" y="15"/>
                  <a:pt x="230" y="15"/>
                  <a:pt x="230" y="15"/>
                </a:cubicBezTo>
                <a:moveTo>
                  <a:pt x="230" y="15"/>
                </a:moveTo>
                <a:cubicBezTo>
                  <a:pt x="230" y="15"/>
                  <a:pt x="230" y="15"/>
                  <a:pt x="230" y="15"/>
                </a:cubicBezTo>
                <a:cubicBezTo>
                  <a:pt x="230" y="15"/>
                  <a:pt x="230" y="15"/>
                  <a:pt x="230" y="15"/>
                </a:cubicBezTo>
                <a:moveTo>
                  <a:pt x="230" y="15"/>
                </a:moveTo>
                <a:cubicBezTo>
                  <a:pt x="230" y="15"/>
                  <a:pt x="230" y="15"/>
                  <a:pt x="230" y="15"/>
                </a:cubicBezTo>
                <a:cubicBezTo>
                  <a:pt x="230" y="15"/>
                  <a:pt x="230" y="15"/>
                  <a:pt x="230" y="15"/>
                </a:cubicBezTo>
                <a:moveTo>
                  <a:pt x="230" y="14"/>
                </a:moveTo>
                <a:cubicBezTo>
                  <a:pt x="230" y="14"/>
                  <a:pt x="230" y="15"/>
                  <a:pt x="230" y="15"/>
                </a:cubicBezTo>
                <a:cubicBezTo>
                  <a:pt x="230" y="15"/>
                  <a:pt x="230" y="14"/>
                  <a:pt x="230" y="14"/>
                </a:cubicBezTo>
                <a:moveTo>
                  <a:pt x="230" y="14"/>
                </a:moveTo>
                <a:cubicBezTo>
                  <a:pt x="230" y="14"/>
                  <a:pt x="230" y="14"/>
                  <a:pt x="230" y="14"/>
                </a:cubicBezTo>
                <a:cubicBezTo>
                  <a:pt x="230" y="14"/>
                  <a:pt x="230" y="14"/>
                  <a:pt x="230" y="14"/>
                </a:cubicBezTo>
                <a:moveTo>
                  <a:pt x="230" y="14"/>
                </a:moveTo>
                <a:cubicBezTo>
                  <a:pt x="230" y="14"/>
                  <a:pt x="230" y="14"/>
                  <a:pt x="230" y="14"/>
                </a:cubicBezTo>
                <a:cubicBezTo>
                  <a:pt x="230" y="14"/>
                  <a:pt x="230" y="14"/>
                  <a:pt x="230" y="14"/>
                </a:cubicBezTo>
                <a:moveTo>
                  <a:pt x="230" y="13"/>
                </a:moveTo>
                <a:cubicBezTo>
                  <a:pt x="230" y="14"/>
                  <a:pt x="230" y="14"/>
                  <a:pt x="230" y="14"/>
                </a:cubicBezTo>
                <a:cubicBezTo>
                  <a:pt x="230" y="14"/>
                  <a:pt x="230" y="14"/>
                  <a:pt x="230" y="13"/>
                </a:cubicBezTo>
                <a:moveTo>
                  <a:pt x="230" y="13"/>
                </a:moveTo>
                <a:cubicBezTo>
                  <a:pt x="230" y="13"/>
                  <a:pt x="230" y="13"/>
                  <a:pt x="230" y="13"/>
                </a:cubicBezTo>
                <a:cubicBezTo>
                  <a:pt x="230" y="13"/>
                  <a:pt x="230" y="13"/>
                  <a:pt x="230" y="13"/>
                </a:cubicBezTo>
                <a:moveTo>
                  <a:pt x="229" y="13"/>
                </a:moveTo>
                <a:cubicBezTo>
                  <a:pt x="230" y="13"/>
                  <a:pt x="230" y="13"/>
                  <a:pt x="230" y="13"/>
                </a:cubicBezTo>
                <a:cubicBezTo>
                  <a:pt x="230" y="13"/>
                  <a:pt x="230" y="13"/>
                  <a:pt x="229" y="13"/>
                </a:cubicBezTo>
                <a:moveTo>
                  <a:pt x="229" y="12"/>
                </a:moveTo>
                <a:cubicBezTo>
                  <a:pt x="229" y="13"/>
                  <a:pt x="229" y="13"/>
                  <a:pt x="229" y="13"/>
                </a:cubicBezTo>
                <a:cubicBezTo>
                  <a:pt x="229" y="13"/>
                  <a:pt x="229" y="13"/>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9"/>
                </a:moveTo>
                <a:cubicBezTo>
                  <a:pt x="229" y="9"/>
                  <a:pt x="229" y="10"/>
                  <a:pt x="229" y="10"/>
                </a:cubicBezTo>
                <a:cubicBezTo>
                  <a:pt x="229" y="10"/>
                  <a:pt x="229" y="9"/>
                  <a:pt x="229" y="9"/>
                </a:cubicBezTo>
                <a:moveTo>
                  <a:pt x="229" y="9"/>
                </a:moveTo>
                <a:cubicBezTo>
                  <a:pt x="229" y="9"/>
                  <a:pt x="229" y="9"/>
                  <a:pt x="229" y="9"/>
                </a:cubicBezTo>
                <a:cubicBezTo>
                  <a:pt x="229" y="9"/>
                  <a:pt x="229" y="9"/>
                  <a:pt x="229" y="9"/>
                </a:cubicBezTo>
                <a:moveTo>
                  <a:pt x="229" y="9"/>
                </a:moveTo>
                <a:cubicBezTo>
                  <a:pt x="229" y="9"/>
                  <a:pt x="229" y="9"/>
                  <a:pt x="229" y="9"/>
                </a:cubicBezTo>
                <a:cubicBezTo>
                  <a:pt x="229" y="9"/>
                  <a:pt x="229" y="9"/>
                  <a:pt x="229" y="9"/>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7"/>
                </a:moveTo>
                <a:cubicBezTo>
                  <a:pt x="229" y="7"/>
                  <a:pt x="229" y="8"/>
                  <a:pt x="229" y="8"/>
                </a:cubicBezTo>
                <a:cubicBezTo>
                  <a:pt x="229" y="8"/>
                  <a:pt x="229" y="7"/>
                  <a:pt x="229"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6"/>
                </a:moveTo>
                <a:cubicBezTo>
                  <a:pt x="228" y="6"/>
                  <a:pt x="228" y="6"/>
                  <a:pt x="228" y="6"/>
                </a:cubicBezTo>
                <a:cubicBezTo>
                  <a:pt x="228" y="6"/>
                  <a:pt x="228" y="6"/>
                  <a:pt x="228" y="6"/>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3"/>
                </a:moveTo>
                <a:cubicBezTo>
                  <a:pt x="228" y="3"/>
                  <a:pt x="228" y="3"/>
                  <a:pt x="228" y="4"/>
                </a:cubicBezTo>
                <a:cubicBezTo>
                  <a:pt x="228" y="3"/>
                  <a:pt x="228" y="3"/>
                  <a:pt x="228" y="3"/>
                </a:cubicBezTo>
                <a:moveTo>
                  <a:pt x="228" y="3"/>
                </a:moveTo>
                <a:cubicBezTo>
                  <a:pt x="228" y="3"/>
                  <a:pt x="228" y="3"/>
                  <a:pt x="228" y="3"/>
                </a:cubicBezTo>
                <a:cubicBezTo>
                  <a:pt x="228" y="3"/>
                  <a:pt x="228" y="3"/>
                  <a:pt x="228" y="3"/>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0"/>
                </a:moveTo>
                <a:cubicBezTo>
                  <a:pt x="227" y="0"/>
                  <a:pt x="227" y="0"/>
                  <a:pt x="227" y="0"/>
                </a:cubicBezTo>
                <a:cubicBezTo>
                  <a:pt x="227" y="0"/>
                  <a:pt x="227" y="0"/>
                  <a:pt x="227" y="0"/>
                </a:cubicBezTo>
              </a:path>
            </a:pathLst>
          </a:custGeom>
          <a:solidFill>
            <a:srgbClr val="D5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08" name="Rounded Rectangle 11">
            <a:extLst>
              <a:ext uri="{FF2B5EF4-FFF2-40B4-BE49-F238E27FC236}">
                <a16:creationId xmlns:a16="http://schemas.microsoft.com/office/drawing/2014/main" id="{9D0CA9D2-4F39-4CE8-8814-7F69D1087818}"/>
              </a:ext>
            </a:extLst>
          </p:cNvPr>
          <p:cNvSpPr/>
          <p:nvPr/>
        </p:nvSpPr>
        <p:spPr>
          <a:xfrm>
            <a:off x="3981547" y="1088755"/>
            <a:ext cx="7187041" cy="779023"/>
          </a:xfrm>
          <a:prstGeom prst="round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endParaRPr lang="en-IN" sz="1600" dirty="0">
              <a:solidFill>
                <a:schemeClr val="tx1"/>
              </a:solidFill>
            </a:endParaRPr>
          </a:p>
          <a:p>
            <a:endParaRPr lang="en-IN" sz="1600" dirty="0">
              <a:solidFill>
                <a:schemeClr val="tx1"/>
              </a:solidFill>
            </a:endParaRPr>
          </a:p>
          <a:p>
            <a:endParaRPr lang="en-IN" sz="1600" dirty="0">
              <a:solidFill>
                <a:schemeClr val="tx1"/>
              </a:solidFill>
            </a:endParaRPr>
          </a:p>
          <a:p>
            <a:endParaRPr lang="en-IN" sz="1600" dirty="0">
              <a:solidFill>
                <a:schemeClr val="tx1"/>
              </a:solidFill>
            </a:endParaRPr>
          </a:p>
          <a:p>
            <a:endParaRPr lang="en-IN" sz="1600" dirty="0">
              <a:solidFill>
                <a:schemeClr val="tx1"/>
              </a:solidFill>
            </a:endParaRPr>
          </a:p>
          <a:p>
            <a:endParaRPr lang="en-IN" sz="1600" dirty="0">
              <a:solidFill>
                <a:schemeClr val="tx1"/>
              </a:solidFill>
            </a:endParaRPr>
          </a:p>
          <a:p>
            <a:endParaRPr lang="en-IN" sz="1600" dirty="0">
              <a:solidFill>
                <a:schemeClr val="tx1"/>
              </a:solidFill>
            </a:endParaRPr>
          </a:p>
          <a:p>
            <a:endParaRPr lang="en-IN" sz="1600" dirty="0">
              <a:solidFill>
                <a:schemeClr val="tx1"/>
              </a:solidFill>
            </a:endParaRPr>
          </a:p>
          <a:p>
            <a:endParaRPr lang="en-IN" sz="1600" dirty="0">
              <a:solidFill>
                <a:schemeClr val="tx1"/>
              </a:solidFill>
            </a:endParaRPr>
          </a:p>
          <a:p>
            <a:r>
              <a:rPr lang="en-IN" sz="1600" dirty="0">
                <a:solidFill>
                  <a:schemeClr val="tx1"/>
                </a:solidFill>
              </a:rPr>
              <a:t>Developer Analytics, Ops and Business metrics, App performance</a:t>
            </a:r>
          </a:p>
          <a:p>
            <a:endParaRPr lang="en-IN" sz="1600" dirty="0">
              <a:solidFill>
                <a:schemeClr val="tx1"/>
              </a:solidFill>
            </a:endParaRPr>
          </a:p>
          <a:p>
            <a:endParaRPr lang="nl-NL" sz="1600" dirty="0">
              <a:solidFill>
                <a:schemeClr val="tx1"/>
              </a:solidFill>
            </a:endParaRPr>
          </a:p>
          <a:p>
            <a:endParaRPr lang="nl-NL" sz="1600" dirty="0">
              <a:solidFill>
                <a:schemeClr val="tx1"/>
              </a:solidFill>
            </a:endParaRPr>
          </a:p>
          <a:p>
            <a:r>
              <a:rPr lang="nl-NL" sz="1600" dirty="0">
                <a:solidFill>
                  <a:schemeClr val="tx1"/>
                </a:solidFill>
              </a:rPr>
              <a:t>High Availability,Fault tolrence,Disaster Recovery Planning</a:t>
            </a:r>
          </a:p>
          <a:p>
            <a:endParaRPr lang="nl-NL" sz="1600" dirty="0">
              <a:solidFill>
                <a:schemeClr val="tx1"/>
              </a:solidFill>
            </a:endParaRPr>
          </a:p>
          <a:p>
            <a:endParaRPr lang="en-US" sz="1600" dirty="0">
              <a:solidFill>
                <a:schemeClr val="tx1"/>
              </a:solidFill>
            </a:endParaRPr>
          </a:p>
          <a:p>
            <a:endParaRPr lang="en-US" sz="1600" dirty="0">
              <a:solidFill>
                <a:schemeClr val="tx1"/>
              </a:solidFill>
            </a:endParaRPr>
          </a:p>
          <a:p>
            <a:r>
              <a:rPr lang="en-US" sz="1600" dirty="0">
                <a:solidFill>
                  <a:schemeClr val="tx1"/>
                </a:solidFill>
              </a:rPr>
              <a:t>Hybrid and On Premise infra, Health checks, Server life cycle Management</a:t>
            </a:r>
            <a:endParaRPr lang="en-IN" sz="1600" dirty="0">
              <a:solidFill>
                <a:schemeClr val="tx1"/>
              </a:solidFill>
            </a:endParaRPr>
          </a:p>
          <a:p>
            <a:endParaRPr lang="en-IN" sz="1600" dirty="0">
              <a:solidFill>
                <a:schemeClr val="tx1"/>
              </a:solidFill>
            </a:endParaRPr>
          </a:p>
        </p:txBody>
      </p:sp>
      <p:sp>
        <p:nvSpPr>
          <p:cNvPr id="209" name="Freeform 20">
            <a:extLst>
              <a:ext uri="{FF2B5EF4-FFF2-40B4-BE49-F238E27FC236}">
                <a16:creationId xmlns:a16="http://schemas.microsoft.com/office/drawing/2014/main" id="{A0F9D749-27A4-4C7A-8D4D-54F5BB1ADBC5}"/>
              </a:ext>
            </a:extLst>
          </p:cNvPr>
          <p:cNvSpPr>
            <a:spLocks noEditPoints="1"/>
          </p:cNvSpPr>
          <p:nvPr/>
        </p:nvSpPr>
        <p:spPr bwMode="auto">
          <a:xfrm rot="19589649">
            <a:off x="3375973" y="1172061"/>
            <a:ext cx="805083" cy="836109"/>
          </a:xfrm>
          <a:custGeom>
            <a:avLst/>
            <a:gdLst>
              <a:gd name="T0" fmla="*/ 158 w 361"/>
              <a:gd name="T1" fmla="*/ 13 h 361"/>
              <a:gd name="T2" fmla="*/ 12 w 361"/>
              <a:gd name="T3" fmla="*/ 203 h 361"/>
              <a:gd name="T4" fmla="*/ 203 w 361"/>
              <a:gd name="T5" fmla="*/ 349 h 361"/>
              <a:gd name="T6" fmla="*/ 348 w 361"/>
              <a:gd name="T7" fmla="*/ 158 h 361"/>
              <a:gd name="T8" fmla="*/ 158 w 361"/>
              <a:gd name="T9" fmla="*/ 13 h 361"/>
              <a:gd name="T10" fmla="*/ 199 w 361"/>
              <a:gd name="T11" fmla="*/ 317 h 361"/>
              <a:gd name="T12" fmla="*/ 44 w 361"/>
              <a:gd name="T13" fmla="*/ 199 h 361"/>
              <a:gd name="T14" fmla="*/ 162 w 361"/>
              <a:gd name="T15" fmla="*/ 45 h 361"/>
              <a:gd name="T16" fmla="*/ 316 w 361"/>
              <a:gd name="T17" fmla="*/ 162 h 361"/>
              <a:gd name="T18" fmla="*/ 199 w 361"/>
              <a:gd name="T19" fmla="*/ 317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361">
                <a:moveTo>
                  <a:pt x="158" y="13"/>
                </a:moveTo>
                <a:cubicBezTo>
                  <a:pt x="65" y="25"/>
                  <a:pt x="0" y="111"/>
                  <a:pt x="12" y="203"/>
                </a:cubicBezTo>
                <a:cubicBezTo>
                  <a:pt x="25" y="296"/>
                  <a:pt x="110" y="361"/>
                  <a:pt x="203" y="349"/>
                </a:cubicBezTo>
                <a:cubicBezTo>
                  <a:pt x="296" y="336"/>
                  <a:pt x="361" y="251"/>
                  <a:pt x="348" y="158"/>
                </a:cubicBezTo>
                <a:cubicBezTo>
                  <a:pt x="336" y="65"/>
                  <a:pt x="250" y="0"/>
                  <a:pt x="158" y="13"/>
                </a:cubicBezTo>
                <a:close/>
                <a:moveTo>
                  <a:pt x="199" y="317"/>
                </a:moveTo>
                <a:cubicBezTo>
                  <a:pt x="123" y="327"/>
                  <a:pt x="54" y="274"/>
                  <a:pt x="44" y="199"/>
                </a:cubicBezTo>
                <a:cubicBezTo>
                  <a:pt x="34" y="124"/>
                  <a:pt x="87" y="55"/>
                  <a:pt x="162" y="45"/>
                </a:cubicBezTo>
                <a:cubicBezTo>
                  <a:pt x="237" y="35"/>
                  <a:pt x="306" y="87"/>
                  <a:pt x="316" y="162"/>
                </a:cubicBezTo>
                <a:cubicBezTo>
                  <a:pt x="326" y="237"/>
                  <a:pt x="274" y="307"/>
                  <a:pt x="199" y="317"/>
                </a:cubicBezTo>
                <a:close/>
              </a:path>
            </a:pathLst>
          </a:custGeom>
          <a:solidFill>
            <a:srgbClr val="998C85">
              <a:lumMod val="20000"/>
              <a:lumOff val="80000"/>
            </a:srgbClr>
          </a:solidFill>
          <a:ln w="6350">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10" name="Freeform 21">
            <a:extLst>
              <a:ext uri="{FF2B5EF4-FFF2-40B4-BE49-F238E27FC236}">
                <a16:creationId xmlns:a16="http://schemas.microsoft.com/office/drawing/2014/main" id="{115239C4-7732-436B-9C22-32C5517BE4F7}"/>
              </a:ext>
            </a:extLst>
          </p:cNvPr>
          <p:cNvSpPr>
            <a:spLocks/>
          </p:cNvSpPr>
          <p:nvPr/>
        </p:nvSpPr>
        <p:spPr bwMode="auto">
          <a:xfrm rot="19589649">
            <a:off x="3453018" y="1222367"/>
            <a:ext cx="650458" cy="677463"/>
          </a:xfrm>
          <a:custGeom>
            <a:avLst/>
            <a:gdLst>
              <a:gd name="T0" fmla="*/ 10 w 292"/>
              <a:gd name="T1" fmla="*/ 164 h 292"/>
              <a:gd name="T2" fmla="*/ 128 w 292"/>
              <a:gd name="T3" fmla="*/ 10 h 292"/>
              <a:gd name="T4" fmla="*/ 282 w 292"/>
              <a:gd name="T5" fmla="*/ 127 h 292"/>
              <a:gd name="T6" fmla="*/ 165 w 292"/>
              <a:gd name="T7" fmla="*/ 282 h 292"/>
              <a:gd name="T8" fmla="*/ 10 w 292"/>
              <a:gd name="T9" fmla="*/ 164 h 292"/>
            </a:gdLst>
            <a:ahLst/>
            <a:cxnLst>
              <a:cxn ang="0">
                <a:pos x="T0" y="T1"/>
              </a:cxn>
              <a:cxn ang="0">
                <a:pos x="T2" y="T3"/>
              </a:cxn>
              <a:cxn ang="0">
                <a:pos x="T4" y="T5"/>
              </a:cxn>
              <a:cxn ang="0">
                <a:pos x="T6" y="T7"/>
              </a:cxn>
              <a:cxn ang="0">
                <a:pos x="T8" y="T9"/>
              </a:cxn>
            </a:cxnLst>
            <a:rect l="0" t="0" r="r" b="b"/>
            <a:pathLst>
              <a:path w="292" h="292">
                <a:moveTo>
                  <a:pt x="10" y="164"/>
                </a:moveTo>
                <a:cubicBezTo>
                  <a:pt x="0" y="89"/>
                  <a:pt x="53" y="20"/>
                  <a:pt x="128" y="10"/>
                </a:cubicBezTo>
                <a:cubicBezTo>
                  <a:pt x="203" y="0"/>
                  <a:pt x="272" y="52"/>
                  <a:pt x="282" y="127"/>
                </a:cubicBezTo>
                <a:cubicBezTo>
                  <a:pt x="292" y="202"/>
                  <a:pt x="240" y="272"/>
                  <a:pt x="165" y="282"/>
                </a:cubicBezTo>
                <a:cubicBezTo>
                  <a:pt x="89" y="292"/>
                  <a:pt x="20" y="239"/>
                  <a:pt x="10" y="16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957756"/>
            <a:endParaRPr lang="fr-FR" sz="1400" kern="0" dirty="0">
              <a:solidFill>
                <a:srgbClr val="263147"/>
              </a:solidFill>
              <a:latin typeface="Verdana"/>
            </a:endParaRPr>
          </a:p>
        </p:txBody>
      </p:sp>
      <p:sp>
        <p:nvSpPr>
          <p:cNvPr id="211" name="Freeform 22">
            <a:extLst>
              <a:ext uri="{FF2B5EF4-FFF2-40B4-BE49-F238E27FC236}">
                <a16:creationId xmlns:a16="http://schemas.microsoft.com/office/drawing/2014/main" id="{20E9D07F-20F0-48C7-9C9A-21F99D1E97D3}"/>
              </a:ext>
            </a:extLst>
          </p:cNvPr>
          <p:cNvSpPr>
            <a:spLocks/>
          </p:cNvSpPr>
          <p:nvPr/>
        </p:nvSpPr>
        <p:spPr bwMode="auto">
          <a:xfrm rot="19589649">
            <a:off x="3446299" y="1269722"/>
            <a:ext cx="531911" cy="598141"/>
          </a:xfrm>
          <a:custGeom>
            <a:avLst/>
            <a:gdLst>
              <a:gd name="T0" fmla="*/ 30 w 239"/>
              <a:gd name="T1" fmla="*/ 175 h 258"/>
              <a:gd name="T2" fmla="*/ 148 w 239"/>
              <a:gd name="T3" fmla="*/ 21 h 258"/>
              <a:gd name="T4" fmla="*/ 239 w 239"/>
              <a:gd name="T5" fmla="*/ 41 h 258"/>
              <a:gd name="T6" fmla="*/ 128 w 239"/>
              <a:gd name="T7" fmla="*/ 6 h 258"/>
              <a:gd name="T8" fmla="*/ 10 w 239"/>
              <a:gd name="T9" fmla="*/ 160 h 258"/>
              <a:gd name="T10" fmla="*/ 73 w 239"/>
              <a:gd name="T11" fmla="*/ 258 h 258"/>
              <a:gd name="T12" fmla="*/ 30 w 239"/>
              <a:gd name="T13" fmla="*/ 175 h 258"/>
            </a:gdLst>
            <a:ahLst/>
            <a:cxnLst>
              <a:cxn ang="0">
                <a:pos x="T0" y="T1"/>
              </a:cxn>
              <a:cxn ang="0">
                <a:pos x="T2" y="T3"/>
              </a:cxn>
              <a:cxn ang="0">
                <a:pos x="T4" y="T5"/>
              </a:cxn>
              <a:cxn ang="0">
                <a:pos x="T6" y="T7"/>
              </a:cxn>
              <a:cxn ang="0">
                <a:pos x="T8" y="T9"/>
              </a:cxn>
              <a:cxn ang="0">
                <a:pos x="T10" y="T11"/>
              </a:cxn>
              <a:cxn ang="0">
                <a:pos x="T12" y="T13"/>
              </a:cxn>
            </a:cxnLst>
            <a:rect l="0" t="0" r="r" b="b"/>
            <a:pathLst>
              <a:path w="239" h="258">
                <a:moveTo>
                  <a:pt x="30" y="175"/>
                </a:moveTo>
                <a:cubicBezTo>
                  <a:pt x="20" y="100"/>
                  <a:pt x="72" y="31"/>
                  <a:pt x="148" y="21"/>
                </a:cubicBezTo>
                <a:cubicBezTo>
                  <a:pt x="181" y="16"/>
                  <a:pt x="213" y="24"/>
                  <a:pt x="239" y="41"/>
                </a:cubicBezTo>
                <a:cubicBezTo>
                  <a:pt x="210" y="14"/>
                  <a:pt x="170" y="0"/>
                  <a:pt x="128" y="6"/>
                </a:cubicBezTo>
                <a:cubicBezTo>
                  <a:pt x="53" y="16"/>
                  <a:pt x="0" y="85"/>
                  <a:pt x="10" y="160"/>
                </a:cubicBezTo>
                <a:cubicBezTo>
                  <a:pt x="16" y="202"/>
                  <a:pt x="40" y="237"/>
                  <a:pt x="73" y="258"/>
                </a:cubicBezTo>
                <a:cubicBezTo>
                  <a:pt x="50" y="237"/>
                  <a:pt x="34" y="208"/>
                  <a:pt x="30" y="175"/>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957756"/>
            <a:endParaRPr lang="fr-FR" sz="1400" kern="0" dirty="0">
              <a:solidFill>
                <a:srgbClr val="263147"/>
              </a:solidFill>
              <a:latin typeface="Verdana"/>
            </a:endParaRPr>
          </a:p>
        </p:txBody>
      </p:sp>
      <p:sp>
        <p:nvSpPr>
          <p:cNvPr id="212" name="Freeform 24">
            <a:extLst>
              <a:ext uri="{FF2B5EF4-FFF2-40B4-BE49-F238E27FC236}">
                <a16:creationId xmlns:a16="http://schemas.microsoft.com/office/drawing/2014/main" id="{BEE205D0-F6B2-4E5F-A7A2-AF009D2AEC65}"/>
              </a:ext>
            </a:extLst>
          </p:cNvPr>
          <p:cNvSpPr>
            <a:spLocks/>
          </p:cNvSpPr>
          <p:nvPr/>
        </p:nvSpPr>
        <p:spPr bwMode="auto">
          <a:xfrm rot="19589649">
            <a:off x="3519910" y="1112357"/>
            <a:ext cx="789619" cy="867196"/>
          </a:xfrm>
          <a:custGeom>
            <a:avLst/>
            <a:gdLst>
              <a:gd name="T0" fmla="*/ 318 w 354"/>
              <a:gd name="T1" fmla="*/ 113 h 374"/>
              <a:gd name="T2" fmla="*/ 318 w 354"/>
              <a:gd name="T3" fmla="*/ 114 h 374"/>
              <a:gd name="T4" fmla="*/ 318 w 354"/>
              <a:gd name="T5" fmla="*/ 114 h 374"/>
              <a:gd name="T6" fmla="*/ 319 w 354"/>
              <a:gd name="T7" fmla="*/ 116 h 374"/>
              <a:gd name="T8" fmla="*/ 319 w 354"/>
              <a:gd name="T9" fmla="*/ 117 h 374"/>
              <a:gd name="T10" fmla="*/ 319 w 354"/>
              <a:gd name="T11" fmla="*/ 117 h 374"/>
              <a:gd name="T12" fmla="*/ 319 w 354"/>
              <a:gd name="T13" fmla="*/ 118 h 374"/>
              <a:gd name="T14" fmla="*/ 319 w 354"/>
              <a:gd name="T15" fmla="*/ 118 h 374"/>
              <a:gd name="T16" fmla="*/ 319 w 354"/>
              <a:gd name="T17" fmla="*/ 119 h 374"/>
              <a:gd name="T18" fmla="*/ 319 w 354"/>
              <a:gd name="T19" fmla="*/ 120 h 374"/>
              <a:gd name="T20" fmla="*/ 319 w 354"/>
              <a:gd name="T21" fmla="*/ 120 h 374"/>
              <a:gd name="T22" fmla="*/ 320 w 354"/>
              <a:gd name="T23" fmla="*/ 121 h 374"/>
              <a:gd name="T24" fmla="*/ 320 w 354"/>
              <a:gd name="T25" fmla="*/ 121 h 374"/>
              <a:gd name="T26" fmla="*/ 320 w 354"/>
              <a:gd name="T27" fmla="*/ 122 h 374"/>
              <a:gd name="T28" fmla="*/ 320 w 354"/>
              <a:gd name="T29" fmla="*/ 122 h 374"/>
              <a:gd name="T30" fmla="*/ 320 w 354"/>
              <a:gd name="T31" fmla="*/ 123 h 374"/>
              <a:gd name="T32" fmla="*/ 320 w 354"/>
              <a:gd name="T33" fmla="*/ 123 h 374"/>
              <a:gd name="T34" fmla="*/ 320 w 354"/>
              <a:gd name="T35" fmla="*/ 124 h 374"/>
              <a:gd name="T36" fmla="*/ 320 w 354"/>
              <a:gd name="T37" fmla="*/ 124 h 374"/>
              <a:gd name="T38" fmla="*/ 320 w 354"/>
              <a:gd name="T39" fmla="*/ 125 h 374"/>
              <a:gd name="T40" fmla="*/ 320 w 354"/>
              <a:gd name="T41" fmla="*/ 125 h 374"/>
              <a:gd name="T42" fmla="*/ 320 w 354"/>
              <a:gd name="T43" fmla="*/ 125 h 374"/>
              <a:gd name="T44" fmla="*/ 321 w 354"/>
              <a:gd name="T45" fmla="*/ 126 h 374"/>
              <a:gd name="T46" fmla="*/ 321 w 354"/>
              <a:gd name="T47" fmla="*/ 126 h 374"/>
              <a:gd name="T48" fmla="*/ 321 w 354"/>
              <a:gd name="T49" fmla="*/ 127 h 374"/>
              <a:gd name="T50" fmla="*/ 321 w 354"/>
              <a:gd name="T51" fmla="*/ 127 h 374"/>
              <a:gd name="T52" fmla="*/ 321 w 354"/>
              <a:gd name="T53" fmla="*/ 128 h 374"/>
              <a:gd name="T54" fmla="*/ 321 w 354"/>
              <a:gd name="T55" fmla="*/ 128 h 374"/>
              <a:gd name="T56" fmla="*/ 321 w 354"/>
              <a:gd name="T57" fmla="*/ 129 h 374"/>
              <a:gd name="T58" fmla="*/ 321 w 354"/>
              <a:gd name="T59" fmla="*/ 130 h 374"/>
              <a:gd name="T60" fmla="*/ 321 w 354"/>
              <a:gd name="T61" fmla="*/ 130 h 374"/>
              <a:gd name="T62" fmla="*/ 321 w 354"/>
              <a:gd name="T63" fmla="*/ 131 h 374"/>
              <a:gd name="T64" fmla="*/ 321 w 354"/>
              <a:gd name="T65" fmla="*/ 131 h 374"/>
              <a:gd name="T66" fmla="*/ 321 w 354"/>
              <a:gd name="T67" fmla="*/ 132 h 374"/>
              <a:gd name="T68" fmla="*/ 321 w 354"/>
              <a:gd name="T69" fmla="*/ 132 h 374"/>
              <a:gd name="T70" fmla="*/ 322 w 354"/>
              <a:gd name="T71" fmla="*/ 132 h 374"/>
              <a:gd name="T72" fmla="*/ 323 w 354"/>
              <a:gd name="T73" fmla="*/ 160 h 374"/>
              <a:gd name="T74" fmla="*/ 93 w 354"/>
              <a:gd name="T75" fmla="*/ 359 h 374"/>
              <a:gd name="T76" fmla="*/ 93 w 354"/>
              <a:gd name="T77" fmla="*/ 359 h 374"/>
              <a:gd name="T78" fmla="*/ 92 w 354"/>
              <a:gd name="T79" fmla="*/ 359 h 374"/>
              <a:gd name="T80" fmla="*/ 92 w 354"/>
              <a:gd name="T81" fmla="*/ 359 h 374"/>
              <a:gd name="T82" fmla="*/ 91 w 354"/>
              <a:gd name="T83" fmla="*/ 359 h 374"/>
              <a:gd name="T84" fmla="*/ 0 w 354"/>
              <a:gd name="T85" fmla="*/ 320 h 374"/>
              <a:gd name="T86" fmla="*/ 339 w 354"/>
              <a:gd name="T87" fmla="*/ 14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4" h="374">
                <a:moveTo>
                  <a:pt x="244" y="0"/>
                </a:moveTo>
                <a:cubicBezTo>
                  <a:pt x="280" y="27"/>
                  <a:pt x="307" y="67"/>
                  <a:pt x="318" y="113"/>
                </a:cubicBezTo>
                <a:cubicBezTo>
                  <a:pt x="318" y="113"/>
                  <a:pt x="318" y="113"/>
                  <a:pt x="318" y="113"/>
                </a:cubicBezTo>
                <a:cubicBezTo>
                  <a:pt x="318" y="113"/>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5"/>
                  <a:pt x="318" y="116"/>
                  <a:pt x="319" y="116"/>
                </a:cubicBezTo>
                <a:cubicBezTo>
                  <a:pt x="319" y="116"/>
                  <a:pt x="319" y="116"/>
                  <a:pt x="319" y="116"/>
                </a:cubicBezTo>
                <a:cubicBezTo>
                  <a:pt x="319" y="116"/>
                  <a:pt x="319" y="116"/>
                  <a:pt x="319" y="116"/>
                </a:cubicBezTo>
                <a:cubicBezTo>
                  <a:pt x="319" y="116"/>
                  <a:pt x="319" y="116"/>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9"/>
                  <a:pt x="319" y="119"/>
                  <a:pt x="319" y="119"/>
                </a:cubicBezTo>
                <a:cubicBezTo>
                  <a:pt x="319" y="119"/>
                  <a:pt x="319" y="119"/>
                  <a:pt x="319" y="119"/>
                </a:cubicBezTo>
                <a:cubicBezTo>
                  <a:pt x="319" y="119"/>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20" y="120"/>
                  <a:pt x="320" y="120"/>
                </a:cubicBezTo>
                <a:cubicBezTo>
                  <a:pt x="320" y="120"/>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6"/>
                  <a:pt x="320" y="126"/>
                  <a:pt x="320" y="126"/>
                </a:cubicBezTo>
                <a:cubicBezTo>
                  <a:pt x="320" y="126"/>
                  <a:pt x="320" y="126"/>
                  <a:pt x="320" y="126"/>
                </a:cubicBezTo>
                <a:cubicBezTo>
                  <a:pt x="321" y="126"/>
                  <a:pt x="321" y="126"/>
                  <a:pt x="321" y="126"/>
                </a:cubicBezTo>
                <a:cubicBezTo>
                  <a:pt x="321" y="126"/>
                  <a:pt x="321" y="126"/>
                  <a:pt x="321" y="126"/>
                </a:cubicBezTo>
                <a:cubicBezTo>
                  <a:pt x="321" y="126"/>
                  <a:pt x="321" y="126"/>
                  <a:pt x="321" y="126"/>
                </a:cubicBezTo>
                <a:cubicBezTo>
                  <a:pt x="321" y="126"/>
                  <a:pt x="321" y="126"/>
                  <a:pt x="321" y="126"/>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9"/>
                </a:cubicBezTo>
                <a:cubicBezTo>
                  <a:pt x="321" y="129"/>
                  <a:pt x="321" y="129"/>
                  <a:pt x="321" y="129"/>
                </a:cubicBezTo>
                <a:cubicBezTo>
                  <a:pt x="321" y="129"/>
                  <a:pt x="321" y="129"/>
                  <a:pt x="321" y="129"/>
                </a:cubicBezTo>
                <a:cubicBezTo>
                  <a:pt x="321" y="129"/>
                  <a:pt x="321" y="129"/>
                  <a:pt x="321" y="129"/>
                </a:cubicBezTo>
                <a:cubicBezTo>
                  <a:pt x="321" y="129"/>
                  <a:pt x="321" y="129"/>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2"/>
                  <a:pt x="321" y="132"/>
                </a:cubicBezTo>
                <a:cubicBezTo>
                  <a:pt x="321" y="132"/>
                  <a:pt x="321" y="132"/>
                  <a:pt x="321" y="132"/>
                </a:cubicBezTo>
                <a:cubicBezTo>
                  <a:pt x="321" y="132"/>
                  <a:pt x="321" y="132"/>
                  <a:pt x="321" y="132"/>
                </a:cubicBezTo>
                <a:cubicBezTo>
                  <a:pt x="321" y="132"/>
                  <a:pt x="321" y="132"/>
                  <a:pt x="321" y="132"/>
                </a:cubicBezTo>
                <a:cubicBezTo>
                  <a:pt x="321" y="132"/>
                  <a:pt x="321" y="132"/>
                  <a:pt x="321" y="132"/>
                </a:cubicBezTo>
                <a:cubicBezTo>
                  <a:pt x="321" y="132"/>
                  <a:pt x="322" y="132"/>
                  <a:pt x="322" y="132"/>
                </a:cubicBezTo>
                <a:cubicBezTo>
                  <a:pt x="322" y="132"/>
                  <a:pt x="322" y="132"/>
                  <a:pt x="322" y="132"/>
                </a:cubicBezTo>
                <a:cubicBezTo>
                  <a:pt x="322" y="133"/>
                  <a:pt x="322" y="133"/>
                  <a:pt x="322" y="133"/>
                </a:cubicBezTo>
                <a:cubicBezTo>
                  <a:pt x="322" y="133"/>
                  <a:pt x="322" y="133"/>
                  <a:pt x="322" y="133"/>
                </a:cubicBezTo>
                <a:cubicBezTo>
                  <a:pt x="323" y="142"/>
                  <a:pt x="323" y="151"/>
                  <a:pt x="323" y="160"/>
                </a:cubicBezTo>
                <a:cubicBezTo>
                  <a:pt x="323" y="259"/>
                  <a:pt x="250" y="345"/>
                  <a:pt x="149" y="359"/>
                </a:cubicBezTo>
                <a:cubicBezTo>
                  <a:pt x="140" y="360"/>
                  <a:pt x="131" y="361"/>
                  <a:pt x="122" y="361"/>
                </a:cubicBezTo>
                <a:cubicBezTo>
                  <a:pt x="112" y="361"/>
                  <a:pt x="102" y="360"/>
                  <a:pt x="93" y="359"/>
                </a:cubicBezTo>
                <a:cubicBezTo>
                  <a:pt x="93" y="359"/>
                  <a:pt x="93" y="359"/>
                  <a:pt x="93" y="359"/>
                </a:cubicBezTo>
                <a:cubicBezTo>
                  <a:pt x="93" y="359"/>
                  <a:pt x="93" y="359"/>
                  <a:pt x="93" y="359"/>
                </a:cubicBezTo>
                <a:cubicBezTo>
                  <a:pt x="93" y="359"/>
                  <a:pt x="93" y="359"/>
                  <a:pt x="93"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1" y="359"/>
                  <a:pt x="91" y="359"/>
                </a:cubicBezTo>
                <a:cubicBezTo>
                  <a:pt x="91" y="359"/>
                  <a:pt x="91" y="359"/>
                  <a:pt x="91" y="359"/>
                </a:cubicBezTo>
                <a:cubicBezTo>
                  <a:pt x="91" y="359"/>
                  <a:pt x="91" y="359"/>
                  <a:pt x="91" y="359"/>
                </a:cubicBezTo>
                <a:cubicBezTo>
                  <a:pt x="91" y="359"/>
                  <a:pt x="91" y="359"/>
                  <a:pt x="91" y="359"/>
                </a:cubicBezTo>
                <a:cubicBezTo>
                  <a:pt x="58" y="353"/>
                  <a:pt x="27" y="340"/>
                  <a:pt x="0" y="320"/>
                </a:cubicBezTo>
                <a:cubicBezTo>
                  <a:pt x="37" y="354"/>
                  <a:pt x="86" y="374"/>
                  <a:pt x="138" y="374"/>
                </a:cubicBezTo>
                <a:cubicBezTo>
                  <a:pt x="147" y="374"/>
                  <a:pt x="156" y="374"/>
                  <a:pt x="165" y="372"/>
                </a:cubicBezTo>
                <a:cubicBezTo>
                  <a:pt x="276" y="357"/>
                  <a:pt x="354" y="256"/>
                  <a:pt x="339" y="145"/>
                </a:cubicBezTo>
                <a:cubicBezTo>
                  <a:pt x="330" y="82"/>
                  <a:pt x="294" y="30"/>
                  <a:pt x="244" y="0"/>
                </a:cubicBezTo>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13" name="Freeform 25">
            <a:extLst>
              <a:ext uri="{FF2B5EF4-FFF2-40B4-BE49-F238E27FC236}">
                <a16:creationId xmlns:a16="http://schemas.microsoft.com/office/drawing/2014/main" id="{DD36B229-27B2-4554-B31B-E3EE15415EF8}"/>
              </a:ext>
            </a:extLst>
          </p:cNvPr>
          <p:cNvSpPr>
            <a:spLocks noEditPoints="1"/>
          </p:cNvSpPr>
          <p:nvPr/>
        </p:nvSpPr>
        <p:spPr bwMode="auto">
          <a:xfrm rot="19589649">
            <a:off x="3775756" y="1317684"/>
            <a:ext cx="517479" cy="575630"/>
          </a:xfrm>
          <a:custGeom>
            <a:avLst/>
            <a:gdLst>
              <a:gd name="T0" fmla="*/ 2 w 232"/>
              <a:gd name="T1" fmla="*/ 246 h 248"/>
              <a:gd name="T2" fmla="*/ 1 w 232"/>
              <a:gd name="T3" fmla="*/ 246 h 248"/>
              <a:gd name="T4" fmla="*/ 1 w 232"/>
              <a:gd name="T5" fmla="*/ 246 h 248"/>
              <a:gd name="T6" fmla="*/ 1 w 232"/>
              <a:gd name="T7" fmla="*/ 246 h 248"/>
              <a:gd name="T8" fmla="*/ 1 w 232"/>
              <a:gd name="T9" fmla="*/ 246 h 248"/>
              <a:gd name="T10" fmla="*/ 0 w 232"/>
              <a:gd name="T11" fmla="*/ 246 h 248"/>
              <a:gd name="T12" fmla="*/ 0 w 232"/>
              <a:gd name="T13" fmla="*/ 246 h 248"/>
              <a:gd name="T14" fmla="*/ 31 w 232"/>
              <a:gd name="T15" fmla="*/ 248 h 248"/>
              <a:gd name="T16" fmla="*/ 58 w 232"/>
              <a:gd name="T17" fmla="*/ 246 h 248"/>
              <a:gd name="T18" fmla="*/ 231 w 232"/>
              <a:gd name="T19" fmla="*/ 20 h 248"/>
              <a:gd name="T20" fmla="*/ 231 w 232"/>
              <a:gd name="T21" fmla="*/ 19 h 248"/>
              <a:gd name="T22" fmla="*/ 230 w 232"/>
              <a:gd name="T23" fmla="*/ 19 h 248"/>
              <a:gd name="T24" fmla="*/ 230 w 232"/>
              <a:gd name="T25" fmla="*/ 19 h 248"/>
              <a:gd name="T26" fmla="*/ 230 w 232"/>
              <a:gd name="T27" fmla="*/ 18 h 248"/>
              <a:gd name="T28" fmla="*/ 230 w 232"/>
              <a:gd name="T29" fmla="*/ 18 h 248"/>
              <a:gd name="T30" fmla="*/ 230 w 232"/>
              <a:gd name="T31" fmla="*/ 18 h 248"/>
              <a:gd name="T32" fmla="*/ 230 w 232"/>
              <a:gd name="T33" fmla="*/ 17 h 248"/>
              <a:gd name="T34" fmla="*/ 230 w 232"/>
              <a:gd name="T35" fmla="*/ 17 h 248"/>
              <a:gd name="T36" fmla="*/ 230 w 232"/>
              <a:gd name="T37" fmla="*/ 17 h 248"/>
              <a:gd name="T38" fmla="*/ 230 w 232"/>
              <a:gd name="T39" fmla="*/ 17 h 248"/>
              <a:gd name="T40" fmla="*/ 230 w 232"/>
              <a:gd name="T41" fmla="*/ 16 h 248"/>
              <a:gd name="T42" fmla="*/ 230 w 232"/>
              <a:gd name="T43" fmla="*/ 16 h 248"/>
              <a:gd name="T44" fmla="*/ 230 w 232"/>
              <a:gd name="T45" fmla="*/ 15 h 248"/>
              <a:gd name="T46" fmla="*/ 230 w 232"/>
              <a:gd name="T47" fmla="*/ 15 h 248"/>
              <a:gd name="T48" fmla="*/ 230 w 232"/>
              <a:gd name="T49" fmla="*/ 15 h 248"/>
              <a:gd name="T50" fmla="*/ 230 w 232"/>
              <a:gd name="T51" fmla="*/ 14 h 248"/>
              <a:gd name="T52" fmla="*/ 230 w 232"/>
              <a:gd name="T53" fmla="*/ 14 h 248"/>
              <a:gd name="T54" fmla="*/ 230 w 232"/>
              <a:gd name="T55" fmla="*/ 14 h 248"/>
              <a:gd name="T56" fmla="*/ 230 w 232"/>
              <a:gd name="T57" fmla="*/ 13 h 248"/>
              <a:gd name="T58" fmla="*/ 230 w 232"/>
              <a:gd name="T59" fmla="*/ 13 h 248"/>
              <a:gd name="T60" fmla="*/ 229 w 232"/>
              <a:gd name="T61" fmla="*/ 13 h 248"/>
              <a:gd name="T62" fmla="*/ 229 w 232"/>
              <a:gd name="T63" fmla="*/ 12 h 248"/>
              <a:gd name="T64" fmla="*/ 229 w 232"/>
              <a:gd name="T65" fmla="*/ 12 h 248"/>
              <a:gd name="T66" fmla="*/ 229 w 232"/>
              <a:gd name="T67" fmla="*/ 12 h 248"/>
              <a:gd name="T68" fmla="*/ 229 w 232"/>
              <a:gd name="T69" fmla="*/ 11 h 248"/>
              <a:gd name="T70" fmla="*/ 229 w 232"/>
              <a:gd name="T71" fmla="*/ 11 h 248"/>
              <a:gd name="T72" fmla="*/ 229 w 232"/>
              <a:gd name="T73" fmla="*/ 11 h 248"/>
              <a:gd name="T74" fmla="*/ 229 w 232"/>
              <a:gd name="T75" fmla="*/ 10 h 248"/>
              <a:gd name="T76" fmla="*/ 229 w 232"/>
              <a:gd name="T77" fmla="*/ 10 h 248"/>
              <a:gd name="T78" fmla="*/ 229 w 232"/>
              <a:gd name="T79" fmla="*/ 10 h 248"/>
              <a:gd name="T80" fmla="*/ 229 w 232"/>
              <a:gd name="T81" fmla="*/ 10 h 248"/>
              <a:gd name="T82" fmla="*/ 229 w 232"/>
              <a:gd name="T83" fmla="*/ 9 h 248"/>
              <a:gd name="T84" fmla="*/ 229 w 232"/>
              <a:gd name="T85" fmla="*/ 9 h 248"/>
              <a:gd name="T86" fmla="*/ 229 w 232"/>
              <a:gd name="T87" fmla="*/ 8 h 248"/>
              <a:gd name="T88" fmla="*/ 229 w 232"/>
              <a:gd name="T89" fmla="*/ 8 h 248"/>
              <a:gd name="T90" fmla="*/ 229 w 232"/>
              <a:gd name="T91" fmla="*/ 8 h 248"/>
              <a:gd name="T92" fmla="*/ 229 w 232"/>
              <a:gd name="T93" fmla="*/ 8 h 248"/>
              <a:gd name="T94" fmla="*/ 228 w 232"/>
              <a:gd name="T95" fmla="*/ 7 h 248"/>
              <a:gd name="T96" fmla="*/ 228 w 232"/>
              <a:gd name="T97" fmla="*/ 7 h 248"/>
              <a:gd name="T98" fmla="*/ 228 w 232"/>
              <a:gd name="T99" fmla="*/ 7 h 248"/>
              <a:gd name="T100" fmla="*/ 228 w 232"/>
              <a:gd name="T101" fmla="*/ 6 h 248"/>
              <a:gd name="T102" fmla="*/ 228 w 232"/>
              <a:gd name="T103" fmla="*/ 5 h 248"/>
              <a:gd name="T104" fmla="*/ 228 w 232"/>
              <a:gd name="T105" fmla="*/ 5 h 248"/>
              <a:gd name="T106" fmla="*/ 228 w 232"/>
              <a:gd name="T107" fmla="*/ 5 h 248"/>
              <a:gd name="T108" fmla="*/ 228 w 232"/>
              <a:gd name="T109" fmla="*/ 4 h 248"/>
              <a:gd name="T110" fmla="*/ 228 w 232"/>
              <a:gd name="T111" fmla="*/ 4 h 248"/>
              <a:gd name="T112" fmla="*/ 228 w 232"/>
              <a:gd name="T113" fmla="*/ 4 h 248"/>
              <a:gd name="T114" fmla="*/ 228 w 232"/>
              <a:gd name="T115" fmla="*/ 4 h 248"/>
              <a:gd name="T116" fmla="*/ 228 w 232"/>
              <a:gd name="T117" fmla="*/ 3 h 248"/>
              <a:gd name="T118" fmla="*/ 227 w 232"/>
              <a:gd name="T119" fmla="*/ 1 h 248"/>
              <a:gd name="T120" fmla="*/ 227 w 232"/>
              <a:gd name="T121" fmla="*/ 1 h 248"/>
              <a:gd name="T122" fmla="*/ 227 w 232"/>
              <a:gd name="T123" fmla="*/ 1 h 248"/>
              <a:gd name="T124" fmla="*/ 227 w 232"/>
              <a:gd name="T12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248">
                <a:moveTo>
                  <a:pt x="2" y="246"/>
                </a:moveTo>
                <a:cubicBezTo>
                  <a:pt x="2" y="246"/>
                  <a:pt x="2" y="246"/>
                  <a:pt x="2" y="246"/>
                </a:cubicBezTo>
                <a:cubicBezTo>
                  <a:pt x="2" y="246"/>
                  <a:pt x="2" y="246"/>
                  <a:pt x="2" y="246"/>
                </a:cubicBezTo>
                <a:moveTo>
                  <a:pt x="1" y="246"/>
                </a:moveTo>
                <a:cubicBezTo>
                  <a:pt x="1" y="246"/>
                  <a:pt x="1" y="246"/>
                  <a:pt x="2"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0" y="246"/>
                </a:moveTo>
                <a:cubicBezTo>
                  <a:pt x="0" y="246"/>
                  <a:pt x="0" y="246"/>
                  <a:pt x="0" y="246"/>
                </a:cubicBezTo>
                <a:cubicBezTo>
                  <a:pt x="0" y="246"/>
                  <a:pt x="0" y="246"/>
                  <a:pt x="0" y="246"/>
                </a:cubicBezTo>
                <a:moveTo>
                  <a:pt x="0" y="246"/>
                </a:moveTo>
                <a:cubicBezTo>
                  <a:pt x="0" y="246"/>
                  <a:pt x="0" y="246"/>
                  <a:pt x="0" y="246"/>
                </a:cubicBezTo>
                <a:cubicBezTo>
                  <a:pt x="0" y="246"/>
                  <a:pt x="0" y="246"/>
                  <a:pt x="0" y="246"/>
                </a:cubicBezTo>
                <a:moveTo>
                  <a:pt x="232" y="47"/>
                </a:moveTo>
                <a:cubicBezTo>
                  <a:pt x="232" y="146"/>
                  <a:pt x="159" y="232"/>
                  <a:pt x="58" y="246"/>
                </a:cubicBezTo>
                <a:cubicBezTo>
                  <a:pt x="49" y="247"/>
                  <a:pt x="40" y="248"/>
                  <a:pt x="31" y="248"/>
                </a:cubicBezTo>
                <a:cubicBezTo>
                  <a:pt x="21" y="248"/>
                  <a:pt x="11" y="247"/>
                  <a:pt x="2" y="246"/>
                </a:cubicBezTo>
                <a:cubicBezTo>
                  <a:pt x="11" y="247"/>
                  <a:pt x="21" y="248"/>
                  <a:pt x="31" y="248"/>
                </a:cubicBezTo>
                <a:cubicBezTo>
                  <a:pt x="40" y="248"/>
                  <a:pt x="49" y="247"/>
                  <a:pt x="58" y="246"/>
                </a:cubicBezTo>
                <a:cubicBezTo>
                  <a:pt x="159" y="232"/>
                  <a:pt x="232" y="146"/>
                  <a:pt x="232" y="47"/>
                </a:cubicBezTo>
                <a:moveTo>
                  <a:pt x="231" y="19"/>
                </a:moveTo>
                <a:cubicBezTo>
                  <a:pt x="231" y="20"/>
                  <a:pt x="231" y="20"/>
                  <a:pt x="231" y="20"/>
                </a:cubicBezTo>
                <a:cubicBezTo>
                  <a:pt x="231" y="20"/>
                  <a:pt x="231" y="20"/>
                  <a:pt x="231" y="19"/>
                </a:cubicBezTo>
                <a:moveTo>
                  <a:pt x="230" y="19"/>
                </a:moveTo>
                <a:cubicBezTo>
                  <a:pt x="230" y="19"/>
                  <a:pt x="231" y="19"/>
                  <a:pt x="231" y="19"/>
                </a:cubicBezTo>
                <a:cubicBezTo>
                  <a:pt x="231" y="19"/>
                  <a:pt x="230" y="19"/>
                  <a:pt x="230" y="19"/>
                </a:cubicBezTo>
                <a:moveTo>
                  <a:pt x="230" y="19"/>
                </a:moveTo>
                <a:cubicBezTo>
                  <a:pt x="230" y="19"/>
                  <a:pt x="230" y="19"/>
                  <a:pt x="230" y="19"/>
                </a:cubicBezTo>
                <a:cubicBezTo>
                  <a:pt x="230" y="19"/>
                  <a:pt x="230" y="19"/>
                  <a:pt x="230" y="19"/>
                </a:cubicBezTo>
                <a:moveTo>
                  <a:pt x="230" y="19"/>
                </a:moveTo>
                <a:cubicBezTo>
                  <a:pt x="230" y="19"/>
                  <a:pt x="230" y="19"/>
                  <a:pt x="230" y="19"/>
                </a:cubicBezTo>
                <a:cubicBezTo>
                  <a:pt x="230" y="19"/>
                  <a:pt x="230" y="19"/>
                  <a:pt x="230" y="19"/>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6"/>
                </a:moveTo>
                <a:cubicBezTo>
                  <a:pt x="230" y="16"/>
                  <a:pt x="230" y="16"/>
                  <a:pt x="230" y="17"/>
                </a:cubicBezTo>
                <a:cubicBezTo>
                  <a:pt x="230" y="16"/>
                  <a:pt x="230" y="16"/>
                  <a:pt x="230" y="16"/>
                </a:cubicBezTo>
                <a:moveTo>
                  <a:pt x="230" y="16"/>
                </a:moveTo>
                <a:cubicBezTo>
                  <a:pt x="230" y="16"/>
                  <a:pt x="230" y="16"/>
                  <a:pt x="230" y="16"/>
                </a:cubicBezTo>
                <a:cubicBezTo>
                  <a:pt x="230" y="16"/>
                  <a:pt x="230" y="16"/>
                  <a:pt x="230" y="16"/>
                </a:cubicBezTo>
                <a:moveTo>
                  <a:pt x="230" y="15"/>
                </a:moveTo>
                <a:cubicBezTo>
                  <a:pt x="230" y="15"/>
                  <a:pt x="230" y="15"/>
                  <a:pt x="230" y="16"/>
                </a:cubicBezTo>
                <a:cubicBezTo>
                  <a:pt x="230" y="15"/>
                  <a:pt x="230" y="15"/>
                  <a:pt x="230" y="15"/>
                </a:cubicBezTo>
                <a:moveTo>
                  <a:pt x="230" y="15"/>
                </a:moveTo>
                <a:cubicBezTo>
                  <a:pt x="230" y="15"/>
                  <a:pt x="230" y="15"/>
                  <a:pt x="230" y="15"/>
                </a:cubicBezTo>
                <a:cubicBezTo>
                  <a:pt x="230" y="15"/>
                  <a:pt x="230" y="15"/>
                  <a:pt x="230" y="15"/>
                </a:cubicBezTo>
                <a:moveTo>
                  <a:pt x="230" y="15"/>
                </a:moveTo>
                <a:cubicBezTo>
                  <a:pt x="230" y="15"/>
                  <a:pt x="230" y="15"/>
                  <a:pt x="230" y="15"/>
                </a:cubicBezTo>
                <a:cubicBezTo>
                  <a:pt x="230" y="15"/>
                  <a:pt x="230" y="15"/>
                  <a:pt x="230" y="15"/>
                </a:cubicBezTo>
                <a:moveTo>
                  <a:pt x="230" y="14"/>
                </a:moveTo>
                <a:cubicBezTo>
                  <a:pt x="230" y="14"/>
                  <a:pt x="230" y="15"/>
                  <a:pt x="230" y="15"/>
                </a:cubicBezTo>
                <a:cubicBezTo>
                  <a:pt x="230" y="15"/>
                  <a:pt x="230" y="14"/>
                  <a:pt x="230" y="14"/>
                </a:cubicBezTo>
                <a:moveTo>
                  <a:pt x="230" y="14"/>
                </a:moveTo>
                <a:cubicBezTo>
                  <a:pt x="230" y="14"/>
                  <a:pt x="230" y="14"/>
                  <a:pt x="230" y="14"/>
                </a:cubicBezTo>
                <a:cubicBezTo>
                  <a:pt x="230" y="14"/>
                  <a:pt x="230" y="14"/>
                  <a:pt x="230" y="14"/>
                </a:cubicBezTo>
                <a:moveTo>
                  <a:pt x="230" y="14"/>
                </a:moveTo>
                <a:cubicBezTo>
                  <a:pt x="230" y="14"/>
                  <a:pt x="230" y="14"/>
                  <a:pt x="230" y="14"/>
                </a:cubicBezTo>
                <a:cubicBezTo>
                  <a:pt x="230" y="14"/>
                  <a:pt x="230" y="14"/>
                  <a:pt x="230" y="14"/>
                </a:cubicBezTo>
                <a:moveTo>
                  <a:pt x="230" y="13"/>
                </a:moveTo>
                <a:cubicBezTo>
                  <a:pt x="230" y="14"/>
                  <a:pt x="230" y="14"/>
                  <a:pt x="230" y="14"/>
                </a:cubicBezTo>
                <a:cubicBezTo>
                  <a:pt x="230" y="14"/>
                  <a:pt x="230" y="14"/>
                  <a:pt x="230" y="13"/>
                </a:cubicBezTo>
                <a:moveTo>
                  <a:pt x="230" y="13"/>
                </a:moveTo>
                <a:cubicBezTo>
                  <a:pt x="230" y="13"/>
                  <a:pt x="230" y="13"/>
                  <a:pt x="230" y="13"/>
                </a:cubicBezTo>
                <a:cubicBezTo>
                  <a:pt x="230" y="13"/>
                  <a:pt x="230" y="13"/>
                  <a:pt x="230" y="13"/>
                </a:cubicBezTo>
                <a:moveTo>
                  <a:pt x="229" y="13"/>
                </a:moveTo>
                <a:cubicBezTo>
                  <a:pt x="230" y="13"/>
                  <a:pt x="230" y="13"/>
                  <a:pt x="230" y="13"/>
                </a:cubicBezTo>
                <a:cubicBezTo>
                  <a:pt x="230" y="13"/>
                  <a:pt x="230" y="13"/>
                  <a:pt x="229" y="13"/>
                </a:cubicBezTo>
                <a:moveTo>
                  <a:pt x="229" y="12"/>
                </a:moveTo>
                <a:cubicBezTo>
                  <a:pt x="229" y="13"/>
                  <a:pt x="229" y="13"/>
                  <a:pt x="229" y="13"/>
                </a:cubicBezTo>
                <a:cubicBezTo>
                  <a:pt x="229" y="13"/>
                  <a:pt x="229" y="13"/>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9"/>
                </a:moveTo>
                <a:cubicBezTo>
                  <a:pt x="229" y="9"/>
                  <a:pt x="229" y="10"/>
                  <a:pt x="229" y="10"/>
                </a:cubicBezTo>
                <a:cubicBezTo>
                  <a:pt x="229" y="10"/>
                  <a:pt x="229" y="9"/>
                  <a:pt x="229" y="9"/>
                </a:cubicBezTo>
                <a:moveTo>
                  <a:pt x="229" y="9"/>
                </a:moveTo>
                <a:cubicBezTo>
                  <a:pt x="229" y="9"/>
                  <a:pt x="229" y="9"/>
                  <a:pt x="229" y="9"/>
                </a:cubicBezTo>
                <a:cubicBezTo>
                  <a:pt x="229" y="9"/>
                  <a:pt x="229" y="9"/>
                  <a:pt x="229" y="9"/>
                </a:cubicBezTo>
                <a:moveTo>
                  <a:pt x="229" y="9"/>
                </a:moveTo>
                <a:cubicBezTo>
                  <a:pt x="229" y="9"/>
                  <a:pt x="229" y="9"/>
                  <a:pt x="229" y="9"/>
                </a:cubicBezTo>
                <a:cubicBezTo>
                  <a:pt x="229" y="9"/>
                  <a:pt x="229" y="9"/>
                  <a:pt x="229" y="9"/>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7"/>
                </a:moveTo>
                <a:cubicBezTo>
                  <a:pt x="229" y="7"/>
                  <a:pt x="229" y="8"/>
                  <a:pt x="229" y="8"/>
                </a:cubicBezTo>
                <a:cubicBezTo>
                  <a:pt x="229" y="8"/>
                  <a:pt x="229" y="7"/>
                  <a:pt x="229"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6"/>
                </a:moveTo>
                <a:cubicBezTo>
                  <a:pt x="228" y="6"/>
                  <a:pt x="228" y="6"/>
                  <a:pt x="228" y="6"/>
                </a:cubicBezTo>
                <a:cubicBezTo>
                  <a:pt x="228" y="6"/>
                  <a:pt x="228" y="6"/>
                  <a:pt x="228" y="6"/>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3"/>
                </a:moveTo>
                <a:cubicBezTo>
                  <a:pt x="228" y="3"/>
                  <a:pt x="228" y="3"/>
                  <a:pt x="228" y="4"/>
                </a:cubicBezTo>
                <a:cubicBezTo>
                  <a:pt x="228" y="3"/>
                  <a:pt x="228" y="3"/>
                  <a:pt x="228" y="3"/>
                </a:cubicBezTo>
                <a:moveTo>
                  <a:pt x="228" y="3"/>
                </a:moveTo>
                <a:cubicBezTo>
                  <a:pt x="228" y="3"/>
                  <a:pt x="228" y="3"/>
                  <a:pt x="228" y="3"/>
                </a:cubicBezTo>
                <a:cubicBezTo>
                  <a:pt x="228" y="3"/>
                  <a:pt x="228" y="3"/>
                  <a:pt x="228" y="3"/>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0"/>
                </a:moveTo>
                <a:cubicBezTo>
                  <a:pt x="227" y="0"/>
                  <a:pt x="227" y="0"/>
                  <a:pt x="227" y="0"/>
                </a:cubicBezTo>
                <a:cubicBezTo>
                  <a:pt x="227" y="0"/>
                  <a:pt x="227" y="0"/>
                  <a:pt x="227" y="0"/>
                </a:cubicBezTo>
              </a:path>
            </a:pathLst>
          </a:custGeom>
          <a:solidFill>
            <a:srgbClr val="D5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14" name="Rounded Rectangle 10">
            <a:extLst>
              <a:ext uri="{FF2B5EF4-FFF2-40B4-BE49-F238E27FC236}">
                <a16:creationId xmlns:a16="http://schemas.microsoft.com/office/drawing/2014/main" id="{893EE2D0-962F-43F9-AE4E-EECE9711A9FA}"/>
              </a:ext>
            </a:extLst>
          </p:cNvPr>
          <p:cNvSpPr/>
          <p:nvPr/>
        </p:nvSpPr>
        <p:spPr>
          <a:xfrm>
            <a:off x="3981547" y="2138827"/>
            <a:ext cx="7187041" cy="914400"/>
          </a:xfrm>
          <a:prstGeom prst="round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endParaRPr lang="en-IN" sz="1600" dirty="0">
              <a:solidFill>
                <a:schemeClr val="tx1"/>
              </a:solidFill>
            </a:endParaRPr>
          </a:p>
        </p:txBody>
      </p:sp>
      <p:sp>
        <p:nvSpPr>
          <p:cNvPr id="215" name="Freeform 20">
            <a:extLst>
              <a:ext uri="{FF2B5EF4-FFF2-40B4-BE49-F238E27FC236}">
                <a16:creationId xmlns:a16="http://schemas.microsoft.com/office/drawing/2014/main" id="{85165D81-9408-4903-8351-A9D9451161E6}"/>
              </a:ext>
            </a:extLst>
          </p:cNvPr>
          <p:cNvSpPr>
            <a:spLocks noEditPoints="1"/>
          </p:cNvSpPr>
          <p:nvPr/>
        </p:nvSpPr>
        <p:spPr bwMode="auto">
          <a:xfrm rot="19589649">
            <a:off x="3375973" y="2177119"/>
            <a:ext cx="805083" cy="836109"/>
          </a:xfrm>
          <a:custGeom>
            <a:avLst/>
            <a:gdLst>
              <a:gd name="T0" fmla="*/ 158 w 361"/>
              <a:gd name="T1" fmla="*/ 13 h 361"/>
              <a:gd name="T2" fmla="*/ 12 w 361"/>
              <a:gd name="T3" fmla="*/ 203 h 361"/>
              <a:gd name="T4" fmla="*/ 203 w 361"/>
              <a:gd name="T5" fmla="*/ 349 h 361"/>
              <a:gd name="T6" fmla="*/ 348 w 361"/>
              <a:gd name="T7" fmla="*/ 158 h 361"/>
              <a:gd name="T8" fmla="*/ 158 w 361"/>
              <a:gd name="T9" fmla="*/ 13 h 361"/>
              <a:gd name="T10" fmla="*/ 199 w 361"/>
              <a:gd name="T11" fmla="*/ 317 h 361"/>
              <a:gd name="T12" fmla="*/ 44 w 361"/>
              <a:gd name="T13" fmla="*/ 199 h 361"/>
              <a:gd name="T14" fmla="*/ 162 w 361"/>
              <a:gd name="T15" fmla="*/ 45 h 361"/>
              <a:gd name="T16" fmla="*/ 316 w 361"/>
              <a:gd name="T17" fmla="*/ 162 h 361"/>
              <a:gd name="T18" fmla="*/ 199 w 361"/>
              <a:gd name="T19" fmla="*/ 317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361">
                <a:moveTo>
                  <a:pt x="158" y="13"/>
                </a:moveTo>
                <a:cubicBezTo>
                  <a:pt x="65" y="25"/>
                  <a:pt x="0" y="111"/>
                  <a:pt x="12" y="203"/>
                </a:cubicBezTo>
                <a:cubicBezTo>
                  <a:pt x="25" y="296"/>
                  <a:pt x="110" y="361"/>
                  <a:pt x="203" y="349"/>
                </a:cubicBezTo>
                <a:cubicBezTo>
                  <a:pt x="296" y="336"/>
                  <a:pt x="361" y="251"/>
                  <a:pt x="348" y="158"/>
                </a:cubicBezTo>
                <a:cubicBezTo>
                  <a:pt x="336" y="65"/>
                  <a:pt x="250" y="0"/>
                  <a:pt x="158" y="13"/>
                </a:cubicBezTo>
                <a:close/>
                <a:moveTo>
                  <a:pt x="199" y="317"/>
                </a:moveTo>
                <a:cubicBezTo>
                  <a:pt x="123" y="327"/>
                  <a:pt x="54" y="274"/>
                  <a:pt x="44" y="199"/>
                </a:cubicBezTo>
                <a:cubicBezTo>
                  <a:pt x="34" y="124"/>
                  <a:pt x="87" y="55"/>
                  <a:pt x="162" y="45"/>
                </a:cubicBezTo>
                <a:cubicBezTo>
                  <a:pt x="237" y="35"/>
                  <a:pt x="306" y="87"/>
                  <a:pt x="316" y="162"/>
                </a:cubicBezTo>
                <a:cubicBezTo>
                  <a:pt x="326" y="237"/>
                  <a:pt x="274" y="307"/>
                  <a:pt x="199" y="317"/>
                </a:cubicBezTo>
                <a:close/>
              </a:path>
            </a:pathLst>
          </a:custGeom>
          <a:solidFill>
            <a:srgbClr val="998C85">
              <a:lumMod val="20000"/>
              <a:lumOff val="80000"/>
            </a:srgbClr>
          </a:solidFill>
          <a:ln w="6350">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16" name="Freeform 21">
            <a:extLst>
              <a:ext uri="{FF2B5EF4-FFF2-40B4-BE49-F238E27FC236}">
                <a16:creationId xmlns:a16="http://schemas.microsoft.com/office/drawing/2014/main" id="{0F617873-F287-40C3-8B14-0404F16F5787}"/>
              </a:ext>
            </a:extLst>
          </p:cNvPr>
          <p:cNvSpPr>
            <a:spLocks/>
          </p:cNvSpPr>
          <p:nvPr/>
        </p:nvSpPr>
        <p:spPr bwMode="auto">
          <a:xfrm rot="19589649">
            <a:off x="3453018" y="2257905"/>
            <a:ext cx="650458" cy="677463"/>
          </a:xfrm>
          <a:custGeom>
            <a:avLst/>
            <a:gdLst>
              <a:gd name="T0" fmla="*/ 10 w 292"/>
              <a:gd name="T1" fmla="*/ 164 h 292"/>
              <a:gd name="T2" fmla="*/ 128 w 292"/>
              <a:gd name="T3" fmla="*/ 10 h 292"/>
              <a:gd name="T4" fmla="*/ 282 w 292"/>
              <a:gd name="T5" fmla="*/ 127 h 292"/>
              <a:gd name="T6" fmla="*/ 165 w 292"/>
              <a:gd name="T7" fmla="*/ 282 h 292"/>
              <a:gd name="T8" fmla="*/ 10 w 292"/>
              <a:gd name="T9" fmla="*/ 164 h 292"/>
            </a:gdLst>
            <a:ahLst/>
            <a:cxnLst>
              <a:cxn ang="0">
                <a:pos x="T0" y="T1"/>
              </a:cxn>
              <a:cxn ang="0">
                <a:pos x="T2" y="T3"/>
              </a:cxn>
              <a:cxn ang="0">
                <a:pos x="T4" y="T5"/>
              </a:cxn>
              <a:cxn ang="0">
                <a:pos x="T6" y="T7"/>
              </a:cxn>
              <a:cxn ang="0">
                <a:pos x="T8" y="T9"/>
              </a:cxn>
            </a:cxnLst>
            <a:rect l="0" t="0" r="r" b="b"/>
            <a:pathLst>
              <a:path w="292" h="292">
                <a:moveTo>
                  <a:pt x="10" y="164"/>
                </a:moveTo>
                <a:cubicBezTo>
                  <a:pt x="0" y="89"/>
                  <a:pt x="53" y="20"/>
                  <a:pt x="128" y="10"/>
                </a:cubicBezTo>
                <a:cubicBezTo>
                  <a:pt x="203" y="0"/>
                  <a:pt x="272" y="52"/>
                  <a:pt x="282" y="127"/>
                </a:cubicBezTo>
                <a:cubicBezTo>
                  <a:pt x="292" y="202"/>
                  <a:pt x="240" y="272"/>
                  <a:pt x="165" y="282"/>
                </a:cubicBezTo>
                <a:cubicBezTo>
                  <a:pt x="89" y="292"/>
                  <a:pt x="20" y="239"/>
                  <a:pt x="10" y="16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957756"/>
            <a:endParaRPr lang="fr-FR" sz="1400" kern="0" dirty="0">
              <a:solidFill>
                <a:srgbClr val="263147"/>
              </a:solidFill>
              <a:latin typeface="Verdana"/>
            </a:endParaRPr>
          </a:p>
        </p:txBody>
      </p:sp>
      <p:sp>
        <p:nvSpPr>
          <p:cNvPr id="217" name="Freeform 22">
            <a:extLst>
              <a:ext uri="{FF2B5EF4-FFF2-40B4-BE49-F238E27FC236}">
                <a16:creationId xmlns:a16="http://schemas.microsoft.com/office/drawing/2014/main" id="{FD296DF0-2FC5-44F1-9912-E9A38E5F8283}"/>
              </a:ext>
            </a:extLst>
          </p:cNvPr>
          <p:cNvSpPr>
            <a:spLocks/>
          </p:cNvSpPr>
          <p:nvPr/>
        </p:nvSpPr>
        <p:spPr bwMode="auto">
          <a:xfrm rot="19589649">
            <a:off x="3446299" y="2305260"/>
            <a:ext cx="531911" cy="598140"/>
          </a:xfrm>
          <a:custGeom>
            <a:avLst/>
            <a:gdLst>
              <a:gd name="T0" fmla="*/ 30 w 239"/>
              <a:gd name="T1" fmla="*/ 175 h 258"/>
              <a:gd name="T2" fmla="*/ 148 w 239"/>
              <a:gd name="T3" fmla="*/ 21 h 258"/>
              <a:gd name="T4" fmla="*/ 239 w 239"/>
              <a:gd name="T5" fmla="*/ 41 h 258"/>
              <a:gd name="T6" fmla="*/ 128 w 239"/>
              <a:gd name="T7" fmla="*/ 6 h 258"/>
              <a:gd name="T8" fmla="*/ 10 w 239"/>
              <a:gd name="T9" fmla="*/ 160 h 258"/>
              <a:gd name="T10" fmla="*/ 73 w 239"/>
              <a:gd name="T11" fmla="*/ 258 h 258"/>
              <a:gd name="T12" fmla="*/ 30 w 239"/>
              <a:gd name="T13" fmla="*/ 175 h 258"/>
            </a:gdLst>
            <a:ahLst/>
            <a:cxnLst>
              <a:cxn ang="0">
                <a:pos x="T0" y="T1"/>
              </a:cxn>
              <a:cxn ang="0">
                <a:pos x="T2" y="T3"/>
              </a:cxn>
              <a:cxn ang="0">
                <a:pos x="T4" y="T5"/>
              </a:cxn>
              <a:cxn ang="0">
                <a:pos x="T6" y="T7"/>
              </a:cxn>
              <a:cxn ang="0">
                <a:pos x="T8" y="T9"/>
              </a:cxn>
              <a:cxn ang="0">
                <a:pos x="T10" y="T11"/>
              </a:cxn>
              <a:cxn ang="0">
                <a:pos x="T12" y="T13"/>
              </a:cxn>
            </a:cxnLst>
            <a:rect l="0" t="0" r="r" b="b"/>
            <a:pathLst>
              <a:path w="239" h="258">
                <a:moveTo>
                  <a:pt x="30" y="175"/>
                </a:moveTo>
                <a:cubicBezTo>
                  <a:pt x="20" y="100"/>
                  <a:pt x="72" y="31"/>
                  <a:pt x="148" y="21"/>
                </a:cubicBezTo>
                <a:cubicBezTo>
                  <a:pt x="181" y="16"/>
                  <a:pt x="213" y="24"/>
                  <a:pt x="239" y="41"/>
                </a:cubicBezTo>
                <a:cubicBezTo>
                  <a:pt x="210" y="14"/>
                  <a:pt x="170" y="0"/>
                  <a:pt x="128" y="6"/>
                </a:cubicBezTo>
                <a:cubicBezTo>
                  <a:pt x="53" y="16"/>
                  <a:pt x="0" y="85"/>
                  <a:pt x="10" y="160"/>
                </a:cubicBezTo>
                <a:cubicBezTo>
                  <a:pt x="16" y="202"/>
                  <a:pt x="40" y="237"/>
                  <a:pt x="73" y="258"/>
                </a:cubicBezTo>
                <a:cubicBezTo>
                  <a:pt x="50" y="237"/>
                  <a:pt x="34" y="208"/>
                  <a:pt x="30" y="175"/>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defTabSz="957756"/>
            <a:endParaRPr lang="fr-FR" sz="1400" kern="0" dirty="0">
              <a:solidFill>
                <a:srgbClr val="263147"/>
              </a:solidFill>
              <a:latin typeface="Verdana"/>
            </a:endParaRPr>
          </a:p>
        </p:txBody>
      </p:sp>
      <p:sp>
        <p:nvSpPr>
          <p:cNvPr id="218" name="Freeform 24">
            <a:extLst>
              <a:ext uri="{FF2B5EF4-FFF2-40B4-BE49-F238E27FC236}">
                <a16:creationId xmlns:a16="http://schemas.microsoft.com/office/drawing/2014/main" id="{A0C02B26-12B9-444E-9832-0FB0CB7E7439}"/>
              </a:ext>
            </a:extLst>
          </p:cNvPr>
          <p:cNvSpPr>
            <a:spLocks/>
          </p:cNvSpPr>
          <p:nvPr/>
        </p:nvSpPr>
        <p:spPr bwMode="auto">
          <a:xfrm rot="19589649">
            <a:off x="3519909" y="2147895"/>
            <a:ext cx="789620" cy="867195"/>
          </a:xfrm>
          <a:custGeom>
            <a:avLst/>
            <a:gdLst>
              <a:gd name="T0" fmla="*/ 318 w 354"/>
              <a:gd name="T1" fmla="*/ 113 h 374"/>
              <a:gd name="T2" fmla="*/ 318 w 354"/>
              <a:gd name="T3" fmla="*/ 114 h 374"/>
              <a:gd name="T4" fmla="*/ 318 w 354"/>
              <a:gd name="T5" fmla="*/ 114 h 374"/>
              <a:gd name="T6" fmla="*/ 319 w 354"/>
              <a:gd name="T7" fmla="*/ 116 h 374"/>
              <a:gd name="T8" fmla="*/ 319 w 354"/>
              <a:gd name="T9" fmla="*/ 117 h 374"/>
              <a:gd name="T10" fmla="*/ 319 w 354"/>
              <a:gd name="T11" fmla="*/ 117 h 374"/>
              <a:gd name="T12" fmla="*/ 319 w 354"/>
              <a:gd name="T13" fmla="*/ 118 h 374"/>
              <a:gd name="T14" fmla="*/ 319 w 354"/>
              <a:gd name="T15" fmla="*/ 118 h 374"/>
              <a:gd name="T16" fmla="*/ 319 w 354"/>
              <a:gd name="T17" fmla="*/ 119 h 374"/>
              <a:gd name="T18" fmla="*/ 319 w 354"/>
              <a:gd name="T19" fmla="*/ 120 h 374"/>
              <a:gd name="T20" fmla="*/ 319 w 354"/>
              <a:gd name="T21" fmla="*/ 120 h 374"/>
              <a:gd name="T22" fmla="*/ 320 w 354"/>
              <a:gd name="T23" fmla="*/ 121 h 374"/>
              <a:gd name="T24" fmla="*/ 320 w 354"/>
              <a:gd name="T25" fmla="*/ 121 h 374"/>
              <a:gd name="T26" fmla="*/ 320 w 354"/>
              <a:gd name="T27" fmla="*/ 122 h 374"/>
              <a:gd name="T28" fmla="*/ 320 w 354"/>
              <a:gd name="T29" fmla="*/ 122 h 374"/>
              <a:gd name="T30" fmla="*/ 320 w 354"/>
              <a:gd name="T31" fmla="*/ 123 h 374"/>
              <a:gd name="T32" fmla="*/ 320 w 354"/>
              <a:gd name="T33" fmla="*/ 123 h 374"/>
              <a:gd name="T34" fmla="*/ 320 w 354"/>
              <a:gd name="T35" fmla="*/ 124 h 374"/>
              <a:gd name="T36" fmla="*/ 320 w 354"/>
              <a:gd name="T37" fmla="*/ 124 h 374"/>
              <a:gd name="T38" fmla="*/ 320 w 354"/>
              <a:gd name="T39" fmla="*/ 125 h 374"/>
              <a:gd name="T40" fmla="*/ 320 w 354"/>
              <a:gd name="T41" fmla="*/ 125 h 374"/>
              <a:gd name="T42" fmla="*/ 320 w 354"/>
              <a:gd name="T43" fmla="*/ 125 h 374"/>
              <a:gd name="T44" fmla="*/ 321 w 354"/>
              <a:gd name="T45" fmla="*/ 126 h 374"/>
              <a:gd name="T46" fmla="*/ 321 w 354"/>
              <a:gd name="T47" fmla="*/ 126 h 374"/>
              <a:gd name="T48" fmla="*/ 321 w 354"/>
              <a:gd name="T49" fmla="*/ 127 h 374"/>
              <a:gd name="T50" fmla="*/ 321 w 354"/>
              <a:gd name="T51" fmla="*/ 127 h 374"/>
              <a:gd name="T52" fmla="*/ 321 w 354"/>
              <a:gd name="T53" fmla="*/ 128 h 374"/>
              <a:gd name="T54" fmla="*/ 321 w 354"/>
              <a:gd name="T55" fmla="*/ 128 h 374"/>
              <a:gd name="T56" fmla="*/ 321 w 354"/>
              <a:gd name="T57" fmla="*/ 129 h 374"/>
              <a:gd name="T58" fmla="*/ 321 w 354"/>
              <a:gd name="T59" fmla="*/ 130 h 374"/>
              <a:gd name="T60" fmla="*/ 321 w 354"/>
              <a:gd name="T61" fmla="*/ 130 h 374"/>
              <a:gd name="T62" fmla="*/ 321 w 354"/>
              <a:gd name="T63" fmla="*/ 131 h 374"/>
              <a:gd name="T64" fmla="*/ 321 w 354"/>
              <a:gd name="T65" fmla="*/ 131 h 374"/>
              <a:gd name="T66" fmla="*/ 321 w 354"/>
              <a:gd name="T67" fmla="*/ 132 h 374"/>
              <a:gd name="T68" fmla="*/ 321 w 354"/>
              <a:gd name="T69" fmla="*/ 132 h 374"/>
              <a:gd name="T70" fmla="*/ 322 w 354"/>
              <a:gd name="T71" fmla="*/ 132 h 374"/>
              <a:gd name="T72" fmla="*/ 323 w 354"/>
              <a:gd name="T73" fmla="*/ 160 h 374"/>
              <a:gd name="T74" fmla="*/ 93 w 354"/>
              <a:gd name="T75" fmla="*/ 359 h 374"/>
              <a:gd name="T76" fmla="*/ 93 w 354"/>
              <a:gd name="T77" fmla="*/ 359 h 374"/>
              <a:gd name="T78" fmla="*/ 92 w 354"/>
              <a:gd name="T79" fmla="*/ 359 h 374"/>
              <a:gd name="T80" fmla="*/ 92 w 354"/>
              <a:gd name="T81" fmla="*/ 359 h 374"/>
              <a:gd name="T82" fmla="*/ 91 w 354"/>
              <a:gd name="T83" fmla="*/ 359 h 374"/>
              <a:gd name="T84" fmla="*/ 0 w 354"/>
              <a:gd name="T85" fmla="*/ 320 h 374"/>
              <a:gd name="T86" fmla="*/ 339 w 354"/>
              <a:gd name="T87" fmla="*/ 14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4" h="374">
                <a:moveTo>
                  <a:pt x="244" y="0"/>
                </a:moveTo>
                <a:cubicBezTo>
                  <a:pt x="280" y="27"/>
                  <a:pt x="307" y="67"/>
                  <a:pt x="318" y="113"/>
                </a:cubicBezTo>
                <a:cubicBezTo>
                  <a:pt x="318" y="113"/>
                  <a:pt x="318" y="113"/>
                  <a:pt x="318" y="113"/>
                </a:cubicBezTo>
                <a:cubicBezTo>
                  <a:pt x="318" y="113"/>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5"/>
                  <a:pt x="318" y="116"/>
                  <a:pt x="319" y="116"/>
                </a:cubicBezTo>
                <a:cubicBezTo>
                  <a:pt x="319" y="116"/>
                  <a:pt x="319" y="116"/>
                  <a:pt x="319" y="116"/>
                </a:cubicBezTo>
                <a:cubicBezTo>
                  <a:pt x="319" y="116"/>
                  <a:pt x="319" y="116"/>
                  <a:pt x="319" y="116"/>
                </a:cubicBezTo>
                <a:cubicBezTo>
                  <a:pt x="319" y="116"/>
                  <a:pt x="319" y="116"/>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9"/>
                  <a:pt x="319" y="119"/>
                  <a:pt x="319" y="119"/>
                </a:cubicBezTo>
                <a:cubicBezTo>
                  <a:pt x="319" y="119"/>
                  <a:pt x="319" y="119"/>
                  <a:pt x="319" y="119"/>
                </a:cubicBezTo>
                <a:cubicBezTo>
                  <a:pt x="319" y="119"/>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20" y="120"/>
                  <a:pt x="320" y="120"/>
                </a:cubicBezTo>
                <a:cubicBezTo>
                  <a:pt x="320" y="120"/>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6"/>
                  <a:pt x="320" y="126"/>
                  <a:pt x="320" y="126"/>
                </a:cubicBezTo>
                <a:cubicBezTo>
                  <a:pt x="320" y="126"/>
                  <a:pt x="320" y="126"/>
                  <a:pt x="320" y="126"/>
                </a:cubicBezTo>
                <a:cubicBezTo>
                  <a:pt x="321" y="126"/>
                  <a:pt x="321" y="126"/>
                  <a:pt x="321" y="126"/>
                </a:cubicBezTo>
                <a:cubicBezTo>
                  <a:pt x="321" y="126"/>
                  <a:pt x="321" y="126"/>
                  <a:pt x="321" y="126"/>
                </a:cubicBezTo>
                <a:cubicBezTo>
                  <a:pt x="321" y="126"/>
                  <a:pt x="321" y="126"/>
                  <a:pt x="321" y="126"/>
                </a:cubicBezTo>
                <a:cubicBezTo>
                  <a:pt x="321" y="126"/>
                  <a:pt x="321" y="126"/>
                  <a:pt x="321" y="126"/>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9"/>
                </a:cubicBezTo>
                <a:cubicBezTo>
                  <a:pt x="321" y="129"/>
                  <a:pt x="321" y="129"/>
                  <a:pt x="321" y="129"/>
                </a:cubicBezTo>
                <a:cubicBezTo>
                  <a:pt x="321" y="129"/>
                  <a:pt x="321" y="129"/>
                  <a:pt x="321" y="129"/>
                </a:cubicBezTo>
                <a:cubicBezTo>
                  <a:pt x="321" y="129"/>
                  <a:pt x="321" y="129"/>
                  <a:pt x="321" y="129"/>
                </a:cubicBezTo>
                <a:cubicBezTo>
                  <a:pt x="321" y="129"/>
                  <a:pt x="321" y="129"/>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2"/>
                  <a:pt x="321" y="132"/>
                </a:cubicBezTo>
                <a:cubicBezTo>
                  <a:pt x="321" y="132"/>
                  <a:pt x="321" y="132"/>
                  <a:pt x="321" y="132"/>
                </a:cubicBezTo>
                <a:cubicBezTo>
                  <a:pt x="321" y="132"/>
                  <a:pt x="321" y="132"/>
                  <a:pt x="321" y="132"/>
                </a:cubicBezTo>
                <a:cubicBezTo>
                  <a:pt x="321" y="132"/>
                  <a:pt x="321" y="132"/>
                  <a:pt x="321" y="132"/>
                </a:cubicBezTo>
                <a:cubicBezTo>
                  <a:pt x="321" y="132"/>
                  <a:pt x="321" y="132"/>
                  <a:pt x="321" y="132"/>
                </a:cubicBezTo>
                <a:cubicBezTo>
                  <a:pt x="321" y="132"/>
                  <a:pt x="322" y="132"/>
                  <a:pt x="322" y="132"/>
                </a:cubicBezTo>
                <a:cubicBezTo>
                  <a:pt x="322" y="132"/>
                  <a:pt x="322" y="132"/>
                  <a:pt x="322" y="132"/>
                </a:cubicBezTo>
                <a:cubicBezTo>
                  <a:pt x="322" y="133"/>
                  <a:pt x="322" y="133"/>
                  <a:pt x="322" y="133"/>
                </a:cubicBezTo>
                <a:cubicBezTo>
                  <a:pt x="322" y="133"/>
                  <a:pt x="322" y="133"/>
                  <a:pt x="322" y="133"/>
                </a:cubicBezTo>
                <a:cubicBezTo>
                  <a:pt x="323" y="142"/>
                  <a:pt x="323" y="151"/>
                  <a:pt x="323" y="160"/>
                </a:cubicBezTo>
                <a:cubicBezTo>
                  <a:pt x="323" y="259"/>
                  <a:pt x="250" y="345"/>
                  <a:pt x="149" y="359"/>
                </a:cubicBezTo>
                <a:cubicBezTo>
                  <a:pt x="140" y="360"/>
                  <a:pt x="131" y="361"/>
                  <a:pt x="122" y="361"/>
                </a:cubicBezTo>
                <a:cubicBezTo>
                  <a:pt x="112" y="361"/>
                  <a:pt x="102" y="360"/>
                  <a:pt x="93" y="359"/>
                </a:cubicBezTo>
                <a:cubicBezTo>
                  <a:pt x="93" y="359"/>
                  <a:pt x="93" y="359"/>
                  <a:pt x="93" y="359"/>
                </a:cubicBezTo>
                <a:cubicBezTo>
                  <a:pt x="93" y="359"/>
                  <a:pt x="93" y="359"/>
                  <a:pt x="93" y="359"/>
                </a:cubicBezTo>
                <a:cubicBezTo>
                  <a:pt x="93" y="359"/>
                  <a:pt x="93" y="359"/>
                  <a:pt x="93"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1" y="359"/>
                  <a:pt x="91" y="359"/>
                </a:cubicBezTo>
                <a:cubicBezTo>
                  <a:pt x="91" y="359"/>
                  <a:pt x="91" y="359"/>
                  <a:pt x="91" y="359"/>
                </a:cubicBezTo>
                <a:cubicBezTo>
                  <a:pt x="91" y="359"/>
                  <a:pt x="91" y="359"/>
                  <a:pt x="91" y="359"/>
                </a:cubicBezTo>
                <a:cubicBezTo>
                  <a:pt x="91" y="359"/>
                  <a:pt x="91" y="359"/>
                  <a:pt x="91" y="359"/>
                </a:cubicBezTo>
                <a:cubicBezTo>
                  <a:pt x="58" y="353"/>
                  <a:pt x="27" y="340"/>
                  <a:pt x="0" y="320"/>
                </a:cubicBezTo>
                <a:cubicBezTo>
                  <a:pt x="37" y="354"/>
                  <a:pt x="86" y="374"/>
                  <a:pt x="138" y="374"/>
                </a:cubicBezTo>
                <a:cubicBezTo>
                  <a:pt x="147" y="374"/>
                  <a:pt x="156" y="374"/>
                  <a:pt x="165" y="372"/>
                </a:cubicBezTo>
                <a:cubicBezTo>
                  <a:pt x="276" y="357"/>
                  <a:pt x="354" y="256"/>
                  <a:pt x="339" y="145"/>
                </a:cubicBezTo>
                <a:cubicBezTo>
                  <a:pt x="330" y="82"/>
                  <a:pt x="294" y="30"/>
                  <a:pt x="244" y="0"/>
                </a:cubicBezTo>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19" name="Freeform 25">
            <a:extLst>
              <a:ext uri="{FF2B5EF4-FFF2-40B4-BE49-F238E27FC236}">
                <a16:creationId xmlns:a16="http://schemas.microsoft.com/office/drawing/2014/main" id="{9AEBB3CC-E1B2-4D60-9539-392CF9818A39}"/>
              </a:ext>
            </a:extLst>
          </p:cNvPr>
          <p:cNvSpPr>
            <a:spLocks noEditPoints="1"/>
          </p:cNvSpPr>
          <p:nvPr/>
        </p:nvSpPr>
        <p:spPr bwMode="auto">
          <a:xfrm rot="19589649">
            <a:off x="3775756" y="2353222"/>
            <a:ext cx="517479" cy="575630"/>
          </a:xfrm>
          <a:custGeom>
            <a:avLst/>
            <a:gdLst>
              <a:gd name="T0" fmla="*/ 2 w 232"/>
              <a:gd name="T1" fmla="*/ 246 h 248"/>
              <a:gd name="T2" fmla="*/ 1 w 232"/>
              <a:gd name="T3" fmla="*/ 246 h 248"/>
              <a:gd name="T4" fmla="*/ 1 w 232"/>
              <a:gd name="T5" fmla="*/ 246 h 248"/>
              <a:gd name="T6" fmla="*/ 1 w 232"/>
              <a:gd name="T7" fmla="*/ 246 h 248"/>
              <a:gd name="T8" fmla="*/ 1 w 232"/>
              <a:gd name="T9" fmla="*/ 246 h 248"/>
              <a:gd name="T10" fmla="*/ 0 w 232"/>
              <a:gd name="T11" fmla="*/ 246 h 248"/>
              <a:gd name="T12" fmla="*/ 0 w 232"/>
              <a:gd name="T13" fmla="*/ 246 h 248"/>
              <a:gd name="T14" fmla="*/ 31 w 232"/>
              <a:gd name="T15" fmla="*/ 248 h 248"/>
              <a:gd name="T16" fmla="*/ 58 w 232"/>
              <a:gd name="T17" fmla="*/ 246 h 248"/>
              <a:gd name="T18" fmla="*/ 231 w 232"/>
              <a:gd name="T19" fmla="*/ 20 h 248"/>
              <a:gd name="T20" fmla="*/ 231 w 232"/>
              <a:gd name="T21" fmla="*/ 19 h 248"/>
              <a:gd name="T22" fmla="*/ 230 w 232"/>
              <a:gd name="T23" fmla="*/ 19 h 248"/>
              <a:gd name="T24" fmla="*/ 230 w 232"/>
              <a:gd name="T25" fmla="*/ 19 h 248"/>
              <a:gd name="T26" fmla="*/ 230 w 232"/>
              <a:gd name="T27" fmla="*/ 18 h 248"/>
              <a:gd name="T28" fmla="*/ 230 w 232"/>
              <a:gd name="T29" fmla="*/ 18 h 248"/>
              <a:gd name="T30" fmla="*/ 230 w 232"/>
              <a:gd name="T31" fmla="*/ 18 h 248"/>
              <a:gd name="T32" fmla="*/ 230 w 232"/>
              <a:gd name="T33" fmla="*/ 17 h 248"/>
              <a:gd name="T34" fmla="*/ 230 w 232"/>
              <a:gd name="T35" fmla="*/ 17 h 248"/>
              <a:gd name="T36" fmla="*/ 230 w 232"/>
              <a:gd name="T37" fmla="*/ 17 h 248"/>
              <a:gd name="T38" fmla="*/ 230 w 232"/>
              <a:gd name="T39" fmla="*/ 17 h 248"/>
              <a:gd name="T40" fmla="*/ 230 w 232"/>
              <a:gd name="T41" fmla="*/ 16 h 248"/>
              <a:gd name="T42" fmla="*/ 230 w 232"/>
              <a:gd name="T43" fmla="*/ 16 h 248"/>
              <a:gd name="T44" fmla="*/ 230 w 232"/>
              <a:gd name="T45" fmla="*/ 15 h 248"/>
              <a:gd name="T46" fmla="*/ 230 w 232"/>
              <a:gd name="T47" fmla="*/ 15 h 248"/>
              <a:gd name="T48" fmla="*/ 230 w 232"/>
              <a:gd name="T49" fmla="*/ 15 h 248"/>
              <a:gd name="T50" fmla="*/ 230 w 232"/>
              <a:gd name="T51" fmla="*/ 14 h 248"/>
              <a:gd name="T52" fmla="*/ 230 w 232"/>
              <a:gd name="T53" fmla="*/ 14 h 248"/>
              <a:gd name="T54" fmla="*/ 230 w 232"/>
              <a:gd name="T55" fmla="*/ 14 h 248"/>
              <a:gd name="T56" fmla="*/ 230 w 232"/>
              <a:gd name="T57" fmla="*/ 13 h 248"/>
              <a:gd name="T58" fmla="*/ 230 w 232"/>
              <a:gd name="T59" fmla="*/ 13 h 248"/>
              <a:gd name="T60" fmla="*/ 229 w 232"/>
              <a:gd name="T61" fmla="*/ 13 h 248"/>
              <a:gd name="T62" fmla="*/ 229 w 232"/>
              <a:gd name="T63" fmla="*/ 12 h 248"/>
              <a:gd name="T64" fmla="*/ 229 w 232"/>
              <a:gd name="T65" fmla="*/ 12 h 248"/>
              <a:gd name="T66" fmla="*/ 229 w 232"/>
              <a:gd name="T67" fmla="*/ 12 h 248"/>
              <a:gd name="T68" fmla="*/ 229 w 232"/>
              <a:gd name="T69" fmla="*/ 11 h 248"/>
              <a:gd name="T70" fmla="*/ 229 w 232"/>
              <a:gd name="T71" fmla="*/ 11 h 248"/>
              <a:gd name="T72" fmla="*/ 229 w 232"/>
              <a:gd name="T73" fmla="*/ 11 h 248"/>
              <a:gd name="T74" fmla="*/ 229 w 232"/>
              <a:gd name="T75" fmla="*/ 10 h 248"/>
              <a:gd name="T76" fmla="*/ 229 w 232"/>
              <a:gd name="T77" fmla="*/ 10 h 248"/>
              <a:gd name="T78" fmla="*/ 229 w 232"/>
              <a:gd name="T79" fmla="*/ 10 h 248"/>
              <a:gd name="T80" fmla="*/ 229 w 232"/>
              <a:gd name="T81" fmla="*/ 10 h 248"/>
              <a:gd name="T82" fmla="*/ 229 w 232"/>
              <a:gd name="T83" fmla="*/ 9 h 248"/>
              <a:gd name="T84" fmla="*/ 229 w 232"/>
              <a:gd name="T85" fmla="*/ 9 h 248"/>
              <a:gd name="T86" fmla="*/ 229 w 232"/>
              <a:gd name="T87" fmla="*/ 8 h 248"/>
              <a:gd name="T88" fmla="*/ 229 w 232"/>
              <a:gd name="T89" fmla="*/ 8 h 248"/>
              <a:gd name="T90" fmla="*/ 229 w 232"/>
              <a:gd name="T91" fmla="*/ 8 h 248"/>
              <a:gd name="T92" fmla="*/ 229 w 232"/>
              <a:gd name="T93" fmla="*/ 8 h 248"/>
              <a:gd name="T94" fmla="*/ 228 w 232"/>
              <a:gd name="T95" fmla="*/ 7 h 248"/>
              <a:gd name="T96" fmla="*/ 228 w 232"/>
              <a:gd name="T97" fmla="*/ 7 h 248"/>
              <a:gd name="T98" fmla="*/ 228 w 232"/>
              <a:gd name="T99" fmla="*/ 7 h 248"/>
              <a:gd name="T100" fmla="*/ 228 w 232"/>
              <a:gd name="T101" fmla="*/ 6 h 248"/>
              <a:gd name="T102" fmla="*/ 228 w 232"/>
              <a:gd name="T103" fmla="*/ 5 h 248"/>
              <a:gd name="T104" fmla="*/ 228 w 232"/>
              <a:gd name="T105" fmla="*/ 5 h 248"/>
              <a:gd name="T106" fmla="*/ 228 w 232"/>
              <a:gd name="T107" fmla="*/ 5 h 248"/>
              <a:gd name="T108" fmla="*/ 228 w 232"/>
              <a:gd name="T109" fmla="*/ 4 h 248"/>
              <a:gd name="T110" fmla="*/ 228 w 232"/>
              <a:gd name="T111" fmla="*/ 4 h 248"/>
              <a:gd name="T112" fmla="*/ 228 w 232"/>
              <a:gd name="T113" fmla="*/ 4 h 248"/>
              <a:gd name="T114" fmla="*/ 228 w 232"/>
              <a:gd name="T115" fmla="*/ 4 h 248"/>
              <a:gd name="T116" fmla="*/ 228 w 232"/>
              <a:gd name="T117" fmla="*/ 3 h 248"/>
              <a:gd name="T118" fmla="*/ 227 w 232"/>
              <a:gd name="T119" fmla="*/ 1 h 248"/>
              <a:gd name="T120" fmla="*/ 227 w 232"/>
              <a:gd name="T121" fmla="*/ 1 h 248"/>
              <a:gd name="T122" fmla="*/ 227 w 232"/>
              <a:gd name="T123" fmla="*/ 1 h 248"/>
              <a:gd name="T124" fmla="*/ 227 w 232"/>
              <a:gd name="T12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248">
                <a:moveTo>
                  <a:pt x="2" y="246"/>
                </a:moveTo>
                <a:cubicBezTo>
                  <a:pt x="2" y="246"/>
                  <a:pt x="2" y="246"/>
                  <a:pt x="2" y="246"/>
                </a:cubicBezTo>
                <a:cubicBezTo>
                  <a:pt x="2" y="246"/>
                  <a:pt x="2" y="246"/>
                  <a:pt x="2" y="246"/>
                </a:cubicBezTo>
                <a:moveTo>
                  <a:pt x="1" y="246"/>
                </a:moveTo>
                <a:cubicBezTo>
                  <a:pt x="1" y="246"/>
                  <a:pt x="1" y="246"/>
                  <a:pt x="2"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0" y="246"/>
                </a:moveTo>
                <a:cubicBezTo>
                  <a:pt x="0" y="246"/>
                  <a:pt x="0" y="246"/>
                  <a:pt x="0" y="246"/>
                </a:cubicBezTo>
                <a:cubicBezTo>
                  <a:pt x="0" y="246"/>
                  <a:pt x="0" y="246"/>
                  <a:pt x="0" y="246"/>
                </a:cubicBezTo>
                <a:moveTo>
                  <a:pt x="0" y="246"/>
                </a:moveTo>
                <a:cubicBezTo>
                  <a:pt x="0" y="246"/>
                  <a:pt x="0" y="246"/>
                  <a:pt x="0" y="246"/>
                </a:cubicBezTo>
                <a:cubicBezTo>
                  <a:pt x="0" y="246"/>
                  <a:pt x="0" y="246"/>
                  <a:pt x="0" y="246"/>
                </a:cubicBezTo>
                <a:moveTo>
                  <a:pt x="232" y="47"/>
                </a:moveTo>
                <a:cubicBezTo>
                  <a:pt x="232" y="146"/>
                  <a:pt x="159" y="232"/>
                  <a:pt x="58" y="246"/>
                </a:cubicBezTo>
                <a:cubicBezTo>
                  <a:pt x="49" y="247"/>
                  <a:pt x="40" y="248"/>
                  <a:pt x="31" y="248"/>
                </a:cubicBezTo>
                <a:cubicBezTo>
                  <a:pt x="21" y="248"/>
                  <a:pt x="11" y="247"/>
                  <a:pt x="2" y="246"/>
                </a:cubicBezTo>
                <a:cubicBezTo>
                  <a:pt x="11" y="247"/>
                  <a:pt x="21" y="248"/>
                  <a:pt x="31" y="248"/>
                </a:cubicBezTo>
                <a:cubicBezTo>
                  <a:pt x="40" y="248"/>
                  <a:pt x="49" y="247"/>
                  <a:pt x="58" y="246"/>
                </a:cubicBezTo>
                <a:cubicBezTo>
                  <a:pt x="159" y="232"/>
                  <a:pt x="232" y="146"/>
                  <a:pt x="232" y="47"/>
                </a:cubicBezTo>
                <a:moveTo>
                  <a:pt x="231" y="19"/>
                </a:moveTo>
                <a:cubicBezTo>
                  <a:pt x="231" y="20"/>
                  <a:pt x="231" y="20"/>
                  <a:pt x="231" y="20"/>
                </a:cubicBezTo>
                <a:cubicBezTo>
                  <a:pt x="231" y="20"/>
                  <a:pt x="231" y="20"/>
                  <a:pt x="231" y="19"/>
                </a:cubicBezTo>
                <a:moveTo>
                  <a:pt x="230" y="19"/>
                </a:moveTo>
                <a:cubicBezTo>
                  <a:pt x="230" y="19"/>
                  <a:pt x="231" y="19"/>
                  <a:pt x="231" y="19"/>
                </a:cubicBezTo>
                <a:cubicBezTo>
                  <a:pt x="231" y="19"/>
                  <a:pt x="230" y="19"/>
                  <a:pt x="230" y="19"/>
                </a:cubicBezTo>
                <a:moveTo>
                  <a:pt x="230" y="19"/>
                </a:moveTo>
                <a:cubicBezTo>
                  <a:pt x="230" y="19"/>
                  <a:pt x="230" y="19"/>
                  <a:pt x="230" y="19"/>
                </a:cubicBezTo>
                <a:cubicBezTo>
                  <a:pt x="230" y="19"/>
                  <a:pt x="230" y="19"/>
                  <a:pt x="230" y="19"/>
                </a:cubicBezTo>
                <a:moveTo>
                  <a:pt x="230" y="19"/>
                </a:moveTo>
                <a:cubicBezTo>
                  <a:pt x="230" y="19"/>
                  <a:pt x="230" y="19"/>
                  <a:pt x="230" y="19"/>
                </a:cubicBezTo>
                <a:cubicBezTo>
                  <a:pt x="230" y="19"/>
                  <a:pt x="230" y="19"/>
                  <a:pt x="230" y="19"/>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6"/>
                </a:moveTo>
                <a:cubicBezTo>
                  <a:pt x="230" y="16"/>
                  <a:pt x="230" y="16"/>
                  <a:pt x="230" y="17"/>
                </a:cubicBezTo>
                <a:cubicBezTo>
                  <a:pt x="230" y="16"/>
                  <a:pt x="230" y="16"/>
                  <a:pt x="230" y="16"/>
                </a:cubicBezTo>
                <a:moveTo>
                  <a:pt x="230" y="16"/>
                </a:moveTo>
                <a:cubicBezTo>
                  <a:pt x="230" y="16"/>
                  <a:pt x="230" y="16"/>
                  <a:pt x="230" y="16"/>
                </a:cubicBezTo>
                <a:cubicBezTo>
                  <a:pt x="230" y="16"/>
                  <a:pt x="230" y="16"/>
                  <a:pt x="230" y="16"/>
                </a:cubicBezTo>
                <a:moveTo>
                  <a:pt x="230" y="15"/>
                </a:moveTo>
                <a:cubicBezTo>
                  <a:pt x="230" y="15"/>
                  <a:pt x="230" y="15"/>
                  <a:pt x="230" y="16"/>
                </a:cubicBezTo>
                <a:cubicBezTo>
                  <a:pt x="230" y="15"/>
                  <a:pt x="230" y="15"/>
                  <a:pt x="230" y="15"/>
                </a:cubicBezTo>
                <a:moveTo>
                  <a:pt x="230" y="15"/>
                </a:moveTo>
                <a:cubicBezTo>
                  <a:pt x="230" y="15"/>
                  <a:pt x="230" y="15"/>
                  <a:pt x="230" y="15"/>
                </a:cubicBezTo>
                <a:cubicBezTo>
                  <a:pt x="230" y="15"/>
                  <a:pt x="230" y="15"/>
                  <a:pt x="230" y="15"/>
                </a:cubicBezTo>
                <a:moveTo>
                  <a:pt x="230" y="15"/>
                </a:moveTo>
                <a:cubicBezTo>
                  <a:pt x="230" y="15"/>
                  <a:pt x="230" y="15"/>
                  <a:pt x="230" y="15"/>
                </a:cubicBezTo>
                <a:cubicBezTo>
                  <a:pt x="230" y="15"/>
                  <a:pt x="230" y="15"/>
                  <a:pt x="230" y="15"/>
                </a:cubicBezTo>
                <a:moveTo>
                  <a:pt x="230" y="14"/>
                </a:moveTo>
                <a:cubicBezTo>
                  <a:pt x="230" y="14"/>
                  <a:pt x="230" y="15"/>
                  <a:pt x="230" y="15"/>
                </a:cubicBezTo>
                <a:cubicBezTo>
                  <a:pt x="230" y="15"/>
                  <a:pt x="230" y="14"/>
                  <a:pt x="230" y="14"/>
                </a:cubicBezTo>
                <a:moveTo>
                  <a:pt x="230" y="14"/>
                </a:moveTo>
                <a:cubicBezTo>
                  <a:pt x="230" y="14"/>
                  <a:pt x="230" y="14"/>
                  <a:pt x="230" y="14"/>
                </a:cubicBezTo>
                <a:cubicBezTo>
                  <a:pt x="230" y="14"/>
                  <a:pt x="230" y="14"/>
                  <a:pt x="230" y="14"/>
                </a:cubicBezTo>
                <a:moveTo>
                  <a:pt x="230" y="14"/>
                </a:moveTo>
                <a:cubicBezTo>
                  <a:pt x="230" y="14"/>
                  <a:pt x="230" y="14"/>
                  <a:pt x="230" y="14"/>
                </a:cubicBezTo>
                <a:cubicBezTo>
                  <a:pt x="230" y="14"/>
                  <a:pt x="230" y="14"/>
                  <a:pt x="230" y="14"/>
                </a:cubicBezTo>
                <a:moveTo>
                  <a:pt x="230" y="13"/>
                </a:moveTo>
                <a:cubicBezTo>
                  <a:pt x="230" y="14"/>
                  <a:pt x="230" y="14"/>
                  <a:pt x="230" y="14"/>
                </a:cubicBezTo>
                <a:cubicBezTo>
                  <a:pt x="230" y="14"/>
                  <a:pt x="230" y="14"/>
                  <a:pt x="230" y="13"/>
                </a:cubicBezTo>
                <a:moveTo>
                  <a:pt x="230" y="13"/>
                </a:moveTo>
                <a:cubicBezTo>
                  <a:pt x="230" y="13"/>
                  <a:pt x="230" y="13"/>
                  <a:pt x="230" y="13"/>
                </a:cubicBezTo>
                <a:cubicBezTo>
                  <a:pt x="230" y="13"/>
                  <a:pt x="230" y="13"/>
                  <a:pt x="230" y="13"/>
                </a:cubicBezTo>
                <a:moveTo>
                  <a:pt x="229" y="13"/>
                </a:moveTo>
                <a:cubicBezTo>
                  <a:pt x="230" y="13"/>
                  <a:pt x="230" y="13"/>
                  <a:pt x="230" y="13"/>
                </a:cubicBezTo>
                <a:cubicBezTo>
                  <a:pt x="230" y="13"/>
                  <a:pt x="230" y="13"/>
                  <a:pt x="229" y="13"/>
                </a:cubicBezTo>
                <a:moveTo>
                  <a:pt x="229" y="12"/>
                </a:moveTo>
                <a:cubicBezTo>
                  <a:pt x="229" y="13"/>
                  <a:pt x="229" y="13"/>
                  <a:pt x="229" y="13"/>
                </a:cubicBezTo>
                <a:cubicBezTo>
                  <a:pt x="229" y="13"/>
                  <a:pt x="229" y="13"/>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9"/>
                </a:moveTo>
                <a:cubicBezTo>
                  <a:pt x="229" y="9"/>
                  <a:pt x="229" y="10"/>
                  <a:pt x="229" y="10"/>
                </a:cubicBezTo>
                <a:cubicBezTo>
                  <a:pt x="229" y="10"/>
                  <a:pt x="229" y="9"/>
                  <a:pt x="229" y="9"/>
                </a:cubicBezTo>
                <a:moveTo>
                  <a:pt x="229" y="9"/>
                </a:moveTo>
                <a:cubicBezTo>
                  <a:pt x="229" y="9"/>
                  <a:pt x="229" y="9"/>
                  <a:pt x="229" y="9"/>
                </a:cubicBezTo>
                <a:cubicBezTo>
                  <a:pt x="229" y="9"/>
                  <a:pt x="229" y="9"/>
                  <a:pt x="229" y="9"/>
                </a:cubicBezTo>
                <a:moveTo>
                  <a:pt x="229" y="9"/>
                </a:moveTo>
                <a:cubicBezTo>
                  <a:pt x="229" y="9"/>
                  <a:pt x="229" y="9"/>
                  <a:pt x="229" y="9"/>
                </a:cubicBezTo>
                <a:cubicBezTo>
                  <a:pt x="229" y="9"/>
                  <a:pt x="229" y="9"/>
                  <a:pt x="229" y="9"/>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7"/>
                </a:moveTo>
                <a:cubicBezTo>
                  <a:pt x="229" y="7"/>
                  <a:pt x="229" y="8"/>
                  <a:pt x="229" y="8"/>
                </a:cubicBezTo>
                <a:cubicBezTo>
                  <a:pt x="229" y="8"/>
                  <a:pt x="229" y="7"/>
                  <a:pt x="229"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6"/>
                </a:moveTo>
                <a:cubicBezTo>
                  <a:pt x="228" y="6"/>
                  <a:pt x="228" y="6"/>
                  <a:pt x="228" y="6"/>
                </a:cubicBezTo>
                <a:cubicBezTo>
                  <a:pt x="228" y="6"/>
                  <a:pt x="228" y="6"/>
                  <a:pt x="228" y="6"/>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3"/>
                </a:moveTo>
                <a:cubicBezTo>
                  <a:pt x="228" y="3"/>
                  <a:pt x="228" y="3"/>
                  <a:pt x="228" y="4"/>
                </a:cubicBezTo>
                <a:cubicBezTo>
                  <a:pt x="228" y="3"/>
                  <a:pt x="228" y="3"/>
                  <a:pt x="228" y="3"/>
                </a:cubicBezTo>
                <a:moveTo>
                  <a:pt x="228" y="3"/>
                </a:moveTo>
                <a:cubicBezTo>
                  <a:pt x="228" y="3"/>
                  <a:pt x="228" y="3"/>
                  <a:pt x="228" y="3"/>
                </a:cubicBezTo>
                <a:cubicBezTo>
                  <a:pt x="228" y="3"/>
                  <a:pt x="228" y="3"/>
                  <a:pt x="228" y="3"/>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0"/>
                </a:moveTo>
                <a:cubicBezTo>
                  <a:pt x="227" y="0"/>
                  <a:pt x="227" y="0"/>
                  <a:pt x="227" y="0"/>
                </a:cubicBezTo>
                <a:cubicBezTo>
                  <a:pt x="227" y="0"/>
                  <a:pt x="227" y="0"/>
                  <a:pt x="227" y="0"/>
                </a:cubicBezTo>
              </a:path>
            </a:pathLst>
          </a:custGeom>
          <a:solidFill>
            <a:srgbClr val="D5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20" name="Rounded Rectangle 30">
            <a:extLst>
              <a:ext uri="{FF2B5EF4-FFF2-40B4-BE49-F238E27FC236}">
                <a16:creationId xmlns:a16="http://schemas.microsoft.com/office/drawing/2014/main" id="{AC17925C-723D-43FB-AE34-6E916CED3437}"/>
              </a:ext>
            </a:extLst>
          </p:cNvPr>
          <p:cNvSpPr/>
          <p:nvPr/>
        </p:nvSpPr>
        <p:spPr>
          <a:xfrm>
            <a:off x="3981547" y="4279149"/>
            <a:ext cx="7187041" cy="1029806"/>
          </a:xfrm>
          <a:prstGeom prst="round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r>
              <a:rPr lang="en-IN" sz="1600" dirty="0">
                <a:solidFill>
                  <a:schemeClr val="tx1"/>
                </a:solidFill>
              </a:rPr>
              <a:t>Capacity planning </a:t>
            </a:r>
          </a:p>
        </p:txBody>
      </p:sp>
      <p:sp>
        <p:nvSpPr>
          <p:cNvPr id="221" name="Freeform 20">
            <a:extLst>
              <a:ext uri="{FF2B5EF4-FFF2-40B4-BE49-F238E27FC236}">
                <a16:creationId xmlns:a16="http://schemas.microsoft.com/office/drawing/2014/main" id="{4414DC00-4BA7-4A19-BA59-3FD69C370F9D}"/>
              </a:ext>
            </a:extLst>
          </p:cNvPr>
          <p:cNvSpPr>
            <a:spLocks noEditPoints="1"/>
          </p:cNvSpPr>
          <p:nvPr/>
        </p:nvSpPr>
        <p:spPr bwMode="auto">
          <a:xfrm rot="19589649">
            <a:off x="3375973" y="4375144"/>
            <a:ext cx="805083" cy="836109"/>
          </a:xfrm>
          <a:custGeom>
            <a:avLst/>
            <a:gdLst>
              <a:gd name="T0" fmla="*/ 158 w 361"/>
              <a:gd name="T1" fmla="*/ 13 h 361"/>
              <a:gd name="T2" fmla="*/ 12 w 361"/>
              <a:gd name="T3" fmla="*/ 203 h 361"/>
              <a:gd name="T4" fmla="*/ 203 w 361"/>
              <a:gd name="T5" fmla="*/ 349 h 361"/>
              <a:gd name="T6" fmla="*/ 348 w 361"/>
              <a:gd name="T7" fmla="*/ 158 h 361"/>
              <a:gd name="T8" fmla="*/ 158 w 361"/>
              <a:gd name="T9" fmla="*/ 13 h 361"/>
              <a:gd name="T10" fmla="*/ 199 w 361"/>
              <a:gd name="T11" fmla="*/ 317 h 361"/>
              <a:gd name="T12" fmla="*/ 44 w 361"/>
              <a:gd name="T13" fmla="*/ 199 h 361"/>
              <a:gd name="T14" fmla="*/ 162 w 361"/>
              <a:gd name="T15" fmla="*/ 45 h 361"/>
              <a:gd name="T16" fmla="*/ 316 w 361"/>
              <a:gd name="T17" fmla="*/ 162 h 361"/>
              <a:gd name="T18" fmla="*/ 199 w 361"/>
              <a:gd name="T19" fmla="*/ 317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361">
                <a:moveTo>
                  <a:pt x="158" y="13"/>
                </a:moveTo>
                <a:cubicBezTo>
                  <a:pt x="65" y="25"/>
                  <a:pt x="0" y="111"/>
                  <a:pt x="12" y="203"/>
                </a:cubicBezTo>
                <a:cubicBezTo>
                  <a:pt x="25" y="296"/>
                  <a:pt x="110" y="361"/>
                  <a:pt x="203" y="349"/>
                </a:cubicBezTo>
                <a:cubicBezTo>
                  <a:pt x="296" y="336"/>
                  <a:pt x="361" y="251"/>
                  <a:pt x="348" y="158"/>
                </a:cubicBezTo>
                <a:cubicBezTo>
                  <a:pt x="336" y="65"/>
                  <a:pt x="250" y="0"/>
                  <a:pt x="158" y="13"/>
                </a:cubicBezTo>
                <a:close/>
                <a:moveTo>
                  <a:pt x="199" y="317"/>
                </a:moveTo>
                <a:cubicBezTo>
                  <a:pt x="123" y="327"/>
                  <a:pt x="54" y="274"/>
                  <a:pt x="44" y="199"/>
                </a:cubicBezTo>
                <a:cubicBezTo>
                  <a:pt x="34" y="124"/>
                  <a:pt x="87" y="55"/>
                  <a:pt x="162" y="45"/>
                </a:cubicBezTo>
                <a:cubicBezTo>
                  <a:pt x="237" y="35"/>
                  <a:pt x="306" y="87"/>
                  <a:pt x="316" y="162"/>
                </a:cubicBezTo>
                <a:cubicBezTo>
                  <a:pt x="326" y="237"/>
                  <a:pt x="274" y="307"/>
                  <a:pt x="199" y="317"/>
                </a:cubicBezTo>
                <a:close/>
              </a:path>
            </a:pathLst>
          </a:custGeom>
          <a:solidFill>
            <a:srgbClr val="998C85">
              <a:lumMod val="20000"/>
              <a:lumOff val="80000"/>
            </a:srgbClr>
          </a:solidFill>
          <a:ln w="6350">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22" name="Freeform 21">
            <a:extLst>
              <a:ext uri="{FF2B5EF4-FFF2-40B4-BE49-F238E27FC236}">
                <a16:creationId xmlns:a16="http://schemas.microsoft.com/office/drawing/2014/main" id="{E3708DFF-9C16-4A9D-8B10-86058A6E83D9}"/>
              </a:ext>
            </a:extLst>
          </p:cNvPr>
          <p:cNvSpPr>
            <a:spLocks/>
          </p:cNvSpPr>
          <p:nvPr/>
        </p:nvSpPr>
        <p:spPr bwMode="auto">
          <a:xfrm rot="19589649">
            <a:off x="3453018" y="4455930"/>
            <a:ext cx="650458" cy="677463"/>
          </a:xfrm>
          <a:custGeom>
            <a:avLst/>
            <a:gdLst>
              <a:gd name="T0" fmla="*/ 10 w 292"/>
              <a:gd name="T1" fmla="*/ 164 h 292"/>
              <a:gd name="T2" fmla="*/ 128 w 292"/>
              <a:gd name="T3" fmla="*/ 10 h 292"/>
              <a:gd name="T4" fmla="*/ 282 w 292"/>
              <a:gd name="T5" fmla="*/ 127 h 292"/>
              <a:gd name="T6" fmla="*/ 165 w 292"/>
              <a:gd name="T7" fmla="*/ 282 h 292"/>
              <a:gd name="T8" fmla="*/ 10 w 292"/>
              <a:gd name="T9" fmla="*/ 164 h 292"/>
            </a:gdLst>
            <a:ahLst/>
            <a:cxnLst>
              <a:cxn ang="0">
                <a:pos x="T0" y="T1"/>
              </a:cxn>
              <a:cxn ang="0">
                <a:pos x="T2" y="T3"/>
              </a:cxn>
              <a:cxn ang="0">
                <a:pos x="T4" y="T5"/>
              </a:cxn>
              <a:cxn ang="0">
                <a:pos x="T6" y="T7"/>
              </a:cxn>
              <a:cxn ang="0">
                <a:pos x="T8" y="T9"/>
              </a:cxn>
            </a:cxnLst>
            <a:rect l="0" t="0" r="r" b="b"/>
            <a:pathLst>
              <a:path w="292" h="292">
                <a:moveTo>
                  <a:pt x="10" y="164"/>
                </a:moveTo>
                <a:cubicBezTo>
                  <a:pt x="0" y="89"/>
                  <a:pt x="53" y="20"/>
                  <a:pt x="128" y="10"/>
                </a:cubicBezTo>
                <a:cubicBezTo>
                  <a:pt x="203" y="0"/>
                  <a:pt x="272" y="52"/>
                  <a:pt x="282" y="127"/>
                </a:cubicBezTo>
                <a:cubicBezTo>
                  <a:pt x="292" y="202"/>
                  <a:pt x="240" y="272"/>
                  <a:pt x="165" y="282"/>
                </a:cubicBezTo>
                <a:cubicBezTo>
                  <a:pt x="89" y="292"/>
                  <a:pt x="20" y="239"/>
                  <a:pt x="10" y="16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defTabSz="957756"/>
            <a:endParaRPr lang="fr-FR" sz="1400" kern="0" dirty="0">
              <a:solidFill>
                <a:srgbClr val="263147"/>
              </a:solidFill>
              <a:latin typeface="Verdana"/>
            </a:endParaRPr>
          </a:p>
        </p:txBody>
      </p:sp>
      <p:sp>
        <p:nvSpPr>
          <p:cNvPr id="223" name="Freeform 22">
            <a:extLst>
              <a:ext uri="{FF2B5EF4-FFF2-40B4-BE49-F238E27FC236}">
                <a16:creationId xmlns:a16="http://schemas.microsoft.com/office/drawing/2014/main" id="{E30B0E39-AD36-434B-A97D-35A6994DC3E2}"/>
              </a:ext>
            </a:extLst>
          </p:cNvPr>
          <p:cNvSpPr>
            <a:spLocks/>
          </p:cNvSpPr>
          <p:nvPr/>
        </p:nvSpPr>
        <p:spPr bwMode="auto">
          <a:xfrm rot="19589649">
            <a:off x="3446299" y="4503285"/>
            <a:ext cx="531911" cy="598140"/>
          </a:xfrm>
          <a:custGeom>
            <a:avLst/>
            <a:gdLst>
              <a:gd name="T0" fmla="*/ 30 w 239"/>
              <a:gd name="T1" fmla="*/ 175 h 258"/>
              <a:gd name="T2" fmla="*/ 148 w 239"/>
              <a:gd name="T3" fmla="*/ 21 h 258"/>
              <a:gd name="T4" fmla="*/ 239 w 239"/>
              <a:gd name="T5" fmla="*/ 41 h 258"/>
              <a:gd name="T6" fmla="*/ 128 w 239"/>
              <a:gd name="T7" fmla="*/ 6 h 258"/>
              <a:gd name="T8" fmla="*/ 10 w 239"/>
              <a:gd name="T9" fmla="*/ 160 h 258"/>
              <a:gd name="T10" fmla="*/ 73 w 239"/>
              <a:gd name="T11" fmla="*/ 258 h 258"/>
              <a:gd name="T12" fmla="*/ 30 w 239"/>
              <a:gd name="T13" fmla="*/ 175 h 258"/>
            </a:gdLst>
            <a:ahLst/>
            <a:cxnLst>
              <a:cxn ang="0">
                <a:pos x="T0" y="T1"/>
              </a:cxn>
              <a:cxn ang="0">
                <a:pos x="T2" y="T3"/>
              </a:cxn>
              <a:cxn ang="0">
                <a:pos x="T4" y="T5"/>
              </a:cxn>
              <a:cxn ang="0">
                <a:pos x="T6" y="T7"/>
              </a:cxn>
              <a:cxn ang="0">
                <a:pos x="T8" y="T9"/>
              </a:cxn>
              <a:cxn ang="0">
                <a:pos x="T10" y="T11"/>
              </a:cxn>
              <a:cxn ang="0">
                <a:pos x="T12" y="T13"/>
              </a:cxn>
            </a:cxnLst>
            <a:rect l="0" t="0" r="r" b="b"/>
            <a:pathLst>
              <a:path w="239" h="258">
                <a:moveTo>
                  <a:pt x="30" y="175"/>
                </a:moveTo>
                <a:cubicBezTo>
                  <a:pt x="20" y="100"/>
                  <a:pt x="72" y="31"/>
                  <a:pt x="148" y="21"/>
                </a:cubicBezTo>
                <a:cubicBezTo>
                  <a:pt x="181" y="16"/>
                  <a:pt x="213" y="24"/>
                  <a:pt x="239" y="41"/>
                </a:cubicBezTo>
                <a:cubicBezTo>
                  <a:pt x="210" y="14"/>
                  <a:pt x="170" y="0"/>
                  <a:pt x="128" y="6"/>
                </a:cubicBezTo>
                <a:cubicBezTo>
                  <a:pt x="53" y="16"/>
                  <a:pt x="0" y="85"/>
                  <a:pt x="10" y="160"/>
                </a:cubicBezTo>
                <a:cubicBezTo>
                  <a:pt x="16" y="202"/>
                  <a:pt x="40" y="237"/>
                  <a:pt x="73" y="258"/>
                </a:cubicBezTo>
                <a:cubicBezTo>
                  <a:pt x="50" y="237"/>
                  <a:pt x="34" y="208"/>
                  <a:pt x="30" y="175"/>
                </a:cubicBezTo>
                <a:close/>
              </a:path>
            </a:pathLst>
          </a:custGeom>
          <a:solidFill>
            <a:schemeClr val="accent3">
              <a:lumMod val="90000"/>
              <a:lumOff val="10000"/>
            </a:schemeClr>
          </a:solidFill>
          <a:ln>
            <a:noFill/>
          </a:ln>
        </p:spPr>
        <p:txBody>
          <a:bodyPr vert="horz" wrap="square" lIns="91440" tIns="45720" rIns="91440" bIns="45720" numCol="1" anchor="t" anchorCtr="0" compatLnSpc="1">
            <a:prstTxWarp prst="textNoShape">
              <a:avLst/>
            </a:prstTxWarp>
          </a:bodyPr>
          <a:lstStyle/>
          <a:p>
            <a:pPr defTabSz="957756"/>
            <a:endParaRPr lang="fr-FR" sz="1400" kern="0" dirty="0">
              <a:solidFill>
                <a:srgbClr val="263147"/>
              </a:solidFill>
              <a:latin typeface="Verdana"/>
            </a:endParaRPr>
          </a:p>
        </p:txBody>
      </p:sp>
      <p:sp>
        <p:nvSpPr>
          <p:cNvPr id="224" name="Freeform 24">
            <a:extLst>
              <a:ext uri="{FF2B5EF4-FFF2-40B4-BE49-F238E27FC236}">
                <a16:creationId xmlns:a16="http://schemas.microsoft.com/office/drawing/2014/main" id="{6B1D24DE-DEE1-4559-A1F7-82B0F825A23E}"/>
              </a:ext>
            </a:extLst>
          </p:cNvPr>
          <p:cNvSpPr>
            <a:spLocks/>
          </p:cNvSpPr>
          <p:nvPr/>
        </p:nvSpPr>
        <p:spPr bwMode="auto">
          <a:xfrm rot="19589649">
            <a:off x="3519909" y="4345920"/>
            <a:ext cx="789620" cy="867195"/>
          </a:xfrm>
          <a:custGeom>
            <a:avLst/>
            <a:gdLst>
              <a:gd name="T0" fmla="*/ 318 w 354"/>
              <a:gd name="T1" fmla="*/ 113 h 374"/>
              <a:gd name="T2" fmla="*/ 318 w 354"/>
              <a:gd name="T3" fmla="*/ 114 h 374"/>
              <a:gd name="T4" fmla="*/ 318 w 354"/>
              <a:gd name="T5" fmla="*/ 114 h 374"/>
              <a:gd name="T6" fmla="*/ 319 w 354"/>
              <a:gd name="T7" fmla="*/ 116 h 374"/>
              <a:gd name="T8" fmla="*/ 319 w 354"/>
              <a:gd name="T9" fmla="*/ 117 h 374"/>
              <a:gd name="T10" fmla="*/ 319 w 354"/>
              <a:gd name="T11" fmla="*/ 117 h 374"/>
              <a:gd name="T12" fmla="*/ 319 w 354"/>
              <a:gd name="T13" fmla="*/ 118 h 374"/>
              <a:gd name="T14" fmla="*/ 319 w 354"/>
              <a:gd name="T15" fmla="*/ 118 h 374"/>
              <a:gd name="T16" fmla="*/ 319 w 354"/>
              <a:gd name="T17" fmla="*/ 119 h 374"/>
              <a:gd name="T18" fmla="*/ 319 w 354"/>
              <a:gd name="T19" fmla="*/ 120 h 374"/>
              <a:gd name="T20" fmla="*/ 319 w 354"/>
              <a:gd name="T21" fmla="*/ 120 h 374"/>
              <a:gd name="T22" fmla="*/ 320 w 354"/>
              <a:gd name="T23" fmla="*/ 121 h 374"/>
              <a:gd name="T24" fmla="*/ 320 w 354"/>
              <a:gd name="T25" fmla="*/ 121 h 374"/>
              <a:gd name="T26" fmla="*/ 320 w 354"/>
              <a:gd name="T27" fmla="*/ 122 h 374"/>
              <a:gd name="T28" fmla="*/ 320 w 354"/>
              <a:gd name="T29" fmla="*/ 122 h 374"/>
              <a:gd name="T30" fmla="*/ 320 w 354"/>
              <a:gd name="T31" fmla="*/ 123 h 374"/>
              <a:gd name="T32" fmla="*/ 320 w 354"/>
              <a:gd name="T33" fmla="*/ 123 h 374"/>
              <a:gd name="T34" fmla="*/ 320 w 354"/>
              <a:gd name="T35" fmla="*/ 124 h 374"/>
              <a:gd name="T36" fmla="*/ 320 w 354"/>
              <a:gd name="T37" fmla="*/ 124 h 374"/>
              <a:gd name="T38" fmla="*/ 320 w 354"/>
              <a:gd name="T39" fmla="*/ 125 h 374"/>
              <a:gd name="T40" fmla="*/ 320 w 354"/>
              <a:gd name="T41" fmla="*/ 125 h 374"/>
              <a:gd name="T42" fmla="*/ 320 w 354"/>
              <a:gd name="T43" fmla="*/ 125 h 374"/>
              <a:gd name="T44" fmla="*/ 321 w 354"/>
              <a:gd name="T45" fmla="*/ 126 h 374"/>
              <a:gd name="T46" fmla="*/ 321 w 354"/>
              <a:gd name="T47" fmla="*/ 126 h 374"/>
              <a:gd name="T48" fmla="*/ 321 w 354"/>
              <a:gd name="T49" fmla="*/ 127 h 374"/>
              <a:gd name="T50" fmla="*/ 321 w 354"/>
              <a:gd name="T51" fmla="*/ 127 h 374"/>
              <a:gd name="T52" fmla="*/ 321 w 354"/>
              <a:gd name="T53" fmla="*/ 128 h 374"/>
              <a:gd name="T54" fmla="*/ 321 w 354"/>
              <a:gd name="T55" fmla="*/ 128 h 374"/>
              <a:gd name="T56" fmla="*/ 321 w 354"/>
              <a:gd name="T57" fmla="*/ 129 h 374"/>
              <a:gd name="T58" fmla="*/ 321 w 354"/>
              <a:gd name="T59" fmla="*/ 130 h 374"/>
              <a:gd name="T60" fmla="*/ 321 w 354"/>
              <a:gd name="T61" fmla="*/ 130 h 374"/>
              <a:gd name="T62" fmla="*/ 321 w 354"/>
              <a:gd name="T63" fmla="*/ 131 h 374"/>
              <a:gd name="T64" fmla="*/ 321 w 354"/>
              <a:gd name="T65" fmla="*/ 131 h 374"/>
              <a:gd name="T66" fmla="*/ 321 w 354"/>
              <a:gd name="T67" fmla="*/ 132 h 374"/>
              <a:gd name="T68" fmla="*/ 321 w 354"/>
              <a:gd name="T69" fmla="*/ 132 h 374"/>
              <a:gd name="T70" fmla="*/ 322 w 354"/>
              <a:gd name="T71" fmla="*/ 132 h 374"/>
              <a:gd name="T72" fmla="*/ 323 w 354"/>
              <a:gd name="T73" fmla="*/ 160 h 374"/>
              <a:gd name="T74" fmla="*/ 93 w 354"/>
              <a:gd name="T75" fmla="*/ 359 h 374"/>
              <a:gd name="T76" fmla="*/ 93 w 354"/>
              <a:gd name="T77" fmla="*/ 359 h 374"/>
              <a:gd name="T78" fmla="*/ 92 w 354"/>
              <a:gd name="T79" fmla="*/ 359 h 374"/>
              <a:gd name="T80" fmla="*/ 92 w 354"/>
              <a:gd name="T81" fmla="*/ 359 h 374"/>
              <a:gd name="T82" fmla="*/ 91 w 354"/>
              <a:gd name="T83" fmla="*/ 359 h 374"/>
              <a:gd name="T84" fmla="*/ 0 w 354"/>
              <a:gd name="T85" fmla="*/ 320 h 374"/>
              <a:gd name="T86" fmla="*/ 339 w 354"/>
              <a:gd name="T87" fmla="*/ 14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4" h="374">
                <a:moveTo>
                  <a:pt x="244" y="0"/>
                </a:moveTo>
                <a:cubicBezTo>
                  <a:pt x="280" y="27"/>
                  <a:pt x="307" y="67"/>
                  <a:pt x="318" y="113"/>
                </a:cubicBezTo>
                <a:cubicBezTo>
                  <a:pt x="318" y="113"/>
                  <a:pt x="318" y="113"/>
                  <a:pt x="318" y="113"/>
                </a:cubicBezTo>
                <a:cubicBezTo>
                  <a:pt x="318" y="113"/>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5"/>
                  <a:pt x="318" y="116"/>
                  <a:pt x="319" y="116"/>
                </a:cubicBezTo>
                <a:cubicBezTo>
                  <a:pt x="319" y="116"/>
                  <a:pt x="319" y="116"/>
                  <a:pt x="319" y="116"/>
                </a:cubicBezTo>
                <a:cubicBezTo>
                  <a:pt x="319" y="116"/>
                  <a:pt x="319" y="116"/>
                  <a:pt x="319" y="116"/>
                </a:cubicBezTo>
                <a:cubicBezTo>
                  <a:pt x="319" y="116"/>
                  <a:pt x="319" y="116"/>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9"/>
                  <a:pt x="319" y="119"/>
                  <a:pt x="319" y="119"/>
                </a:cubicBezTo>
                <a:cubicBezTo>
                  <a:pt x="319" y="119"/>
                  <a:pt x="319" y="119"/>
                  <a:pt x="319" y="119"/>
                </a:cubicBezTo>
                <a:cubicBezTo>
                  <a:pt x="319" y="119"/>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20" y="120"/>
                  <a:pt x="320" y="120"/>
                </a:cubicBezTo>
                <a:cubicBezTo>
                  <a:pt x="320" y="120"/>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6"/>
                  <a:pt x="320" y="126"/>
                  <a:pt x="320" y="126"/>
                </a:cubicBezTo>
                <a:cubicBezTo>
                  <a:pt x="320" y="126"/>
                  <a:pt x="320" y="126"/>
                  <a:pt x="320" y="126"/>
                </a:cubicBezTo>
                <a:cubicBezTo>
                  <a:pt x="321" y="126"/>
                  <a:pt x="321" y="126"/>
                  <a:pt x="321" y="126"/>
                </a:cubicBezTo>
                <a:cubicBezTo>
                  <a:pt x="321" y="126"/>
                  <a:pt x="321" y="126"/>
                  <a:pt x="321" y="126"/>
                </a:cubicBezTo>
                <a:cubicBezTo>
                  <a:pt x="321" y="126"/>
                  <a:pt x="321" y="126"/>
                  <a:pt x="321" y="126"/>
                </a:cubicBezTo>
                <a:cubicBezTo>
                  <a:pt x="321" y="126"/>
                  <a:pt x="321" y="126"/>
                  <a:pt x="321" y="126"/>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9"/>
                </a:cubicBezTo>
                <a:cubicBezTo>
                  <a:pt x="321" y="129"/>
                  <a:pt x="321" y="129"/>
                  <a:pt x="321" y="129"/>
                </a:cubicBezTo>
                <a:cubicBezTo>
                  <a:pt x="321" y="129"/>
                  <a:pt x="321" y="129"/>
                  <a:pt x="321" y="129"/>
                </a:cubicBezTo>
                <a:cubicBezTo>
                  <a:pt x="321" y="129"/>
                  <a:pt x="321" y="129"/>
                  <a:pt x="321" y="129"/>
                </a:cubicBezTo>
                <a:cubicBezTo>
                  <a:pt x="321" y="129"/>
                  <a:pt x="321" y="129"/>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2"/>
                  <a:pt x="321" y="132"/>
                </a:cubicBezTo>
                <a:cubicBezTo>
                  <a:pt x="321" y="132"/>
                  <a:pt x="321" y="132"/>
                  <a:pt x="321" y="132"/>
                </a:cubicBezTo>
                <a:cubicBezTo>
                  <a:pt x="321" y="132"/>
                  <a:pt x="321" y="132"/>
                  <a:pt x="321" y="132"/>
                </a:cubicBezTo>
                <a:cubicBezTo>
                  <a:pt x="321" y="132"/>
                  <a:pt x="321" y="132"/>
                  <a:pt x="321" y="132"/>
                </a:cubicBezTo>
                <a:cubicBezTo>
                  <a:pt x="321" y="132"/>
                  <a:pt x="321" y="132"/>
                  <a:pt x="321" y="132"/>
                </a:cubicBezTo>
                <a:cubicBezTo>
                  <a:pt x="321" y="132"/>
                  <a:pt x="322" y="132"/>
                  <a:pt x="322" y="132"/>
                </a:cubicBezTo>
                <a:cubicBezTo>
                  <a:pt x="322" y="132"/>
                  <a:pt x="322" y="132"/>
                  <a:pt x="322" y="132"/>
                </a:cubicBezTo>
                <a:cubicBezTo>
                  <a:pt x="322" y="133"/>
                  <a:pt x="322" y="133"/>
                  <a:pt x="322" y="133"/>
                </a:cubicBezTo>
                <a:cubicBezTo>
                  <a:pt x="322" y="133"/>
                  <a:pt x="322" y="133"/>
                  <a:pt x="322" y="133"/>
                </a:cubicBezTo>
                <a:cubicBezTo>
                  <a:pt x="323" y="142"/>
                  <a:pt x="323" y="151"/>
                  <a:pt x="323" y="160"/>
                </a:cubicBezTo>
                <a:cubicBezTo>
                  <a:pt x="323" y="259"/>
                  <a:pt x="250" y="345"/>
                  <a:pt x="149" y="359"/>
                </a:cubicBezTo>
                <a:cubicBezTo>
                  <a:pt x="140" y="360"/>
                  <a:pt x="131" y="361"/>
                  <a:pt x="122" y="361"/>
                </a:cubicBezTo>
                <a:cubicBezTo>
                  <a:pt x="112" y="361"/>
                  <a:pt x="102" y="360"/>
                  <a:pt x="93" y="359"/>
                </a:cubicBezTo>
                <a:cubicBezTo>
                  <a:pt x="93" y="359"/>
                  <a:pt x="93" y="359"/>
                  <a:pt x="93" y="359"/>
                </a:cubicBezTo>
                <a:cubicBezTo>
                  <a:pt x="93" y="359"/>
                  <a:pt x="93" y="359"/>
                  <a:pt x="93" y="359"/>
                </a:cubicBezTo>
                <a:cubicBezTo>
                  <a:pt x="93" y="359"/>
                  <a:pt x="93" y="359"/>
                  <a:pt x="93"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1" y="359"/>
                  <a:pt x="91" y="359"/>
                </a:cubicBezTo>
                <a:cubicBezTo>
                  <a:pt x="91" y="359"/>
                  <a:pt x="91" y="359"/>
                  <a:pt x="91" y="359"/>
                </a:cubicBezTo>
                <a:cubicBezTo>
                  <a:pt x="91" y="359"/>
                  <a:pt x="91" y="359"/>
                  <a:pt x="91" y="359"/>
                </a:cubicBezTo>
                <a:cubicBezTo>
                  <a:pt x="91" y="359"/>
                  <a:pt x="91" y="359"/>
                  <a:pt x="91" y="359"/>
                </a:cubicBezTo>
                <a:cubicBezTo>
                  <a:pt x="58" y="353"/>
                  <a:pt x="27" y="340"/>
                  <a:pt x="0" y="320"/>
                </a:cubicBezTo>
                <a:cubicBezTo>
                  <a:pt x="37" y="354"/>
                  <a:pt x="86" y="374"/>
                  <a:pt x="138" y="374"/>
                </a:cubicBezTo>
                <a:cubicBezTo>
                  <a:pt x="147" y="374"/>
                  <a:pt x="156" y="374"/>
                  <a:pt x="165" y="372"/>
                </a:cubicBezTo>
                <a:cubicBezTo>
                  <a:pt x="276" y="357"/>
                  <a:pt x="354" y="256"/>
                  <a:pt x="339" y="145"/>
                </a:cubicBezTo>
                <a:cubicBezTo>
                  <a:pt x="330" y="82"/>
                  <a:pt x="294" y="30"/>
                  <a:pt x="244" y="0"/>
                </a:cubicBezTo>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25" name="Freeform 25">
            <a:extLst>
              <a:ext uri="{FF2B5EF4-FFF2-40B4-BE49-F238E27FC236}">
                <a16:creationId xmlns:a16="http://schemas.microsoft.com/office/drawing/2014/main" id="{861FF469-76B1-4062-A436-3EC83930D0E3}"/>
              </a:ext>
            </a:extLst>
          </p:cNvPr>
          <p:cNvSpPr>
            <a:spLocks noEditPoints="1"/>
          </p:cNvSpPr>
          <p:nvPr/>
        </p:nvSpPr>
        <p:spPr bwMode="auto">
          <a:xfrm rot="19589649">
            <a:off x="3775756" y="4551247"/>
            <a:ext cx="517479" cy="575630"/>
          </a:xfrm>
          <a:custGeom>
            <a:avLst/>
            <a:gdLst>
              <a:gd name="T0" fmla="*/ 2 w 232"/>
              <a:gd name="T1" fmla="*/ 246 h 248"/>
              <a:gd name="T2" fmla="*/ 1 w 232"/>
              <a:gd name="T3" fmla="*/ 246 h 248"/>
              <a:gd name="T4" fmla="*/ 1 w 232"/>
              <a:gd name="T5" fmla="*/ 246 h 248"/>
              <a:gd name="T6" fmla="*/ 1 w 232"/>
              <a:gd name="T7" fmla="*/ 246 h 248"/>
              <a:gd name="T8" fmla="*/ 1 w 232"/>
              <a:gd name="T9" fmla="*/ 246 h 248"/>
              <a:gd name="T10" fmla="*/ 0 w 232"/>
              <a:gd name="T11" fmla="*/ 246 h 248"/>
              <a:gd name="T12" fmla="*/ 0 w 232"/>
              <a:gd name="T13" fmla="*/ 246 h 248"/>
              <a:gd name="T14" fmla="*/ 31 w 232"/>
              <a:gd name="T15" fmla="*/ 248 h 248"/>
              <a:gd name="T16" fmla="*/ 58 w 232"/>
              <a:gd name="T17" fmla="*/ 246 h 248"/>
              <a:gd name="T18" fmla="*/ 231 w 232"/>
              <a:gd name="T19" fmla="*/ 20 h 248"/>
              <a:gd name="T20" fmla="*/ 231 w 232"/>
              <a:gd name="T21" fmla="*/ 19 h 248"/>
              <a:gd name="T22" fmla="*/ 230 w 232"/>
              <a:gd name="T23" fmla="*/ 19 h 248"/>
              <a:gd name="T24" fmla="*/ 230 w 232"/>
              <a:gd name="T25" fmla="*/ 19 h 248"/>
              <a:gd name="T26" fmla="*/ 230 w 232"/>
              <a:gd name="T27" fmla="*/ 18 h 248"/>
              <a:gd name="T28" fmla="*/ 230 w 232"/>
              <a:gd name="T29" fmla="*/ 18 h 248"/>
              <a:gd name="T30" fmla="*/ 230 w 232"/>
              <a:gd name="T31" fmla="*/ 18 h 248"/>
              <a:gd name="T32" fmla="*/ 230 w 232"/>
              <a:gd name="T33" fmla="*/ 17 h 248"/>
              <a:gd name="T34" fmla="*/ 230 w 232"/>
              <a:gd name="T35" fmla="*/ 17 h 248"/>
              <a:gd name="T36" fmla="*/ 230 w 232"/>
              <a:gd name="T37" fmla="*/ 17 h 248"/>
              <a:gd name="T38" fmla="*/ 230 w 232"/>
              <a:gd name="T39" fmla="*/ 17 h 248"/>
              <a:gd name="T40" fmla="*/ 230 w 232"/>
              <a:gd name="T41" fmla="*/ 16 h 248"/>
              <a:gd name="T42" fmla="*/ 230 w 232"/>
              <a:gd name="T43" fmla="*/ 16 h 248"/>
              <a:gd name="T44" fmla="*/ 230 w 232"/>
              <a:gd name="T45" fmla="*/ 15 h 248"/>
              <a:gd name="T46" fmla="*/ 230 w 232"/>
              <a:gd name="T47" fmla="*/ 15 h 248"/>
              <a:gd name="T48" fmla="*/ 230 w 232"/>
              <a:gd name="T49" fmla="*/ 15 h 248"/>
              <a:gd name="T50" fmla="*/ 230 w 232"/>
              <a:gd name="T51" fmla="*/ 14 h 248"/>
              <a:gd name="T52" fmla="*/ 230 w 232"/>
              <a:gd name="T53" fmla="*/ 14 h 248"/>
              <a:gd name="T54" fmla="*/ 230 w 232"/>
              <a:gd name="T55" fmla="*/ 14 h 248"/>
              <a:gd name="T56" fmla="*/ 230 w 232"/>
              <a:gd name="T57" fmla="*/ 13 h 248"/>
              <a:gd name="T58" fmla="*/ 230 w 232"/>
              <a:gd name="T59" fmla="*/ 13 h 248"/>
              <a:gd name="T60" fmla="*/ 229 w 232"/>
              <a:gd name="T61" fmla="*/ 13 h 248"/>
              <a:gd name="T62" fmla="*/ 229 w 232"/>
              <a:gd name="T63" fmla="*/ 12 h 248"/>
              <a:gd name="T64" fmla="*/ 229 w 232"/>
              <a:gd name="T65" fmla="*/ 12 h 248"/>
              <a:gd name="T66" fmla="*/ 229 w 232"/>
              <a:gd name="T67" fmla="*/ 12 h 248"/>
              <a:gd name="T68" fmla="*/ 229 w 232"/>
              <a:gd name="T69" fmla="*/ 11 h 248"/>
              <a:gd name="T70" fmla="*/ 229 w 232"/>
              <a:gd name="T71" fmla="*/ 11 h 248"/>
              <a:gd name="T72" fmla="*/ 229 w 232"/>
              <a:gd name="T73" fmla="*/ 11 h 248"/>
              <a:gd name="T74" fmla="*/ 229 w 232"/>
              <a:gd name="T75" fmla="*/ 10 h 248"/>
              <a:gd name="T76" fmla="*/ 229 w 232"/>
              <a:gd name="T77" fmla="*/ 10 h 248"/>
              <a:gd name="T78" fmla="*/ 229 w 232"/>
              <a:gd name="T79" fmla="*/ 10 h 248"/>
              <a:gd name="T80" fmla="*/ 229 w 232"/>
              <a:gd name="T81" fmla="*/ 10 h 248"/>
              <a:gd name="T82" fmla="*/ 229 w 232"/>
              <a:gd name="T83" fmla="*/ 9 h 248"/>
              <a:gd name="T84" fmla="*/ 229 w 232"/>
              <a:gd name="T85" fmla="*/ 9 h 248"/>
              <a:gd name="T86" fmla="*/ 229 w 232"/>
              <a:gd name="T87" fmla="*/ 8 h 248"/>
              <a:gd name="T88" fmla="*/ 229 w 232"/>
              <a:gd name="T89" fmla="*/ 8 h 248"/>
              <a:gd name="T90" fmla="*/ 229 w 232"/>
              <a:gd name="T91" fmla="*/ 8 h 248"/>
              <a:gd name="T92" fmla="*/ 229 w 232"/>
              <a:gd name="T93" fmla="*/ 8 h 248"/>
              <a:gd name="T94" fmla="*/ 228 w 232"/>
              <a:gd name="T95" fmla="*/ 7 h 248"/>
              <a:gd name="T96" fmla="*/ 228 w 232"/>
              <a:gd name="T97" fmla="*/ 7 h 248"/>
              <a:gd name="T98" fmla="*/ 228 w 232"/>
              <a:gd name="T99" fmla="*/ 7 h 248"/>
              <a:gd name="T100" fmla="*/ 228 w 232"/>
              <a:gd name="T101" fmla="*/ 6 h 248"/>
              <a:gd name="T102" fmla="*/ 228 w 232"/>
              <a:gd name="T103" fmla="*/ 5 h 248"/>
              <a:gd name="T104" fmla="*/ 228 w 232"/>
              <a:gd name="T105" fmla="*/ 5 h 248"/>
              <a:gd name="T106" fmla="*/ 228 w 232"/>
              <a:gd name="T107" fmla="*/ 5 h 248"/>
              <a:gd name="T108" fmla="*/ 228 w 232"/>
              <a:gd name="T109" fmla="*/ 4 h 248"/>
              <a:gd name="T110" fmla="*/ 228 w 232"/>
              <a:gd name="T111" fmla="*/ 4 h 248"/>
              <a:gd name="T112" fmla="*/ 228 w 232"/>
              <a:gd name="T113" fmla="*/ 4 h 248"/>
              <a:gd name="T114" fmla="*/ 228 w 232"/>
              <a:gd name="T115" fmla="*/ 4 h 248"/>
              <a:gd name="T116" fmla="*/ 228 w 232"/>
              <a:gd name="T117" fmla="*/ 3 h 248"/>
              <a:gd name="T118" fmla="*/ 227 w 232"/>
              <a:gd name="T119" fmla="*/ 1 h 248"/>
              <a:gd name="T120" fmla="*/ 227 w 232"/>
              <a:gd name="T121" fmla="*/ 1 h 248"/>
              <a:gd name="T122" fmla="*/ 227 w 232"/>
              <a:gd name="T123" fmla="*/ 1 h 248"/>
              <a:gd name="T124" fmla="*/ 227 w 232"/>
              <a:gd name="T12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248">
                <a:moveTo>
                  <a:pt x="2" y="246"/>
                </a:moveTo>
                <a:cubicBezTo>
                  <a:pt x="2" y="246"/>
                  <a:pt x="2" y="246"/>
                  <a:pt x="2" y="246"/>
                </a:cubicBezTo>
                <a:cubicBezTo>
                  <a:pt x="2" y="246"/>
                  <a:pt x="2" y="246"/>
                  <a:pt x="2" y="246"/>
                </a:cubicBezTo>
                <a:moveTo>
                  <a:pt x="1" y="246"/>
                </a:moveTo>
                <a:cubicBezTo>
                  <a:pt x="1" y="246"/>
                  <a:pt x="1" y="246"/>
                  <a:pt x="2"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0" y="246"/>
                </a:moveTo>
                <a:cubicBezTo>
                  <a:pt x="0" y="246"/>
                  <a:pt x="0" y="246"/>
                  <a:pt x="0" y="246"/>
                </a:cubicBezTo>
                <a:cubicBezTo>
                  <a:pt x="0" y="246"/>
                  <a:pt x="0" y="246"/>
                  <a:pt x="0" y="246"/>
                </a:cubicBezTo>
                <a:moveTo>
                  <a:pt x="0" y="246"/>
                </a:moveTo>
                <a:cubicBezTo>
                  <a:pt x="0" y="246"/>
                  <a:pt x="0" y="246"/>
                  <a:pt x="0" y="246"/>
                </a:cubicBezTo>
                <a:cubicBezTo>
                  <a:pt x="0" y="246"/>
                  <a:pt x="0" y="246"/>
                  <a:pt x="0" y="246"/>
                </a:cubicBezTo>
                <a:moveTo>
                  <a:pt x="232" y="47"/>
                </a:moveTo>
                <a:cubicBezTo>
                  <a:pt x="232" y="146"/>
                  <a:pt x="159" y="232"/>
                  <a:pt x="58" y="246"/>
                </a:cubicBezTo>
                <a:cubicBezTo>
                  <a:pt x="49" y="247"/>
                  <a:pt x="40" y="248"/>
                  <a:pt x="31" y="248"/>
                </a:cubicBezTo>
                <a:cubicBezTo>
                  <a:pt x="21" y="248"/>
                  <a:pt x="11" y="247"/>
                  <a:pt x="2" y="246"/>
                </a:cubicBezTo>
                <a:cubicBezTo>
                  <a:pt x="11" y="247"/>
                  <a:pt x="21" y="248"/>
                  <a:pt x="31" y="248"/>
                </a:cubicBezTo>
                <a:cubicBezTo>
                  <a:pt x="40" y="248"/>
                  <a:pt x="49" y="247"/>
                  <a:pt x="58" y="246"/>
                </a:cubicBezTo>
                <a:cubicBezTo>
                  <a:pt x="159" y="232"/>
                  <a:pt x="232" y="146"/>
                  <a:pt x="232" y="47"/>
                </a:cubicBezTo>
                <a:moveTo>
                  <a:pt x="231" y="19"/>
                </a:moveTo>
                <a:cubicBezTo>
                  <a:pt x="231" y="20"/>
                  <a:pt x="231" y="20"/>
                  <a:pt x="231" y="20"/>
                </a:cubicBezTo>
                <a:cubicBezTo>
                  <a:pt x="231" y="20"/>
                  <a:pt x="231" y="20"/>
                  <a:pt x="231" y="19"/>
                </a:cubicBezTo>
                <a:moveTo>
                  <a:pt x="230" y="19"/>
                </a:moveTo>
                <a:cubicBezTo>
                  <a:pt x="230" y="19"/>
                  <a:pt x="231" y="19"/>
                  <a:pt x="231" y="19"/>
                </a:cubicBezTo>
                <a:cubicBezTo>
                  <a:pt x="231" y="19"/>
                  <a:pt x="230" y="19"/>
                  <a:pt x="230" y="19"/>
                </a:cubicBezTo>
                <a:moveTo>
                  <a:pt x="230" y="19"/>
                </a:moveTo>
                <a:cubicBezTo>
                  <a:pt x="230" y="19"/>
                  <a:pt x="230" y="19"/>
                  <a:pt x="230" y="19"/>
                </a:cubicBezTo>
                <a:cubicBezTo>
                  <a:pt x="230" y="19"/>
                  <a:pt x="230" y="19"/>
                  <a:pt x="230" y="19"/>
                </a:cubicBezTo>
                <a:moveTo>
                  <a:pt x="230" y="19"/>
                </a:moveTo>
                <a:cubicBezTo>
                  <a:pt x="230" y="19"/>
                  <a:pt x="230" y="19"/>
                  <a:pt x="230" y="19"/>
                </a:cubicBezTo>
                <a:cubicBezTo>
                  <a:pt x="230" y="19"/>
                  <a:pt x="230" y="19"/>
                  <a:pt x="230" y="19"/>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6"/>
                </a:moveTo>
                <a:cubicBezTo>
                  <a:pt x="230" y="16"/>
                  <a:pt x="230" y="16"/>
                  <a:pt x="230" y="17"/>
                </a:cubicBezTo>
                <a:cubicBezTo>
                  <a:pt x="230" y="16"/>
                  <a:pt x="230" y="16"/>
                  <a:pt x="230" y="16"/>
                </a:cubicBezTo>
                <a:moveTo>
                  <a:pt x="230" y="16"/>
                </a:moveTo>
                <a:cubicBezTo>
                  <a:pt x="230" y="16"/>
                  <a:pt x="230" y="16"/>
                  <a:pt x="230" y="16"/>
                </a:cubicBezTo>
                <a:cubicBezTo>
                  <a:pt x="230" y="16"/>
                  <a:pt x="230" y="16"/>
                  <a:pt x="230" y="16"/>
                </a:cubicBezTo>
                <a:moveTo>
                  <a:pt x="230" y="15"/>
                </a:moveTo>
                <a:cubicBezTo>
                  <a:pt x="230" y="15"/>
                  <a:pt x="230" y="15"/>
                  <a:pt x="230" y="16"/>
                </a:cubicBezTo>
                <a:cubicBezTo>
                  <a:pt x="230" y="15"/>
                  <a:pt x="230" y="15"/>
                  <a:pt x="230" y="15"/>
                </a:cubicBezTo>
                <a:moveTo>
                  <a:pt x="230" y="15"/>
                </a:moveTo>
                <a:cubicBezTo>
                  <a:pt x="230" y="15"/>
                  <a:pt x="230" y="15"/>
                  <a:pt x="230" y="15"/>
                </a:cubicBezTo>
                <a:cubicBezTo>
                  <a:pt x="230" y="15"/>
                  <a:pt x="230" y="15"/>
                  <a:pt x="230" y="15"/>
                </a:cubicBezTo>
                <a:moveTo>
                  <a:pt x="230" y="15"/>
                </a:moveTo>
                <a:cubicBezTo>
                  <a:pt x="230" y="15"/>
                  <a:pt x="230" y="15"/>
                  <a:pt x="230" y="15"/>
                </a:cubicBezTo>
                <a:cubicBezTo>
                  <a:pt x="230" y="15"/>
                  <a:pt x="230" y="15"/>
                  <a:pt x="230" y="15"/>
                </a:cubicBezTo>
                <a:moveTo>
                  <a:pt x="230" y="14"/>
                </a:moveTo>
                <a:cubicBezTo>
                  <a:pt x="230" y="14"/>
                  <a:pt x="230" y="15"/>
                  <a:pt x="230" y="15"/>
                </a:cubicBezTo>
                <a:cubicBezTo>
                  <a:pt x="230" y="15"/>
                  <a:pt x="230" y="14"/>
                  <a:pt x="230" y="14"/>
                </a:cubicBezTo>
                <a:moveTo>
                  <a:pt x="230" y="14"/>
                </a:moveTo>
                <a:cubicBezTo>
                  <a:pt x="230" y="14"/>
                  <a:pt x="230" y="14"/>
                  <a:pt x="230" y="14"/>
                </a:cubicBezTo>
                <a:cubicBezTo>
                  <a:pt x="230" y="14"/>
                  <a:pt x="230" y="14"/>
                  <a:pt x="230" y="14"/>
                </a:cubicBezTo>
                <a:moveTo>
                  <a:pt x="230" y="14"/>
                </a:moveTo>
                <a:cubicBezTo>
                  <a:pt x="230" y="14"/>
                  <a:pt x="230" y="14"/>
                  <a:pt x="230" y="14"/>
                </a:cubicBezTo>
                <a:cubicBezTo>
                  <a:pt x="230" y="14"/>
                  <a:pt x="230" y="14"/>
                  <a:pt x="230" y="14"/>
                </a:cubicBezTo>
                <a:moveTo>
                  <a:pt x="230" y="13"/>
                </a:moveTo>
                <a:cubicBezTo>
                  <a:pt x="230" y="14"/>
                  <a:pt x="230" y="14"/>
                  <a:pt x="230" y="14"/>
                </a:cubicBezTo>
                <a:cubicBezTo>
                  <a:pt x="230" y="14"/>
                  <a:pt x="230" y="14"/>
                  <a:pt x="230" y="13"/>
                </a:cubicBezTo>
                <a:moveTo>
                  <a:pt x="230" y="13"/>
                </a:moveTo>
                <a:cubicBezTo>
                  <a:pt x="230" y="13"/>
                  <a:pt x="230" y="13"/>
                  <a:pt x="230" y="13"/>
                </a:cubicBezTo>
                <a:cubicBezTo>
                  <a:pt x="230" y="13"/>
                  <a:pt x="230" y="13"/>
                  <a:pt x="230" y="13"/>
                </a:cubicBezTo>
                <a:moveTo>
                  <a:pt x="229" y="13"/>
                </a:moveTo>
                <a:cubicBezTo>
                  <a:pt x="230" y="13"/>
                  <a:pt x="230" y="13"/>
                  <a:pt x="230" y="13"/>
                </a:cubicBezTo>
                <a:cubicBezTo>
                  <a:pt x="230" y="13"/>
                  <a:pt x="230" y="13"/>
                  <a:pt x="229" y="13"/>
                </a:cubicBezTo>
                <a:moveTo>
                  <a:pt x="229" y="12"/>
                </a:moveTo>
                <a:cubicBezTo>
                  <a:pt x="229" y="13"/>
                  <a:pt x="229" y="13"/>
                  <a:pt x="229" y="13"/>
                </a:cubicBezTo>
                <a:cubicBezTo>
                  <a:pt x="229" y="13"/>
                  <a:pt x="229" y="13"/>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9"/>
                </a:moveTo>
                <a:cubicBezTo>
                  <a:pt x="229" y="9"/>
                  <a:pt x="229" y="10"/>
                  <a:pt x="229" y="10"/>
                </a:cubicBezTo>
                <a:cubicBezTo>
                  <a:pt x="229" y="10"/>
                  <a:pt x="229" y="9"/>
                  <a:pt x="229" y="9"/>
                </a:cubicBezTo>
                <a:moveTo>
                  <a:pt x="229" y="9"/>
                </a:moveTo>
                <a:cubicBezTo>
                  <a:pt x="229" y="9"/>
                  <a:pt x="229" y="9"/>
                  <a:pt x="229" y="9"/>
                </a:cubicBezTo>
                <a:cubicBezTo>
                  <a:pt x="229" y="9"/>
                  <a:pt x="229" y="9"/>
                  <a:pt x="229" y="9"/>
                </a:cubicBezTo>
                <a:moveTo>
                  <a:pt x="229" y="9"/>
                </a:moveTo>
                <a:cubicBezTo>
                  <a:pt x="229" y="9"/>
                  <a:pt x="229" y="9"/>
                  <a:pt x="229" y="9"/>
                </a:cubicBezTo>
                <a:cubicBezTo>
                  <a:pt x="229" y="9"/>
                  <a:pt x="229" y="9"/>
                  <a:pt x="229" y="9"/>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7"/>
                </a:moveTo>
                <a:cubicBezTo>
                  <a:pt x="229" y="7"/>
                  <a:pt x="229" y="8"/>
                  <a:pt x="229" y="8"/>
                </a:cubicBezTo>
                <a:cubicBezTo>
                  <a:pt x="229" y="8"/>
                  <a:pt x="229" y="7"/>
                  <a:pt x="229"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6"/>
                </a:moveTo>
                <a:cubicBezTo>
                  <a:pt x="228" y="6"/>
                  <a:pt x="228" y="6"/>
                  <a:pt x="228" y="6"/>
                </a:cubicBezTo>
                <a:cubicBezTo>
                  <a:pt x="228" y="6"/>
                  <a:pt x="228" y="6"/>
                  <a:pt x="228" y="6"/>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3"/>
                </a:moveTo>
                <a:cubicBezTo>
                  <a:pt x="228" y="3"/>
                  <a:pt x="228" y="3"/>
                  <a:pt x="228" y="4"/>
                </a:cubicBezTo>
                <a:cubicBezTo>
                  <a:pt x="228" y="3"/>
                  <a:pt x="228" y="3"/>
                  <a:pt x="228" y="3"/>
                </a:cubicBezTo>
                <a:moveTo>
                  <a:pt x="228" y="3"/>
                </a:moveTo>
                <a:cubicBezTo>
                  <a:pt x="228" y="3"/>
                  <a:pt x="228" y="3"/>
                  <a:pt x="228" y="3"/>
                </a:cubicBezTo>
                <a:cubicBezTo>
                  <a:pt x="228" y="3"/>
                  <a:pt x="228" y="3"/>
                  <a:pt x="228" y="3"/>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0"/>
                </a:moveTo>
                <a:cubicBezTo>
                  <a:pt x="227" y="0"/>
                  <a:pt x="227" y="0"/>
                  <a:pt x="227" y="0"/>
                </a:cubicBezTo>
                <a:cubicBezTo>
                  <a:pt x="227" y="0"/>
                  <a:pt x="227" y="0"/>
                  <a:pt x="227" y="0"/>
                </a:cubicBezTo>
              </a:path>
            </a:pathLst>
          </a:custGeom>
          <a:solidFill>
            <a:srgbClr val="D5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26" name="Rounded Rectangle 37">
            <a:extLst>
              <a:ext uri="{FF2B5EF4-FFF2-40B4-BE49-F238E27FC236}">
                <a16:creationId xmlns:a16="http://schemas.microsoft.com/office/drawing/2014/main" id="{3B50F790-70CB-4143-B540-E563B1F2B116}"/>
              </a:ext>
            </a:extLst>
          </p:cNvPr>
          <p:cNvSpPr/>
          <p:nvPr/>
        </p:nvSpPr>
        <p:spPr>
          <a:xfrm>
            <a:off x="3981547" y="5444625"/>
            <a:ext cx="7187041" cy="914400"/>
          </a:xfrm>
          <a:prstGeom prst="roundRect">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lvl="0">
              <a:defRPr/>
            </a:pPr>
            <a:r>
              <a:rPr lang="en-IN" sz="1600" dirty="0">
                <a:solidFill>
                  <a:schemeClr val="tx1"/>
                </a:solidFill>
              </a:rPr>
              <a:t>PAAS Platform Uptime, Compliance </a:t>
            </a:r>
          </a:p>
        </p:txBody>
      </p:sp>
      <p:sp>
        <p:nvSpPr>
          <p:cNvPr id="227" name="Freeform 20">
            <a:extLst>
              <a:ext uri="{FF2B5EF4-FFF2-40B4-BE49-F238E27FC236}">
                <a16:creationId xmlns:a16="http://schemas.microsoft.com/office/drawing/2014/main" id="{761F90F8-1F55-458C-89A3-17E1FB28B726}"/>
              </a:ext>
            </a:extLst>
          </p:cNvPr>
          <p:cNvSpPr>
            <a:spLocks noEditPoints="1"/>
          </p:cNvSpPr>
          <p:nvPr/>
        </p:nvSpPr>
        <p:spPr bwMode="auto">
          <a:xfrm rot="19589649">
            <a:off x="3375973" y="5482917"/>
            <a:ext cx="805083" cy="836109"/>
          </a:xfrm>
          <a:custGeom>
            <a:avLst/>
            <a:gdLst>
              <a:gd name="T0" fmla="*/ 158 w 361"/>
              <a:gd name="T1" fmla="*/ 13 h 361"/>
              <a:gd name="T2" fmla="*/ 12 w 361"/>
              <a:gd name="T3" fmla="*/ 203 h 361"/>
              <a:gd name="T4" fmla="*/ 203 w 361"/>
              <a:gd name="T5" fmla="*/ 349 h 361"/>
              <a:gd name="T6" fmla="*/ 348 w 361"/>
              <a:gd name="T7" fmla="*/ 158 h 361"/>
              <a:gd name="T8" fmla="*/ 158 w 361"/>
              <a:gd name="T9" fmla="*/ 13 h 361"/>
              <a:gd name="T10" fmla="*/ 199 w 361"/>
              <a:gd name="T11" fmla="*/ 317 h 361"/>
              <a:gd name="T12" fmla="*/ 44 w 361"/>
              <a:gd name="T13" fmla="*/ 199 h 361"/>
              <a:gd name="T14" fmla="*/ 162 w 361"/>
              <a:gd name="T15" fmla="*/ 45 h 361"/>
              <a:gd name="T16" fmla="*/ 316 w 361"/>
              <a:gd name="T17" fmla="*/ 162 h 361"/>
              <a:gd name="T18" fmla="*/ 199 w 361"/>
              <a:gd name="T19" fmla="*/ 317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361">
                <a:moveTo>
                  <a:pt x="158" y="13"/>
                </a:moveTo>
                <a:cubicBezTo>
                  <a:pt x="65" y="25"/>
                  <a:pt x="0" y="111"/>
                  <a:pt x="12" y="203"/>
                </a:cubicBezTo>
                <a:cubicBezTo>
                  <a:pt x="25" y="296"/>
                  <a:pt x="110" y="361"/>
                  <a:pt x="203" y="349"/>
                </a:cubicBezTo>
                <a:cubicBezTo>
                  <a:pt x="296" y="336"/>
                  <a:pt x="361" y="251"/>
                  <a:pt x="348" y="158"/>
                </a:cubicBezTo>
                <a:cubicBezTo>
                  <a:pt x="336" y="65"/>
                  <a:pt x="250" y="0"/>
                  <a:pt x="158" y="13"/>
                </a:cubicBezTo>
                <a:close/>
                <a:moveTo>
                  <a:pt x="199" y="317"/>
                </a:moveTo>
                <a:cubicBezTo>
                  <a:pt x="123" y="327"/>
                  <a:pt x="54" y="274"/>
                  <a:pt x="44" y="199"/>
                </a:cubicBezTo>
                <a:cubicBezTo>
                  <a:pt x="34" y="124"/>
                  <a:pt x="87" y="55"/>
                  <a:pt x="162" y="45"/>
                </a:cubicBezTo>
                <a:cubicBezTo>
                  <a:pt x="237" y="35"/>
                  <a:pt x="306" y="87"/>
                  <a:pt x="316" y="162"/>
                </a:cubicBezTo>
                <a:cubicBezTo>
                  <a:pt x="326" y="237"/>
                  <a:pt x="274" y="307"/>
                  <a:pt x="199" y="317"/>
                </a:cubicBezTo>
                <a:close/>
              </a:path>
            </a:pathLst>
          </a:custGeom>
          <a:solidFill>
            <a:srgbClr val="998C85">
              <a:lumMod val="20000"/>
              <a:lumOff val="80000"/>
            </a:srgbClr>
          </a:solidFill>
          <a:ln w="6350">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28" name="Freeform 24">
            <a:extLst>
              <a:ext uri="{FF2B5EF4-FFF2-40B4-BE49-F238E27FC236}">
                <a16:creationId xmlns:a16="http://schemas.microsoft.com/office/drawing/2014/main" id="{A1B1CAF6-B9A5-4185-89F2-FA688F4C8BBE}"/>
              </a:ext>
            </a:extLst>
          </p:cNvPr>
          <p:cNvSpPr>
            <a:spLocks/>
          </p:cNvSpPr>
          <p:nvPr/>
        </p:nvSpPr>
        <p:spPr bwMode="auto">
          <a:xfrm rot="19589649">
            <a:off x="3519909" y="5453693"/>
            <a:ext cx="789620" cy="867195"/>
          </a:xfrm>
          <a:custGeom>
            <a:avLst/>
            <a:gdLst>
              <a:gd name="T0" fmla="*/ 318 w 354"/>
              <a:gd name="T1" fmla="*/ 113 h 374"/>
              <a:gd name="T2" fmla="*/ 318 w 354"/>
              <a:gd name="T3" fmla="*/ 114 h 374"/>
              <a:gd name="T4" fmla="*/ 318 w 354"/>
              <a:gd name="T5" fmla="*/ 114 h 374"/>
              <a:gd name="T6" fmla="*/ 319 w 354"/>
              <a:gd name="T7" fmla="*/ 116 h 374"/>
              <a:gd name="T8" fmla="*/ 319 w 354"/>
              <a:gd name="T9" fmla="*/ 117 h 374"/>
              <a:gd name="T10" fmla="*/ 319 w 354"/>
              <a:gd name="T11" fmla="*/ 117 h 374"/>
              <a:gd name="T12" fmla="*/ 319 w 354"/>
              <a:gd name="T13" fmla="*/ 118 h 374"/>
              <a:gd name="T14" fmla="*/ 319 w 354"/>
              <a:gd name="T15" fmla="*/ 118 h 374"/>
              <a:gd name="T16" fmla="*/ 319 w 354"/>
              <a:gd name="T17" fmla="*/ 119 h 374"/>
              <a:gd name="T18" fmla="*/ 319 w 354"/>
              <a:gd name="T19" fmla="*/ 120 h 374"/>
              <a:gd name="T20" fmla="*/ 319 w 354"/>
              <a:gd name="T21" fmla="*/ 120 h 374"/>
              <a:gd name="T22" fmla="*/ 320 w 354"/>
              <a:gd name="T23" fmla="*/ 121 h 374"/>
              <a:gd name="T24" fmla="*/ 320 w 354"/>
              <a:gd name="T25" fmla="*/ 121 h 374"/>
              <a:gd name="T26" fmla="*/ 320 w 354"/>
              <a:gd name="T27" fmla="*/ 122 h 374"/>
              <a:gd name="T28" fmla="*/ 320 w 354"/>
              <a:gd name="T29" fmla="*/ 122 h 374"/>
              <a:gd name="T30" fmla="*/ 320 w 354"/>
              <a:gd name="T31" fmla="*/ 123 h 374"/>
              <a:gd name="T32" fmla="*/ 320 w 354"/>
              <a:gd name="T33" fmla="*/ 123 h 374"/>
              <a:gd name="T34" fmla="*/ 320 w 354"/>
              <a:gd name="T35" fmla="*/ 124 h 374"/>
              <a:gd name="T36" fmla="*/ 320 w 354"/>
              <a:gd name="T37" fmla="*/ 124 h 374"/>
              <a:gd name="T38" fmla="*/ 320 w 354"/>
              <a:gd name="T39" fmla="*/ 125 h 374"/>
              <a:gd name="T40" fmla="*/ 320 w 354"/>
              <a:gd name="T41" fmla="*/ 125 h 374"/>
              <a:gd name="T42" fmla="*/ 320 w 354"/>
              <a:gd name="T43" fmla="*/ 125 h 374"/>
              <a:gd name="T44" fmla="*/ 321 w 354"/>
              <a:gd name="T45" fmla="*/ 126 h 374"/>
              <a:gd name="T46" fmla="*/ 321 w 354"/>
              <a:gd name="T47" fmla="*/ 126 h 374"/>
              <a:gd name="T48" fmla="*/ 321 w 354"/>
              <a:gd name="T49" fmla="*/ 127 h 374"/>
              <a:gd name="T50" fmla="*/ 321 w 354"/>
              <a:gd name="T51" fmla="*/ 127 h 374"/>
              <a:gd name="T52" fmla="*/ 321 w 354"/>
              <a:gd name="T53" fmla="*/ 128 h 374"/>
              <a:gd name="T54" fmla="*/ 321 w 354"/>
              <a:gd name="T55" fmla="*/ 128 h 374"/>
              <a:gd name="T56" fmla="*/ 321 w 354"/>
              <a:gd name="T57" fmla="*/ 129 h 374"/>
              <a:gd name="T58" fmla="*/ 321 w 354"/>
              <a:gd name="T59" fmla="*/ 130 h 374"/>
              <a:gd name="T60" fmla="*/ 321 w 354"/>
              <a:gd name="T61" fmla="*/ 130 h 374"/>
              <a:gd name="T62" fmla="*/ 321 w 354"/>
              <a:gd name="T63" fmla="*/ 131 h 374"/>
              <a:gd name="T64" fmla="*/ 321 w 354"/>
              <a:gd name="T65" fmla="*/ 131 h 374"/>
              <a:gd name="T66" fmla="*/ 321 w 354"/>
              <a:gd name="T67" fmla="*/ 132 h 374"/>
              <a:gd name="T68" fmla="*/ 321 w 354"/>
              <a:gd name="T69" fmla="*/ 132 h 374"/>
              <a:gd name="T70" fmla="*/ 322 w 354"/>
              <a:gd name="T71" fmla="*/ 132 h 374"/>
              <a:gd name="T72" fmla="*/ 323 w 354"/>
              <a:gd name="T73" fmla="*/ 160 h 374"/>
              <a:gd name="T74" fmla="*/ 93 w 354"/>
              <a:gd name="T75" fmla="*/ 359 h 374"/>
              <a:gd name="T76" fmla="*/ 93 w 354"/>
              <a:gd name="T77" fmla="*/ 359 h 374"/>
              <a:gd name="T78" fmla="*/ 92 w 354"/>
              <a:gd name="T79" fmla="*/ 359 h 374"/>
              <a:gd name="T80" fmla="*/ 92 w 354"/>
              <a:gd name="T81" fmla="*/ 359 h 374"/>
              <a:gd name="T82" fmla="*/ 91 w 354"/>
              <a:gd name="T83" fmla="*/ 359 h 374"/>
              <a:gd name="T84" fmla="*/ 0 w 354"/>
              <a:gd name="T85" fmla="*/ 320 h 374"/>
              <a:gd name="T86" fmla="*/ 339 w 354"/>
              <a:gd name="T87" fmla="*/ 14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4" h="374">
                <a:moveTo>
                  <a:pt x="244" y="0"/>
                </a:moveTo>
                <a:cubicBezTo>
                  <a:pt x="280" y="27"/>
                  <a:pt x="307" y="67"/>
                  <a:pt x="318" y="113"/>
                </a:cubicBezTo>
                <a:cubicBezTo>
                  <a:pt x="318" y="113"/>
                  <a:pt x="318" y="113"/>
                  <a:pt x="318" y="113"/>
                </a:cubicBezTo>
                <a:cubicBezTo>
                  <a:pt x="318" y="113"/>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5"/>
                  <a:pt x="318" y="116"/>
                  <a:pt x="319" y="116"/>
                </a:cubicBezTo>
                <a:cubicBezTo>
                  <a:pt x="319" y="116"/>
                  <a:pt x="319" y="116"/>
                  <a:pt x="319" y="116"/>
                </a:cubicBezTo>
                <a:cubicBezTo>
                  <a:pt x="319" y="116"/>
                  <a:pt x="319" y="116"/>
                  <a:pt x="319" y="116"/>
                </a:cubicBezTo>
                <a:cubicBezTo>
                  <a:pt x="319" y="116"/>
                  <a:pt x="319" y="116"/>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9"/>
                  <a:pt x="319" y="119"/>
                  <a:pt x="319" y="119"/>
                </a:cubicBezTo>
                <a:cubicBezTo>
                  <a:pt x="319" y="119"/>
                  <a:pt x="319" y="119"/>
                  <a:pt x="319" y="119"/>
                </a:cubicBezTo>
                <a:cubicBezTo>
                  <a:pt x="319" y="119"/>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20" y="120"/>
                  <a:pt x="320" y="120"/>
                </a:cubicBezTo>
                <a:cubicBezTo>
                  <a:pt x="320" y="120"/>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6"/>
                  <a:pt x="320" y="126"/>
                  <a:pt x="320" y="126"/>
                </a:cubicBezTo>
                <a:cubicBezTo>
                  <a:pt x="320" y="126"/>
                  <a:pt x="320" y="126"/>
                  <a:pt x="320" y="126"/>
                </a:cubicBezTo>
                <a:cubicBezTo>
                  <a:pt x="321" y="126"/>
                  <a:pt x="321" y="126"/>
                  <a:pt x="321" y="126"/>
                </a:cubicBezTo>
                <a:cubicBezTo>
                  <a:pt x="321" y="126"/>
                  <a:pt x="321" y="126"/>
                  <a:pt x="321" y="126"/>
                </a:cubicBezTo>
                <a:cubicBezTo>
                  <a:pt x="321" y="126"/>
                  <a:pt x="321" y="126"/>
                  <a:pt x="321" y="126"/>
                </a:cubicBezTo>
                <a:cubicBezTo>
                  <a:pt x="321" y="126"/>
                  <a:pt x="321" y="126"/>
                  <a:pt x="321" y="126"/>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9"/>
                </a:cubicBezTo>
                <a:cubicBezTo>
                  <a:pt x="321" y="129"/>
                  <a:pt x="321" y="129"/>
                  <a:pt x="321" y="129"/>
                </a:cubicBezTo>
                <a:cubicBezTo>
                  <a:pt x="321" y="129"/>
                  <a:pt x="321" y="129"/>
                  <a:pt x="321" y="129"/>
                </a:cubicBezTo>
                <a:cubicBezTo>
                  <a:pt x="321" y="129"/>
                  <a:pt x="321" y="129"/>
                  <a:pt x="321" y="129"/>
                </a:cubicBezTo>
                <a:cubicBezTo>
                  <a:pt x="321" y="129"/>
                  <a:pt x="321" y="129"/>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2"/>
                  <a:pt x="321" y="132"/>
                </a:cubicBezTo>
                <a:cubicBezTo>
                  <a:pt x="321" y="132"/>
                  <a:pt x="321" y="132"/>
                  <a:pt x="321" y="132"/>
                </a:cubicBezTo>
                <a:cubicBezTo>
                  <a:pt x="321" y="132"/>
                  <a:pt x="321" y="132"/>
                  <a:pt x="321" y="132"/>
                </a:cubicBezTo>
                <a:cubicBezTo>
                  <a:pt x="321" y="132"/>
                  <a:pt x="321" y="132"/>
                  <a:pt x="321" y="132"/>
                </a:cubicBezTo>
                <a:cubicBezTo>
                  <a:pt x="321" y="132"/>
                  <a:pt x="321" y="132"/>
                  <a:pt x="321" y="132"/>
                </a:cubicBezTo>
                <a:cubicBezTo>
                  <a:pt x="321" y="132"/>
                  <a:pt x="322" y="132"/>
                  <a:pt x="322" y="132"/>
                </a:cubicBezTo>
                <a:cubicBezTo>
                  <a:pt x="322" y="132"/>
                  <a:pt x="322" y="132"/>
                  <a:pt x="322" y="132"/>
                </a:cubicBezTo>
                <a:cubicBezTo>
                  <a:pt x="322" y="133"/>
                  <a:pt x="322" y="133"/>
                  <a:pt x="322" y="133"/>
                </a:cubicBezTo>
                <a:cubicBezTo>
                  <a:pt x="322" y="133"/>
                  <a:pt x="322" y="133"/>
                  <a:pt x="322" y="133"/>
                </a:cubicBezTo>
                <a:cubicBezTo>
                  <a:pt x="323" y="142"/>
                  <a:pt x="323" y="151"/>
                  <a:pt x="323" y="160"/>
                </a:cubicBezTo>
                <a:cubicBezTo>
                  <a:pt x="323" y="259"/>
                  <a:pt x="250" y="345"/>
                  <a:pt x="149" y="359"/>
                </a:cubicBezTo>
                <a:cubicBezTo>
                  <a:pt x="140" y="360"/>
                  <a:pt x="131" y="361"/>
                  <a:pt x="122" y="361"/>
                </a:cubicBezTo>
                <a:cubicBezTo>
                  <a:pt x="112" y="361"/>
                  <a:pt x="102" y="360"/>
                  <a:pt x="93" y="359"/>
                </a:cubicBezTo>
                <a:cubicBezTo>
                  <a:pt x="93" y="359"/>
                  <a:pt x="93" y="359"/>
                  <a:pt x="93" y="359"/>
                </a:cubicBezTo>
                <a:cubicBezTo>
                  <a:pt x="93" y="359"/>
                  <a:pt x="93" y="359"/>
                  <a:pt x="93" y="359"/>
                </a:cubicBezTo>
                <a:cubicBezTo>
                  <a:pt x="93" y="359"/>
                  <a:pt x="93" y="359"/>
                  <a:pt x="93"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1" y="359"/>
                  <a:pt x="91" y="359"/>
                </a:cubicBezTo>
                <a:cubicBezTo>
                  <a:pt x="91" y="359"/>
                  <a:pt x="91" y="359"/>
                  <a:pt x="91" y="359"/>
                </a:cubicBezTo>
                <a:cubicBezTo>
                  <a:pt x="91" y="359"/>
                  <a:pt x="91" y="359"/>
                  <a:pt x="91" y="359"/>
                </a:cubicBezTo>
                <a:cubicBezTo>
                  <a:pt x="91" y="359"/>
                  <a:pt x="91" y="359"/>
                  <a:pt x="91" y="359"/>
                </a:cubicBezTo>
                <a:cubicBezTo>
                  <a:pt x="58" y="353"/>
                  <a:pt x="27" y="340"/>
                  <a:pt x="0" y="320"/>
                </a:cubicBezTo>
                <a:cubicBezTo>
                  <a:pt x="37" y="354"/>
                  <a:pt x="86" y="374"/>
                  <a:pt x="138" y="374"/>
                </a:cubicBezTo>
                <a:cubicBezTo>
                  <a:pt x="147" y="374"/>
                  <a:pt x="156" y="374"/>
                  <a:pt x="165" y="372"/>
                </a:cubicBezTo>
                <a:cubicBezTo>
                  <a:pt x="276" y="357"/>
                  <a:pt x="354" y="256"/>
                  <a:pt x="339" y="145"/>
                </a:cubicBezTo>
                <a:cubicBezTo>
                  <a:pt x="330" y="82"/>
                  <a:pt x="294" y="30"/>
                  <a:pt x="244" y="0"/>
                </a:cubicBezTo>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29" name="Freeform 21">
            <a:extLst>
              <a:ext uri="{FF2B5EF4-FFF2-40B4-BE49-F238E27FC236}">
                <a16:creationId xmlns:a16="http://schemas.microsoft.com/office/drawing/2014/main" id="{A9235326-03EC-4EA5-AB88-324BF1A7CA0E}"/>
              </a:ext>
            </a:extLst>
          </p:cNvPr>
          <p:cNvSpPr>
            <a:spLocks/>
          </p:cNvSpPr>
          <p:nvPr/>
        </p:nvSpPr>
        <p:spPr bwMode="auto">
          <a:xfrm rot="19589649">
            <a:off x="3453018" y="5563703"/>
            <a:ext cx="650458" cy="677463"/>
          </a:xfrm>
          <a:custGeom>
            <a:avLst/>
            <a:gdLst>
              <a:gd name="T0" fmla="*/ 10 w 292"/>
              <a:gd name="T1" fmla="*/ 164 h 292"/>
              <a:gd name="T2" fmla="*/ 128 w 292"/>
              <a:gd name="T3" fmla="*/ 10 h 292"/>
              <a:gd name="T4" fmla="*/ 282 w 292"/>
              <a:gd name="T5" fmla="*/ 127 h 292"/>
              <a:gd name="T6" fmla="*/ 165 w 292"/>
              <a:gd name="T7" fmla="*/ 282 h 292"/>
              <a:gd name="T8" fmla="*/ 10 w 292"/>
              <a:gd name="T9" fmla="*/ 164 h 292"/>
            </a:gdLst>
            <a:ahLst/>
            <a:cxnLst>
              <a:cxn ang="0">
                <a:pos x="T0" y="T1"/>
              </a:cxn>
              <a:cxn ang="0">
                <a:pos x="T2" y="T3"/>
              </a:cxn>
              <a:cxn ang="0">
                <a:pos x="T4" y="T5"/>
              </a:cxn>
              <a:cxn ang="0">
                <a:pos x="T6" y="T7"/>
              </a:cxn>
              <a:cxn ang="0">
                <a:pos x="T8" y="T9"/>
              </a:cxn>
            </a:cxnLst>
            <a:rect l="0" t="0" r="r" b="b"/>
            <a:pathLst>
              <a:path w="292" h="292">
                <a:moveTo>
                  <a:pt x="10" y="164"/>
                </a:moveTo>
                <a:cubicBezTo>
                  <a:pt x="0" y="89"/>
                  <a:pt x="53" y="20"/>
                  <a:pt x="128" y="10"/>
                </a:cubicBezTo>
                <a:cubicBezTo>
                  <a:pt x="203" y="0"/>
                  <a:pt x="272" y="52"/>
                  <a:pt x="282" y="127"/>
                </a:cubicBezTo>
                <a:cubicBezTo>
                  <a:pt x="292" y="202"/>
                  <a:pt x="240" y="272"/>
                  <a:pt x="165" y="282"/>
                </a:cubicBezTo>
                <a:cubicBezTo>
                  <a:pt x="89" y="292"/>
                  <a:pt x="20" y="239"/>
                  <a:pt x="10" y="164"/>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30" name="Freeform 22">
            <a:extLst>
              <a:ext uri="{FF2B5EF4-FFF2-40B4-BE49-F238E27FC236}">
                <a16:creationId xmlns:a16="http://schemas.microsoft.com/office/drawing/2014/main" id="{CE26F9D2-E182-4A92-9602-99AA895A7BF7}"/>
              </a:ext>
            </a:extLst>
          </p:cNvPr>
          <p:cNvSpPr>
            <a:spLocks/>
          </p:cNvSpPr>
          <p:nvPr/>
        </p:nvSpPr>
        <p:spPr bwMode="auto">
          <a:xfrm rot="19589649">
            <a:off x="3446299" y="5611058"/>
            <a:ext cx="531911" cy="598140"/>
          </a:xfrm>
          <a:custGeom>
            <a:avLst/>
            <a:gdLst>
              <a:gd name="T0" fmla="*/ 30 w 239"/>
              <a:gd name="T1" fmla="*/ 175 h 258"/>
              <a:gd name="T2" fmla="*/ 148 w 239"/>
              <a:gd name="T3" fmla="*/ 21 h 258"/>
              <a:gd name="T4" fmla="*/ 239 w 239"/>
              <a:gd name="T5" fmla="*/ 41 h 258"/>
              <a:gd name="T6" fmla="*/ 128 w 239"/>
              <a:gd name="T7" fmla="*/ 6 h 258"/>
              <a:gd name="T8" fmla="*/ 10 w 239"/>
              <a:gd name="T9" fmla="*/ 160 h 258"/>
              <a:gd name="T10" fmla="*/ 73 w 239"/>
              <a:gd name="T11" fmla="*/ 258 h 258"/>
              <a:gd name="T12" fmla="*/ 30 w 239"/>
              <a:gd name="T13" fmla="*/ 175 h 258"/>
            </a:gdLst>
            <a:ahLst/>
            <a:cxnLst>
              <a:cxn ang="0">
                <a:pos x="T0" y="T1"/>
              </a:cxn>
              <a:cxn ang="0">
                <a:pos x="T2" y="T3"/>
              </a:cxn>
              <a:cxn ang="0">
                <a:pos x="T4" y="T5"/>
              </a:cxn>
              <a:cxn ang="0">
                <a:pos x="T6" y="T7"/>
              </a:cxn>
              <a:cxn ang="0">
                <a:pos x="T8" y="T9"/>
              </a:cxn>
              <a:cxn ang="0">
                <a:pos x="T10" y="T11"/>
              </a:cxn>
              <a:cxn ang="0">
                <a:pos x="T12" y="T13"/>
              </a:cxn>
            </a:cxnLst>
            <a:rect l="0" t="0" r="r" b="b"/>
            <a:pathLst>
              <a:path w="239" h="258">
                <a:moveTo>
                  <a:pt x="30" y="175"/>
                </a:moveTo>
                <a:cubicBezTo>
                  <a:pt x="20" y="100"/>
                  <a:pt x="72" y="31"/>
                  <a:pt x="148" y="21"/>
                </a:cubicBezTo>
                <a:cubicBezTo>
                  <a:pt x="181" y="16"/>
                  <a:pt x="213" y="24"/>
                  <a:pt x="239" y="41"/>
                </a:cubicBezTo>
                <a:cubicBezTo>
                  <a:pt x="210" y="14"/>
                  <a:pt x="170" y="0"/>
                  <a:pt x="128" y="6"/>
                </a:cubicBezTo>
                <a:cubicBezTo>
                  <a:pt x="53" y="16"/>
                  <a:pt x="0" y="85"/>
                  <a:pt x="10" y="160"/>
                </a:cubicBezTo>
                <a:cubicBezTo>
                  <a:pt x="16" y="202"/>
                  <a:pt x="40" y="237"/>
                  <a:pt x="73" y="258"/>
                </a:cubicBezTo>
                <a:cubicBezTo>
                  <a:pt x="50" y="237"/>
                  <a:pt x="34" y="208"/>
                  <a:pt x="30" y="175"/>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31" name="Freeform 25">
            <a:extLst>
              <a:ext uri="{FF2B5EF4-FFF2-40B4-BE49-F238E27FC236}">
                <a16:creationId xmlns:a16="http://schemas.microsoft.com/office/drawing/2014/main" id="{02D5326E-666B-4CCF-A32A-F8B9A0A109BB}"/>
              </a:ext>
            </a:extLst>
          </p:cNvPr>
          <p:cNvSpPr>
            <a:spLocks noEditPoints="1"/>
          </p:cNvSpPr>
          <p:nvPr/>
        </p:nvSpPr>
        <p:spPr bwMode="auto">
          <a:xfrm rot="19589649">
            <a:off x="3775756" y="5659020"/>
            <a:ext cx="517480" cy="575630"/>
          </a:xfrm>
          <a:custGeom>
            <a:avLst/>
            <a:gdLst>
              <a:gd name="T0" fmla="*/ 2 w 232"/>
              <a:gd name="T1" fmla="*/ 246 h 248"/>
              <a:gd name="T2" fmla="*/ 1 w 232"/>
              <a:gd name="T3" fmla="*/ 246 h 248"/>
              <a:gd name="T4" fmla="*/ 1 w 232"/>
              <a:gd name="T5" fmla="*/ 246 h 248"/>
              <a:gd name="T6" fmla="*/ 1 w 232"/>
              <a:gd name="T7" fmla="*/ 246 h 248"/>
              <a:gd name="T8" fmla="*/ 1 w 232"/>
              <a:gd name="T9" fmla="*/ 246 h 248"/>
              <a:gd name="T10" fmla="*/ 0 w 232"/>
              <a:gd name="T11" fmla="*/ 246 h 248"/>
              <a:gd name="T12" fmla="*/ 0 w 232"/>
              <a:gd name="T13" fmla="*/ 246 h 248"/>
              <a:gd name="T14" fmla="*/ 31 w 232"/>
              <a:gd name="T15" fmla="*/ 248 h 248"/>
              <a:gd name="T16" fmla="*/ 58 w 232"/>
              <a:gd name="T17" fmla="*/ 246 h 248"/>
              <a:gd name="T18" fmla="*/ 231 w 232"/>
              <a:gd name="T19" fmla="*/ 20 h 248"/>
              <a:gd name="T20" fmla="*/ 231 w 232"/>
              <a:gd name="T21" fmla="*/ 19 h 248"/>
              <a:gd name="T22" fmla="*/ 230 w 232"/>
              <a:gd name="T23" fmla="*/ 19 h 248"/>
              <a:gd name="T24" fmla="*/ 230 w 232"/>
              <a:gd name="T25" fmla="*/ 19 h 248"/>
              <a:gd name="T26" fmla="*/ 230 w 232"/>
              <a:gd name="T27" fmla="*/ 18 h 248"/>
              <a:gd name="T28" fmla="*/ 230 w 232"/>
              <a:gd name="T29" fmla="*/ 18 h 248"/>
              <a:gd name="T30" fmla="*/ 230 w 232"/>
              <a:gd name="T31" fmla="*/ 18 h 248"/>
              <a:gd name="T32" fmla="*/ 230 w 232"/>
              <a:gd name="T33" fmla="*/ 17 h 248"/>
              <a:gd name="T34" fmla="*/ 230 w 232"/>
              <a:gd name="T35" fmla="*/ 17 h 248"/>
              <a:gd name="T36" fmla="*/ 230 w 232"/>
              <a:gd name="T37" fmla="*/ 17 h 248"/>
              <a:gd name="T38" fmla="*/ 230 w 232"/>
              <a:gd name="T39" fmla="*/ 17 h 248"/>
              <a:gd name="T40" fmla="*/ 230 w 232"/>
              <a:gd name="T41" fmla="*/ 16 h 248"/>
              <a:gd name="T42" fmla="*/ 230 w 232"/>
              <a:gd name="T43" fmla="*/ 16 h 248"/>
              <a:gd name="T44" fmla="*/ 230 w 232"/>
              <a:gd name="T45" fmla="*/ 15 h 248"/>
              <a:gd name="T46" fmla="*/ 230 w 232"/>
              <a:gd name="T47" fmla="*/ 15 h 248"/>
              <a:gd name="T48" fmla="*/ 230 w 232"/>
              <a:gd name="T49" fmla="*/ 15 h 248"/>
              <a:gd name="T50" fmla="*/ 230 w 232"/>
              <a:gd name="T51" fmla="*/ 14 h 248"/>
              <a:gd name="T52" fmla="*/ 230 w 232"/>
              <a:gd name="T53" fmla="*/ 14 h 248"/>
              <a:gd name="T54" fmla="*/ 230 w 232"/>
              <a:gd name="T55" fmla="*/ 14 h 248"/>
              <a:gd name="T56" fmla="*/ 230 w 232"/>
              <a:gd name="T57" fmla="*/ 13 h 248"/>
              <a:gd name="T58" fmla="*/ 230 w 232"/>
              <a:gd name="T59" fmla="*/ 13 h 248"/>
              <a:gd name="T60" fmla="*/ 229 w 232"/>
              <a:gd name="T61" fmla="*/ 13 h 248"/>
              <a:gd name="T62" fmla="*/ 229 w 232"/>
              <a:gd name="T63" fmla="*/ 12 h 248"/>
              <a:gd name="T64" fmla="*/ 229 w 232"/>
              <a:gd name="T65" fmla="*/ 12 h 248"/>
              <a:gd name="T66" fmla="*/ 229 w 232"/>
              <a:gd name="T67" fmla="*/ 12 h 248"/>
              <a:gd name="T68" fmla="*/ 229 w 232"/>
              <a:gd name="T69" fmla="*/ 11 h 248"/>
              <a:gd name="T70" fmla="*/ 229 w 232"/>
              <a:gd name="T71" fmla="*/ 11 h 248"/>
              <a:gd name="T72" fmla="*/ 229 w 232"/>
              <a:gd name="T73" fmla="*/ 11 h 248"/>
              <a:gd name="T74" fmla="*/ 229 w 232"/>
              <a:gd name="T75" fmla="*/ 10 h 248"/>
              <a:gd name="T76" fmla="*/ 229 w 232"/>
              <a:gd name="T77" fmla="*/ 10 h 248"/>
              <a:gd name="T78" fmla="*/ 229 w 232"/>
              <a:gd name="T79" fmla="*/ 10 h 248"/>
              <a:gd name="T80" fmla="*/ 229 w 232"/>
              <a:gd name="T81" fmla="*/ 10 h 248"/>
              <a:gd name="T82" fmla="*/ 229 w 232"/>
              <a:gd name="T83" fmla="*/ 9 h 248"/>
              <a:gd name="T84" fmla="*/ 229 w 232"/>
              <a:gd name="T85" fmla="*/ 9 h 248"/>
              <a:gd name="T86" fmla="*/ 229 w 232"/>
              <a:gd name="T87" fmla="*/ 8 h 248"/>
              <a:gd name="T88" fmla="*/ 229 w 232"/>
              <a:gd name="T89" fmla="*/ 8 h 248"/>
              <a:gd name="T90" fmla="*/ 229 w 232"/>
              <a:gd name="T91" fmla="*/ 8 h 248"/>
              <a:gd name="T92" fmla="*/ 229 w 232"/>
              <a:gd name="T93" fmla="*/ 8 h 248"/>
              <a:gd name="T94" fmla="*/ 228 w 232"/>
              <a:gd name="T95" fmla="*/ 7 h 248"/>
              <a:gd name="T96" fmla="*/ 228 w 232"/>
              <a:gd name="T97" fmla="*/ 7 h 248"/>
              <a:gd name="T98" fmla="*/ 228 w 232"/>
              <a:gd name="T99" fmla="*/ 7 h 248"/>
              <a:gd name="T100" fmla="*/ 228 w 232"/>
              <a:gd name="T101" fmla="*/ 6 h 248"/>
              <a:gd name="T102" fmla="*/ 228 w 232"/>
              <a:gd name="T103" fmla="*/ 5 h 248"/>
              <a:gd name="T104" fmla="*/ 228 w 232"/>
              <a:gd name="T105" fmla="*/ 5 h 248"/>
              <a:gd name="T106" fmla="*/ 228 w 232"/>
              <a:gd name="T107" fmla="*/ 5 h 248"/>
              <a:gd name="T108" fmla="*/ 228 w 232"/>
              <a:gd name="T109" fmla="*/ 4 h 248"/>
              <a:gd name="T110" fmla="*/ 228 w 232"/>
              <a:gd name="T111" fmla="*/ 4 h 248"/>
              <a:gd name="T112" fmla="*/ 228 w 232"/>
              <a:gd name="T113" fmla="*/ 4 h 248"/>
              <a:gd name="T114" fmla="*/ 228 w 232"/>
              <a:gd name="T115" fmla="*/ 4 h 248"/>
              <a:gd name="T116" fmla="*/ 228 w 232"/>
              <a:gd name="T117" fmla="*/ 3 h 248"/>
              <a:gd name="T118" fmla="*/ 227 w 232"/>
              <a:gd name="T119" fmla="*/ 1 h 248"/>
              <a:gd name="T120" fmla="*/ 227 w 232"/>
              <a:gd name="T121" fmla="*/ 1 h 248"/>
              <a:gd name="T122" fmla="*/ 227 w 232"/>
              <a:gd name="T123" fmla="*/ 1 h 248"/>
              <a:gd name="T124" fmla="*/ 227 w 232"/>
              <a:gd name="T12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248">
                <a:moveTo>
                  <a:pt x="2" y="246"/>
                </a:moveTo>
                <a:cubicBezTo>
                  <a:pt x="2" y="246"/>
                  <a:pt x="2" y="246"/>
                  <a:pt x="2" y="246"/>
                </a:cubicBezTo>
                <a:cubicBezTo>
                  <a:pt x="2" y="246"/>
                  <a:pt x="2" y="246"/>
                  <a:pt x="2" y="246"/>
                </a:cubicBezTo>
                <a:moveTo>
                  <a:pt x="1" y="246"/>
                </a:moveTo>
                <a:cubicBezTo>
                  <a:pt x="1" y="246"/>
                  <a:pt x="1" y="246"/>
                  <a:pt x="2"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0" y="246"/>
                </a:moveTo>
                <a:cubicBezTo>
                  <a:pt x="0" y="246"/>
                  <a:pt x="0" y="246"/>
                  <a:pt x="0" y="246"/>
                </a:cubicBezTo>
                <a:cubicBezTo>
                  <a:pt x="0" y="246"/>
                  <a:pt x="0" y="246"/>
                  <a:pt x="0" y="246"/>
                </a:cubicBezTo>
                <a:moveTo>
                  <a:pt x="0" y="246"/>
                </a:moveTo>
                <a:cubicBezTo>
                  <a:pt x="0" y="246"/>
                  <a:pt x="0" y="246"/>
                  <a:pt x="0" y="246"/>
                </a:cubicBezTo>
                <a:cubicBezTo>
                  <a:pt x="0" y="246"/>
                  <a:pt x="0" y="246"/>
                  <a:pt x="0" y="246"/>
                </a:cubicBezTo>
                <a:moveTo>
                  <a:pt x="232" y="47"/>
                </a:moveTo>
                <a:cubicBezTo>
                  <a:pt x="232" y="146"/>
                  <a:pt x="159" y="232"/>
                  <a:pt x="58" y="246"/>
                </a:cubicBezTo>
                <a:cubicBezTo>
                  <a:pt x="49" y="247"/>
                  <a:pt x="40" y="248"/>
                  <a:pt x="31" y="248"/>
                </a:cubicBezTo>
                <a:cubicBezTo>
                  <a:pt x="21" y="248"/>
                  <a:pt x="11" y="247"/>
                  <a:pt x="2" y="246"/>
                </a:cubicBezTo>
                <a:cubicBezTo>
                  <a:pt x="11" y="247"/>
                  <a:pt x="21" y="248"/>
                  <a:pt x="31" y="248"/>
                </a:cubicBezTo>
                <a:cubicBezTo>
                  <a:pt x="40" y="248"/>
                  <a:pt x="49" y="247"/>
                  <a:pt x="58" y="246"/>
                </a:cubicBezTo>
                <a:cubicBezTo>
                  <a:pt x="159" y="232"/>
                  <a:pt x="232" y="146"/>
                  <a:pt x="232" y="47"/>
                </a:cubicBezTo>
                <a:moveTo>
                  <a:pt x="231" y="19"/>
                </a:moveTo>
                <a:cubicBezTo>
                  <a:pt x="231" y="20"/>
                  <a:pt x="231" y="20"/>
                  <a:pt x="231" y="20"/>
                </a:cubicBezTo>
                <a:cubicBezTo>
                  <a:pt x="231" y="20"/>
                  <a:pt x="231" y="20"/>
                  <a:pt x="231" y="19"/>
                </a:cubicBezTo>
                <a:moveTo>
                  <a:pt x="230" y="19"/>
                </a:moveTo>
                <a:cubicBezTo>
                  <a:pt x="230" y="19"/>
                  <a:pt x="231" y="19"/>
                  <a:pt x="231" y="19"/>
                </a:cubicBezTo>
                <a:cubicBezTo>
                  <a:pt x="231" y="19"/>
                  <a:pt x="230" y="19"/>
                  <a:pt x="230" y="19"/>
                </a:cubicBezTo>
                <a:moveTo>
                  <a:pt x="230" y="19"/>
                </a:moveTo>
                <a:cubicBezTo>
                  <a:pt x="230" y="19"/>
                  <a:pt x="230" y="19"/>
                  <a:pt x="230" y="19"/>
                </a:cubicBezTo>
                <a:cubicBezTo>
                  <a:pt x="230" y="19"/>
                  <a:pt x="230" y="19"/>
                  <a:pt x="230" y="19"/>
                </a:cubicBezTo>
                <a:moveTo>
                  <a:pt x="230" y="19"/>
                </a:moveTo>
                <a:cubicBezTo>
                  <a:pt x="230" y="19"/>
                  <a:pt x="230" y="19"/>
                  <a:pt x="230" y="19"/>
                </a:cubicBezTo>
                <a:cubicBezTo>
                  <a:pt x="230" y="19"/>
                  <a:pt x="230" y="19"/>
                  <a:pt x="230" y="19"/>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6"/>
                </a:moveTo>
                <a:cubicBezTo>
                  <a:pt x="230" y="16"/>
                  <a:pt x="230" y="16"/>
                  <a:pt x="230" y="17"/>
                </a:cubicBezTo>
                <a:cubicBezTo>
                  <a:pt x="230" y="16"/>
                  <a:pt x="230" y="16"/>
                  <a:pt x="230" y="16"/>
                </a:cubicBezTo>
                <a:moveTo>
                  <a:pt x="230" y="16"/>
                </a:moveTo>
                <a:cubicBezTo>
                  <a:pt x="230" y="16"/>
                  <a:pt x="230" y="16"/>
                  <a:pt x="230" y="16"/>
                </a:cubicBezTo>
                <a:cubicBezTo>
                  <a:pt x="230" y="16"/>
                  <a:pt x="230" y="16"/>
                  <a:pt x="230" y="16"/>
                </a:cubicBezTo>
                <a:moveTo>
                  <a:pt x="230" y="15"/>
                </a:moveTo>
                <a:cubicBezTo>
                  <a:pt x="230" y="15"/>
                  <a:pt x="230" y="15"/>
                  <a:pt x="230" y="16"/>
                </a:cubicBezTo>
                <a:cubicBezTo>
                  <a:pt x="230" y="15"/>
                  <a:pt x="230" y="15"/>
                  <a:pt x="230" y="15"/>
                </a:cubicBezTo>
                <a:moveTo>
                  <a:pt x="230" y="15"/>
                </a:moveTo>
                <a:cubicBezTo>
                  <a:pt x="230" y="15"/>
                  <a:pt x="230" y="15"/>
                  <a:pt x="230" y="15"/>
                </a:cubicBezTo>
                <a:cubicBezTo>
                  <a:pt x="230" y="15"/>
                  <a:pt x="230" y="15"/>
                  <a:pt x="230" y="15"/>
                </a:cubicBezTo>
                <a:moveTo>
                  <a:pt x="230" y="15"/>
                </a:moveTo>
                <a:cubicBezTo>
                  <a:pt x="230" y="15"/>
                  <a:pt x="230" y="15"/>
                  <a:pt x="230" y="15"/>
                </a:cubicBezTo>
                <a:cubicBezTo>
                  <a:pt x="230" y="15"/>
                  <a:pt x="230" y="15"/>
                  <a:pt x="230" y="15"/>
                </a:cubicBezTo>
                <a:moveTo>
                  <a:pt x="230" y="14"/>
                </a:moveTo>
                <a:cubicBezTo>
                  <a:pt x="230" y="14"/>
                  <a:pt x="230" y="15"/>
                  <a:pt x="230" y="15"/>
                </a:cubicBezTo>
                <a:cubicBezTo>
                  <a:pt x="230" y="15"/>
                  <a:pt x="230" y="14"/>
                  <a:pt x="230" y="14"/>
                </a:cubicBezTo>
                <a:moveTo>
                  <a:pt x="230" y="14"/>
                </a:moveTo>
                <a:cubicBezTo>
                  <a:pt x="230" y="14"/>
                  <a:pt x="230" y="14"/>
                  <a:pt x="230" y="14"/>
                </a:cubicBezTo>
                <a:cubicBezTo>
                  <a:pt x="230" y="14"/>
                  <a:pt x="230" y="14"/>
                  <a:pt x="230" y="14"/>
                </a:cubicBezTo>
                <a:moveTo>
                  <a:pt x="230" y="14"/>
                </a:moveTo>
                <a:cubicBezTo>
                  <a:pt x="230" y="14"/>
                  <a:pt x="230" y="14"/>
                  <a:pt x="230" y="14"/>
                </a:cubicBezTo>
                <a:cubicBezTo>
                  <a:pt x="230" y="14"/>
                  <a:pt x="230" y="14"/>
                  <a:pt x="230" y="14"/>
                </a:cubicBezTo>
                <a:moveTo>
                  <a:pt x="230" y="13"/>
                </a:moveTo>
                <a:cubicBezTo>
                  <a:pt x="230" y="14"/>
                  <a:pt x="230" y="14"/>
                  <a:pt x="230" y="14"/>
                </a:cubicBezTo>
                <a:cubicBezTo>
                  <a:pt x="230" y="14"/>
                  <a:pt x="230" y="14"/>
                  <a:pt x="230" y="13"/>
                </a:cubicBezTo>
                <a:moveTo>
                  <a:pt x="230" y="13"/>
                </a:moveTo>
                <a:cubicBezTo>
                  <a:pt x="230" y="13"/>
                  <a:pt x="230" y="13"/>
                  <a:pt x="230" y="13"/>
                </a:cubicBezTo>
                <a:cubicBezTo>
                  <a:pt x="230" y="13"/>
                  <a:pt x="230" y="13"/>
                  <a:pt x="230" y="13"/>
                </a:cubicBezTo>
                <a:moveTo>
                  <a:pt x="229" y="13"/>
                </a:moveTo>
                <a:cubicBezTo>
                  <a:pt x="230" y="13"/>
                  <a:pt x="230" y="13"/>
                  <a:pt x="230" y="13"/>
                </a:cubicBezTo>
                <a:cubicBezTo>
                  <a:pt x="230" y="13"/>
                  <a:pt x="230" y="13"/>
                  <a:pt x="229" y="13"/>
                </a:cubicBezTo>
                <a:moveTo>
                  <a:pt x="229" y="12"/>
                </a:moveTo>
                <a:cubicBezTo>
                  <a:pt x="229" y="13"/>
                  <a:pt x="229" y="13"/>
                  <a:pt x="229" y="13"/>
                </a:cubicBezTo>
                <a:cubicBezTo>
                  <a:pt x="229" y="13"/>
                  <a:pt x="229" y="13"/>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9"/>
                </a:moveTo>
                <a:cubicBezTo>
                  <a:pt x="229" y="9"/>
                  <a:pt x="229" y="10"/>
                  <a:pt x="229" y="10"/>
                </a:cubicBezTo>
                <a:cubicBezTo>
                  <a:pt x="229" y="10"/>
                  <a:pt x="229" y="9"/>
                  <a:pt x="229" y="9"/>
                </a:cubicBezTo>
                <a:moveTo>
                  <a:pt x="229" y="9"/>
                </a:moveTo>
                <a:cubicBezTo>
                  <a:pt x="229" y="9"/>
                  <a:pt x="229" y="9"/>
                  <a:pt x="229" y="9"/>
                </a:cubicBezTo>
                <a:cubicBezTo>
                  <a:pt x="229" y="9"/>
                  <a:pt x="229" y="9"/>
                  <a:pt x="229" y="9"/>
                </a:cubicBezTo>
                <a:moveTo>
                  <a:pt x="229" y="9"/>
                </a:moveTo>
                <a:cubicBezTo>
                  <a:pt x="229" y="9"/>
                  <a:pt x="229" y="9"/>
                  <a:pt x="229" y="9"/>
                </a:cubicBezTo>
                <a:cubicBezTo>
                  <a:pt x="229" y="9"/>
                  <a:pt x="229" y="9"/>
                  <a:pt x="229" y="9"/>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7"/>
                </a:moveTo>
                <a:cubicBezTo>
                  <a:pt x="229" y="7"/>
                  <a:pt x="229" y="8"/>
                  <a:pt x="229" y="8"/>
                </a:cubicBezTo>
                <a:cubicBezTo>
                  <a:pt x="229" y="8"/>
                  <a:pt x="229" y="7"/>
                  <a:pt x="229"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6"/>
                </a:moveTo>
                <a:cubicBezTo>
                  <a:pt x="228" y="6"/>
                  <a:pt x="228" y="6"/>
                  <a:pt x="228" y="6"/>
                </a:cubicBezTo>
                <a:cubicBezTo>
                  <a:pt x="228" y="6"/>
                  <a:pt x="228" y="6"/>
                  <a:pt x="228" y="6"/>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3"/>
                </a:moveTo>
                <a:cubicBezTo>
                  <a:pt x="228" y="3"/>
                  <a:pt x="228" y="3"/>
                  <a:pt x="228" y="4"/>
                </a:cubicBezTo>
                <a:cubicBezTo>
                  <a:pt x="228" y="3"/>
                  <a:pt x="228" y="3"/>
                  <a:pt x="228" y="3"/>
                </a:cubicBezTo>
                <a:moveTo>
                  <a:pt x="228" y="3"/>
                </a:moveTo>
                <a:cubicBezTo>
                  <a:pt x="228" y="3"/>
                  <a:pt x="228" y="3"/>
                  <a:pt x="228" y="3"/>
                </a:cubicBezTo>
                <a:cubicBezTo>
                  <a:pt x="228" y="3"/>
                  <a:pt x="228" y="3"/>
                  <a:pt x="228" y="3"/>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0"/>
                </a:moveTo>
                <a:cubicBezTo>
                  <a:pt x="227" y="0"/>
                  <a:pt x="227" y="0"/>
                  <a:pt x="227" y="0"/>
                </a:cubicBezTo>
                <a:cubicBezTo>
                  <a:pt x="227" y="0"/>
                  <a:pt x="227" y="0"/>
                  <a:pt x="227" y="0"/>
                </a:cubicBezTo>
              </a:path>
            </a:pathLst>
          </a:custGeom>
          <a:solidFill>
            <a:srgbClr val="D5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32" name="Rounded Rectangle 23">
            <a:extLst>
              <a:ext uri="{FF2B5EF4-FFF2-40B4-BE49-F238E27FC236}">
                <a16:creationId xmlns:a16="http://schemas.microsoft.com/office/drawing/2014/main" id="{8E534672-0521-4EE9-BC97-93684C131759}"/>
              </a:ext>
            </a:extLst>
          </p:cNvPr>
          <p:cNvSpPr/>
          <p:nvPr/>
        </p:nvSpPr>
        <p:spPr>
          <a:xfrm>
            <a:off x="3981547" y="3229077"/>
            <a:ext cx="7187041" cy="914400"/>
          </a:xfrm>
          <a:prstGeom prst="roundRect">
            <a:avLst/>
          </a:prstGeom>
          <a:noFill/>
          <a:ln w="12700">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lvl="0">
              <a:defRPr/>
            </a:pPr>
            <a:endParaRPr lang="en-IN" sz="1600" dirty="0">
              <a:solidFill>
                <a:schemeClr val="tx1"/>
              </a:solidFill>
            </a:endParaRPr>
          </a:p>
        </p:txBody>
      </p:sp>
      <p:sp>
        <p:nvSpPr>
          <p:cNvPr id="233" name="Freeform 20">
            <a:extLst>
              <a:ext uri="{FF2B5EF4-FFF2-40B4-BE49-F238E27FC236}">
                <a16:creationId xmlns:a16="http://schemas.microsoft.com/office/drawing/2014/main" id="{9F221BC0-E67E-459B-94EA-59EA7D5AB23F}"/>
              </a:ext>
            </a:extLst>
          </p:cNvPr>
          <p:cNvSpPr>
            <a:spLocks noEditPoints="1"/>
          </p:cNvSpPr>
          <p:nvPr/>
        </p:nvSpPr>
        <p:spPr bwMode="auto">
          <a:xfrm rot="19589649">
            <a:off x="3375973" y="3267369"/>
            <a:ext cx="805083" cy="836109"/>
          </a:xfrm>
          <a:custGeom>
            <a:avLst/>
            <a:gdLst>
              <a:gd name="T0" fmla="*/ 158 w 361"/>
              <a:gd name="T1" fmla="*/ 13 h 361"/>
              <a:gd name="T2" fmla="*/ 12 w 361"/>
              <a:gd name="T3" fmla="*/ 203 h 361"/>
              <a:gd name="T4" fmla="*/ 203 w 361"/>
              <a:gd name="T5" fmla="*/ 349 h 361"/>
              <a:gd name="T6" fmla="*/ 348 w 361"/>
              <a:gd name="T7" fmla="*/ 158 h 361"/>
              <a:gd name="T8" fmla="*/ 158 w 361"/>
              <a:gd name="T9" fmla="*/ 13 h 361"/>
              <a:gd name="T10" fmla="*/ 199 w 361"/>
              <a:gd name="T11" fmla="*/ 317 h 361"/>
              <a:gd name="T12" fmla="*/ 44 w 361"/>
              <a:gd name="T13" fmla="*/ 199 h 361"/>
              <a:gd name="T14" fmla="*/ 162 w 361"/>
              <a:gd name="T15" fmla="*/ 45 h 361"/>
              <a:gd name="T16" fmla="*/ 316 w 361"/>
              <a:gd name="T17" fmla="*/ 162 h 361"/>
              <a:gd name="T18" fmla="*/ 199 w 361"/>
              <a:gd name="T19" fmla="*/ 317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361">
                <a:moveTo>
                  <a:pt x="158" y="13"/>
                </a:moveTo>
                <a:cubicBezTo>
                  <a:pt x="65" y="25"/>
                  <a:pt x="0" y="111"/>
                  <a:pt x="12" y="203"/>
                </a:cubicBezTo>
                <a:cubicBezTo>
                  <a:pt x="25" y="296"/>
                  <a:pt x="110" y="361"/>
                  <a:pt x="203" y="349"/>
                </a:cubicBezTo>
                <a:cubicBezTo>
                  <a:pt x="296" y="336"/>
                  <a:pt x="361" y="251"/>
                  <a:pt x="348" y="158"/>
                </a:cubicBezTo>
                <a:cubicBezTo>
                  <a:pt x="336" y="65"/>
                  <a:pt x="250" y="0"/>
                  <a:pt x="158" y="13"/>
                </a:cubicBezTo>
                <a:close/>
                <a:moveTo>
                  <a:pt x="199" y="317"/>
                </a:moveTo>
                <a:cubicBezTo>
                  <a:pt x="123" y="327"/>
                  <a:pt x="54" y="274"/>
                  <a:pt x="44" y="199"/>
                </a:cubicBezTo>
                <a:cubicBezTo>
                  <a:pt x="34" y="124"/>
                  <a:pt x="87" y="55"/>
                  <a:pt x="162" y="45"/>
                </a:cubicBezTo>
                <a:cubicBezTo>
                  <a:pt x="237" y="35"/>
                  <a:pt x="306" y="87"/>
                  <a:pt x="316" y="162"/>
                </a:cubicBezTo>
                <a:cubicBezTo>
                  <a:pt x="326" y="237"/>
                  <a:pt x="274" y="307"/>
                  <a:pt x="199" y="317"/>
                </a:cubicBezTo>
                <a:close/>
              </a:path>
            </a:pathLst>
          </a:custGeom>
          <a:solidFill>
            <a:srgbClr val="998C85">
              <a:lumMod val="20000"/>
              <a:lumOff val="80000"/>
            </a:srgbClr>
          </a:solidFill>
          <a:ln w="6350">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34" name="Freeform 21">
            <a:extLst>
              <a:ext uri="{FF2B5EF4-FFF2-40B4-BE49-F238E27FC236}">
                <a16:creationId xmlns:a16="http://schemas.microsoft.com/office/drawing/2014/main" id="{0125F5E5-CB31-49BF-8234-47801A581570}"/>
              </a:ext>
            </a:extLst>
          </p:cNvPr>
          <p:cNvSpPr>
            <a:spLocks/>
          </p:cNvSpPr>
          <p:nvPr/>
        </p:nvSpPr>
        <p:spPr bwMode="auto">
          <a:xfrm rot="19589649">
            <a:off x="3453018" y="3348155"/>
            <a:ext cx="650458" cy="677463"/>
          </a:xfrm>
          <a:custGeom>
            <a:avLst/>
            <a:gdLst>
              <a:gd name="T0" fmla="*/ 10 w 292"/>
              <a:gd name="T1" fmla="*/ 164 h 292"/>
              <a:gd name="T2" fmla="*/ 128 w 292"/>
              <a:gd name="T3" fmla="*/ 10 h 292"/>
              <a:gd name="T4" fmla="*/ 282 w 292"/>
              <a:gd name="T5" fmla="*/ 127 h 292"/>
              <a:gd name="T6" fmla="*/ 165 w 292"/>
              <a:gd name="T7" fmla="*/ 282 h 292"/>
              <a:gd name="T8" fmla="*/ 10 w 292"/>
              <a:gd name="T9" fmla="*/ 164 h 292"/>
            </a:gdLst>
            <a:ahLst/>
            <a:cxnLst>
              <a:cxn ang="0">
                <a:pos x="T0" y="T1"/>
              </a:cxn>
              <a:cxn ang="0">
                <a:pos x="T2" y="T3"/>
              </a:cxn>
              <a:cxn ang="0">
                <a:pos x="T4" y="T5"/>
              </a:cxn>
              <a:cxn ang="0">
                <a:pos x="T6" y="T7"/>
              </a:cxn>
              <a:cxn ang="0">
                <a:pos x="T8" y="T9"/>
              </a:cxn>
            </a:cxnLst>
            <a:rect l="0" t="0" r="r" b="b"/>
            <a:pathLst>
              <a:path w="292" h="292">
                <a:moveTo>
                  <a:pt x="10" y="164"/>
                </a:moveTo>
                <a:cubicBezTo>
                  <a:pt x="0" y="89"/>
                  <a:pt x="53" y="20"/>
                  <a:pt x="128" y="10"/>
                </a:cubicBezTo>
                <a:cubicBezTo>
                  <a:pt x="203" y="0"/>
                  <a:pt x="272" y="52"/>
                  <a:pt x="282" y="127"/>
                </a:cubicBezTo>
                <a:cubicBezTo>
                  <a:pt x="292" y="202"/>
                  <a:pt x="240" y="272"/>
                  <a:pt x="165" y="282"/>
                </a:cubicBezTo>
                <a:cubicBezTo>
                  <a:pt x="89" y="292"/>
                  <a:pt x="20" y="239"/>
                  <a:pt x="10" y="164"/>
                </a:cubicBez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35" name="Freeform 22">
            <a:extLst>
              <a:ext uri="{FF2B5EF4-FFF2-40B4-BE49-F238E27FC236}">
                <a16:creationId xmlns:a16="http://schemas.microsoft.com/office/drawing/2014/main" id="{771AE62B-1AF6-4DCF-B3A9-F2B7776E74CA}"/>
              </a:ext>
            </a:extLst>
          </p:cNvPr>
          <p:cNvSpPr>
            <a:spLocks/>
          </p:cNvSpPr>
          <p:nvPr/>
        </p:nvSpPr>
        <p:spPr bwMode="auto">
          <a:xfrm rot="19589649">
            <a:off x="3446299" y="3395510"/>
            <a:ext cx="531911" cy="598140"/>
          </a:xfrm>
          <a:custGeom>
            <a:avLst/>
            <a:gdLst>
              <a:gd name="T0" fmla="*/ 30 w 239"/>
              <a:gd name="T1" fmla="*/ 175 h 258"/>
              <a:gd name="T2" fmla="*/ 148 w 239"/>
              <a:gd name="T3" fmla="*/ 21 h 258"/>
              <a:gd name="T4" fmla="*/ 239 w 239"/>
              <a:gd name="T5" fmla="*/ 41 h 258"/>
              <a:gd name="T6" fmla="*/ 128 w 239"/>
              <a:gd name="T7" fmla="*/ 6 h 258"/>
              <a:gd name="T8" fmla="*/ 10 w 239"/>
              <a:gd name="T9" fmla="*/ 160 h 258"/>
              <a:gd name="T10" fmla="*/ 73 w 239"/>
              <a:gd name="T11" fmla="*/ 258 h 258"/>
              <a:gd name="T12" fmla="*/ 30 w 239"/>
              <a:gd name="T13" fmla="*/ 175 h 258"/>
            </a:gdLst>
            <a:ahLst/>
            <a:cxnLst>
              <a:cxn ang="0">
                <a:pos x="T0" y="T1"/>
              </a:cxn>
              <a:cxn ang="0">
                <a:pos x="T2" y="T3"/>
              </a:cxn>
              <a:cxn ang="0">
                <a:pos x="T4" y="T5"/>
              </a:cxn>
              <a:cxn ang="0">
                <a:pos x="T6" y="T7"/>
              </a:cxn>
              <a:cxn ang="0">
                <a:pos x="T8" y="T9"/>
              </a:cxn>
              <a:cxn ang="0">
                <a:pos x="T10" y="T11"/>
              </a:cxn>
              <a:cxn ang="0">
                <a:pos x="T12" y="T13"/>
              </a:cxn>
            </a:cxnLst>
            <a:rect l="0" t="0" r="r" b="b"/>
            <a:pathLst>
              <a:path w="239" h="258">
                <a:moveTo>
                  <a:pt x="30" y="175"/>
                </a:moveTo>
                <a:cubicBezTo>
                  <a:pt x="20" y="100"/>
                  <a:pt x="72" y="31"/>
                  <a:pt x="148" y="21"/>
                </a:cubicBezTo>
                <a:cubicBezTo>
                  <a:pt x="181" y="16"/>
                  <a:pt x="213" y="24"/>
                  <a:pt x="239" y="41"/>
                </a:cubicBezTo>
                <a:cubicBezTo>
                  <a:pt x="210" y="14"/>
                  <a:pt x="170" y="0"/>
                  <a:pt x="128" y="6"/>
                </a:cubicBezTo>
                <a:cubicBezTo>
                  <a:pt x="53" y="16"/>
                  <a:pt x="0" y="85"/>
                  <a:pt x="10" y="160"/>
                </a:cubicBezTo>
                <a:cubicBezTo>
                  <a:pt x="16" y="202"/>
                  <a:pt x="40" y="237"/>
                  <a:pt x="73" y="258"/>
                </a:cubicBezTo>
                <a:cubicBezTo>
                  <a:pt x="50" y="237"/>
                  <a:pt x="34" y="208"/>
                  <a:pt x="30" y="175"/>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36" name="Freeform 24">
            <a:extLst>
              <a:ext uri="{FF2B5EF4-FFF2-40B4-BE49-F238E27FC236}">
                <a16:creationId xmlns:a16="http://schemas.microsoft.com/office/drawing/2014/main" id="{364CA985-CC0A-49D6-88D2-68A90EFAAB6D}"/>
              </a:ext>
            </a:extLst>
          </p:cNvPr>
          <p:cNvSpPr>
            <a:spLocks/>
          </p:cNvSpPr>
          <p:nvPr/>
        </p:nvSpPr>
        <p:spPr bwMode="auto">
          <a:xfrm rot="19589649">
            <a:off x="3519909" y="3238145"/>
            <a:ext cx="789620" cy="867195"/>
          </a:xfrm>
          <a:custGeom>
            <a:avLst/>
            <a:gdLst>
              <a:gd name="T0" fmla="*/ 318 w 354"/>
              <a:gd name="T1" fmla="*/ 113 h 374"/>
              <a:gd name="T2" fmla="*/ 318 w 354"/>
              <a:gd name="T3" fmla="*/ 114 h 374"/>
              <a:gd name="T4" fmla="*/ 318 w 354"/>
              <a:gd name="T5" fmla="*/ 114 h 374"/>
              <a:gd name="T6" fmla="*/ 319 w 354"/>
              <a:gd name="T7" fmla="*/ 116 h 374"/>
              <a:gd name="T8" fmla="*/ 319 w 354"/>
              <a:gd name="T9" fmla="*/ 117 h 374"/>
              <a:gd name="T10" fmla="*/ 319 w 354"/>
              <a:gd name="T11" fmla="*/ 117 h 374"/>
              <a:gd name="T12" fmla="*/ 319 w 354"/>
              <a:gd name="T13" fmla="*/ 118 h 374"/>
              <a:gd name="T14" fmla="*/ 319 w 354"/>
              <a:gd name="T15" fmla="*/ 118 h 374"/>
              <a:gd name="T16" fmla="*/ 319 w 354"/>
              <a:gd name="T17" fmla="*/ 119 h 374"/>
              <a:gd name="T18" fmla="*/ 319 w 354"/>
              <a:gd name="T19" fmla="*/ 120 h 374"/>
              <a:gd name="T20" fmla="*/ 319 w 354"/>
              <a:gd name="T21" fmla="*/ 120 h 374"/>
              <a:gd name="T22" fmla="*/ 320 w 354"/>
              <a:gd name="T23" fmla="*/ 121 h 374"/>
              <a:gd name="T24" fmla="*/ 320 w 354"/>
              <a:gd name="T25" fmla="*/ 121 h 374"/>
              <a:gd name="T26" fmla="*/ 320 w 354"/>
              <a:gd name="T27" fmla="*/ 122 h 374"/>
              <a:gd name="T28" fmla="*/ 320 w 354"/>
              <a:gd name="T29" fmla="*/ 122 h 374"/>
              <a:gd name="T30" fmla="*/ 320 w 354"/>
              <a:gd name="T31" fmla="*/ 123 h 374"/>
              <a:gd name="T32" fmla="*/ 320 w 354"/>
              <a:gd name="T33" fmla="*/ 123 h 374"/>
              <a:gd name="T34" fmla="*/ 320 w 354"/>
              <a:gd name="T35" fmla="*/ 124 h 374"/>
              <a:gd name="T36" fmla="*/ 320 w 354"/>
              <a:gd name="T37" fmla="*/ 124 h 374"/>
              <a:gd name="T38" fmla="*/ 320 w 354"/>
              <a:gd name="T39" fmla="*/ 125 h 374"/>
              <a:gd name="T40" fmla="*/ 320 w 354"/>
              <a:gd name="T41" fmla="*/ 125 h 374"/>
              <a:gd name="T42" fmla="*/ 320 w 354"/>
              <a:gd name="T43" fmla="*/ 125 h 374"/>
              <a:gd name="T44" fmla="*/ 321 w 354"/>
              <a:gd name="T45" fmla="*/ 126 h 374"/>
              <a:gd name="T46" fmla="*/ 321 w 354"/>
              <a:gd name="T47" fmla="*/ 126 h 374"/>
              <a:gd name="T48" fmla="*/ 321 w 354"/>
              <a:gd name="T49" fmla="*/ 127 h 374"/>
              <a:gd name="T50" fmla="*/ 321 w 354"/>
              <a:gd name="T51" fmla="*/ 127 h 374"/>
              <a:gd name="T52" fmla="*/ 321 w 354"/>
              <a:gd name="T53" fmla="*/ 128 h 374"/>
              <a:gd name="T54" fmla="*/ 321 w 354"/>
              <a:gd name="T55" fmla="*/ 128 h 374"/>
              <a:gd name="T56" fmla="*/ 321 w 354"/>
              <a:gd name="T57" fmla="*/ 129 h 374"/>
              <a:gd name="T58" fmla="*/ 321 w 354"/>
              <a:gd name="T59" fmla="*/ 130 h 374"/>
              <a:gd name="T60" fmla="*/ 321 w 354"/>
              <a:gd name="T61" fmla="*/ 130 h 374"/>
              <a:gd name="T62" fmla="*/ 321 w 354"/>
              <a:gd name="T63" fmla="*/ 131 h 374"/>
              <a:gd name="T64" fmla="*/ 321 w 354"/>
              <a:gd name="T65" fmla="*/ 131 h 374"/>
              <a:gd name="T66" fmla="*/ 321 w 354"/>
              <a:gd name="T67" fmla="*/ 132 h 374"/>
              <a:gd name="T68" fmla="*/ 321 w 354"/>
              <a:gd name="T69" fmla="*/ 132 h 374"/>
              <a:gd name="T70" fmla="*/ 322 w 354"/>
              <a:gd name="T71" fmla="*/ 132 h 374"/>
              <a:gd name="T72" fmla="*/ 323 w 354"/>
              <a:gd name="T73" fmla="*/ 160 h 374"/>
              <a:gd name="T74" fmla="*/ 93 w 354"/>
              <a:gd name="T75" fmla="*/ 359 h 374"/>
              <a:gd name="T76" fmla="*/ 93 w 354"/>
              <a:gd name="T77" fmla="*/ 359 h 374"/>
              <a:gd name="T78" fmla="*/ 92 w 354"/>
              <a:gd name="T79" fmla="*/ 359 h 374"/>
              <a:gd name="T80" fmla="*/ 92 w 354"/>
              <a:gd name="T81" fmla="*/ 359 h 374"/>
              <a:gd name="T82" fmla="*/ 91 w 354"/>
              <a:gd name="T83" fmla="*/ 359 h 374"/>
              <a:gd name="T84" fmla="*/ 0 w 354"/>
              <a:gd name="T85" fmla="*/ 320 h 374"/>
              <a:gd name="T86" fmla="*/ 339 w 354"/>
              <a:gd name="T87" fmla="*/ 14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4" h="374">
                <a:moveTo>
                  <a:pt x="244" y="0"/>
                </a:moveTo>
                <a:cubicBezTo>
                  <a:pt x="280" y="27"/>
                  <a:pt x="307" y="67"/>
                  <a:pt x="318" y="113"/>
                </a:cubicBezTo>
                <a:cubicBezTo>
                  <a:pt x="318" y="113"/>
                  <a:pt x="318" y="113"/>
                  <a:pt x="318" y="113"/>
                </a:cubicBezTo>
                <a:cubicBezTo>
                  <a:pt x="318" y="113"/>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4"/>
                  <a:pt x="318" y="114"/>
                  <a:pt x="318" y="114"/>
                </a:cubicBezTo>
                <a:cubicBezTo>
                  <a:pt x="318" y="115"/>
                  <a:pt x="318" y="116"/>
                  <a:pt x="319" y="116"/>
                </a:cubicBezTo>
                <a:cubicBezTo>
                  <a:pt x="319" y="116"/>
                  <a:pt x="319" y="116"/>
                  <a:pt x="319" y="116"/>
                </a:cubicBezTo>
                <a:cubicBezTo>
                  <a:pt x="319" y="116"/>
                  <a:pt x="319" y="116"/>
                  <a:pt x="319" y="116"/>
                </a:cubicBezTo>
                <a:cubicBezTo>
                  <a:pt x="319" y="116"/>
                  <a:pt x="319" y="116"/>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7"/>
                  <a:pt x="319" y="117"/>
                </a:cubicBezTo>
                <a:cubicBezTo>
                  <a:pt x="319" y="117"/>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8"/>
                  <a:pt x="319" y="118"/>
                  <a:pt x="319" y="118"/>
                </a:cubicBezTo>
                <a:cubicBezTo>
                  <a:pt x="319" y="119"/>
                  <a:pt x="319" y="119"/>
                  <a:pt x="319" y="119"/>
                </a:cubicBezTo>
                <a:cubicBezTo>
                  <a:pt x="319" y="119"/>
                  <a:pt x="319" y="119"/>
                  <a:pt x="319" y="119"/>
                </a:cubicBezTo>
                <a:cubicBezTo>
                  <a:pt x="319" y="119"/>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19" y="120"/>
                  <a:pt x="319" y="120"/>
                </a:cubicBezTo>
                <a:cubicBezTo>
                  <a:pt x="319" y="120"/>
                  <a:pt x="320" y="120"/>
                  <a:pt x="320" y="120"/>
                </a:cubicBezTo>
                <a:cubicBezTo>
                  <a:pt x="320" y="120"/>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1"/>
                  <a:pt x="320" y="121"/>
                  <a:pt x="320" y="121"/>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2"/>
                  <a:pt x="320" y="122"/>
                </a:cubicBezTo>
                <a:cubicBezTo>
                  <a:pt x="320" y="122"/>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3"/>
                  <a:pt x="320" y="123"/>
                  <a:pt x="320" y="123"/>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4"/>
                </a:cubicBezTo>
                <a:cubicBezTo>
                  <a:pt x="320" y="124"/>
                  <a:pt x="320" y="124"/>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5"/>
                  <a:pt x="320" y="125"/>
                  <a:pt x="320" y="125"/>
                </a:cubicBezTo>
                <a:cubicBezTo>
                  <a:pt x="320" y="126"/>
                  <a:pt x="320" y="126"/>
                  <a:pt x="320" y="126"/>
                </a:cubicBezTo>
                <a:cubicBezTo>
                  <a:pt x="320" y="126"/>
                  <a:pt x="320" y="126"/>
                  <a:pt x="320" y="126"/>
                </a:cubicBezTo>
                <a:cubicBezTo>
                  <a:pt x="321" y="126"/>
                  <a:pt x="321" y="126"/>
                  <a:pt x="321" y="126"/>
                </a:cubicBezTo>
                <a:cubicBezTo>
                  <a:pt x="321" y="126"/>
                  <a:pt x="321" y="126"/>
                  <a:pt x="321" y="126"/>
                </a:cubicBezTo>
                <a:cubicBezTo>
                  <a:pt x="321" y="126"/>
                  <a:pt x="321" y="126"/>
                  <a:pt x="321" y="126"/>
                </a:cubicBezTo>
                <a:cubicBezTo>
                  <a:pt x="321" y="126"/>
                  <a:pt x="321" y="126"/>
                  <a:pt x="321" y="126"/>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7"/>
                  <a:pt x="321" y="127"/>
                </a:cubicBezTo>
                <a:cubicBezTo>
                  <a:pt x="321" y="127"/>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8"/>
                </a:cubicBezTo>
                <a:cubicBezTo>
                  <a:pt x="321" y="128"/>
                  <a:pt x="321" y="128"/>
                  <a:pt x="321" y="129"/>
                </a:cubicBezTo>
                <a:cubicBezTo>
                  <a:pt x="321" y="129"/>
                  <a:pt x="321" y="129"/>
                  <a:pt x="321" y="129"/>
                </a:cubicBezTo>
                <a:cubicBezTo>
                  <a:pt x="321" y="129"/>
                  <a:pt x="321" y="129"/>
                  <a:pt x="321" y="129"/>
                </a:cubicBezTo>
                <a:cubicBezTo>
                  <a:pt x="321" y="129"/>
                  <a:pt x="321" y="129"/>
                  <a:pt x="321" y="129"/>
                </a:cubicBezTo>
                <a:cubicBezTo>
                  <a:pt x="321" y="129"/>
                  <a:pt x="321" y="129"/>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0"/>
                  <a:pt x="321" y="130"/>
                  <a:pt x="321" y="130"/>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1"/>
                  <a:pt x="321" y="131"/>
                </a:cubicBezTo>
                <a:cubicBezTo>
                  <a:pt x="321" y="131"/>
                  <a:pt x="321" y="132"/>
                  <a:pt x="321" y="132"/>
                </a:cubicBezTo>
                <a:cubicBezTo>
                  <a:pt x="321" y="132"/>
                  <a:pt x="321" y="132"/>
                  <a:pt x="321" y="132"/>
                </a:cubicBezTo>
                <a:cubicBezTo>
                  <a:pt x="321" y="132"/>
                  <a:pt x="321" y="132"/>
                  <a:pt x="321" y="132"/>
                </a:cubicBezTo>
                <a:cubicBezTo>
                  <a:pt x="321" y="132"/>
                  <a:pt x="321" y="132"/>
                  <a:pt x="321" y="132"/>
                </a:cubicBezTo>
                <a:cubicBezTo>
                  <a:pt x="321" y="132"/>
                  <a:pt x="321" y="132"/>
                  <a:pt x="321" y="132"/>
                </a:cubicBezTo>
                <a:cubicBezTo>
                  <a:pt x="321" y="132"/>
                  <a:pt x="322" y="132"/>
                  <a:pt x="322" y="132"/>
                </a:cubicBezTo>
                <a:cubicBezTo>
                  <a:pt x="322" y="132"/>
                  <a:pt x="322" y="132"/>
                  <a:pt x="322" y="132"/>
                </a:cubicBezTo>
                <a:cubicBezTo>
                  <a:pt x="322" y="133"/>
                  <a:pt x="322" y="133"/>
                  <a:pt x="322" y="133"/>
                </a:cubicBezTo>
                <a:cubicBezTo>
                  <a:pt x="322" y="133"/>
                  <a:pt x="322" y="133"/>
                  <a:pt x="322" y="133"/>
                </a:cubicBezTo>
                <a:cubicBezTo>
                  <a:pt x="323" y="142"/>
                  <a:pt x="323" y="151"/>
                  <a:pt x="323" y="160"/>
                </a:cubicBezTo>
                <a:cubicBezTo>
                  <a:pt x="323" y="259"/>
                  <a:pt x="250" y="345"/>
                  <a:pt x="149" y="359"/>
                </a:cubicBezTo>
                <a:cubicBezTo>
                  <a:pt x="140" y="360"/>
                  <a:pt x="131" y="361"/>
                  <a:pt x="122" y="361"/>
                </a:cubicBezTo>
                <a:cubicBezTo>
                  <a:pt x="112" y="361"/>
                  <a:pt x="102" y="360"/>
                  <a:pt x="93" y="359"/>
                </a:cubicBezTo>
                <a:cubicBezTo>
                  <a:pt x="93" y="359"/>
                  <a:pt x="93" y="359"/>
                  <a:pt x="93" y="359"/>
                </a:cubicBezTo>
                <a:cubicBezTo>
                  <a:pt x="93" y="359"/>
                  <a:pt x="93" y="359"/>
                  <a:pt x="93" y="359"/>
                </a:cubicBezTo>
                <a:cubicBezTo>
                  <a:pt x="93" y="359"/>
                  <a:pt x="93" y="359"/>
                  <a:pt x="93"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2" y="359"/>
                  <a:pt x="92" y="359"/>
                </a:cubicBezTo>
                <a:cubicBezTo>
                  <a:pt x="92" y="359"/>
                  <a:pt x="91" y="359"/>
                  <a:pt x="91" y="359"/>
                </a:cubicBezTo>
                <a:cubicBezTo>
                  <a:pt x="91" y="359"/>
                  <a:pt x="91" y="359"/>
                  <a:pt x="91" y="359"/>
                </a:cubicBezTo>
                <a:cubicBezTo>
                  <a:pt x="91" y="359"/>
                  <a:pt x="91" y="359"/>
                  <a:pt x="91" y="359"/>
                </a:cubicBezTo>
                <a:cubicBezTo>
                  <a:pt x="91" y="359"/>
                  <a:pt x="91" y="359"/>
                  <a:pt x="91" y="359"/>
                </a:cubicBezTo>
                <a:cubicBezTo>
                  <a:pt x="58" y="353"/>
                  <a:pt x="27" y="340"/>
                  <a:pt x="0" y="320"/>
                </a:cubicBezTo>
                <a:cubicBezTo>
                  <a:pt x="37" y="354"/>
                  <a:pt x="86" y="374"/>
                  <a:pt x="138" y="374"/>
                </a:cubicBezTo>
                <a:cubicBezTo>
                  <a:pt x="147" y="374"/>
                  <a:pt x="156" y="374"/>
                  <a:pt x="165" y="372"/>
                </a:cubicBezTo>
                <a:cubicBezTo>
                  <a:pt x="276" y="357"/>
                  <a:pt x="354" y="256"/>
                  <a:pt x="339" y="145"/>
                </a:cubicBezTo>
                <a:cubicBezTo>
                  <a:pt x="330" y="82"/>
                  <a:pt x="294" y="30"/>
                  <a:pt x="244" y="0"/>
                </a:cubicBezTo>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sp>
        <p:nvSpPr>
          <p:cNvPr id="237" name="Freeform 25">
            <a:extLst>
              <a:ext uri="{FF2B5EF4-FFF2-40B4-BE49-F238E27FC236}">
                <a16:creationId xmlns:a16="http://schemas.microsoft.com/office/drawing/2014/main" id="{98445768-A389-47E0-A84E-FF101AF006D0}"/>
              </a:ext>
            </a:extLst>
          </p:cNvPr>
          <p:cNvSpPr>
            <a:spLocks noEditPoints="1"/>
          </p:cNvSpPr>
          <p:nvPr/>
        </p:nvSpPr>
        <p:spPr bwMode="auto">
          <a:xfrm rot="19589649">
            <a:off x="3775756" y="3443472"/>
            <a:ext cx="517479" cy="575630"/>
          </a:xfrm>
          <a:custGeom>
            <a:avLst/>
            <a:gdLst>
              <a:gd name="T0" fmla="*/ 2 w 232"/>
              <a:gd name="T1" fmla="*/ 246 h 248"/>
              <a:gd name="T2" fmla="*/ 1 w 232"/>
              <a:gd name="T3" fmla="*/ 246 h 248"/>
              <a:gd name="T4" fmla="*/ 1 w 232"/>
              <a:gd name="T5" fmla="*/ 246 h 248"/>
              <a:gd name="T6" fmla="*/ 1 w 232"/>
              <a:gd name="T7" fmla="*/ 246 h 248"/>
              <a:gd name="T8" fmla="*/ 1 w 232"/>
              <a:gd name="T9" fmla="*/ 246 h 248"/>
              <a:gd name="T10" fmla="*/ 0 w 232"/>
              <a:gd name="T11" fmla="*/ 246 h 248"/>
              <a:gd name="T12" fmla="*/ 0 w 232"/>
              <a:gd name="T13" fmla="*/ 246 h 248"/>
              <a:gd name="T14" fmla="*/ 31 w 232"/>
              <a:gd name="T15" fmla="*/ 248 h 248"/>
              <a:gd name="T16" fmla="*/ 58 w 232"/>
              <a:gd name="T17" fmla="*/ 246 h 248"/>
              <a:gd name="T18" fmla="*/ 231 w 232"/>
              <a:gd name="T19" fmla="*/ 20 h 248"/>
              <a:gd name="T20" fmla="*/ 231 w 232"/>
              <a:gd name="T21" fmla="*/ 19 h 248"/>
              <a:gd name="T22" fmla="*/ 230 w 232"/>
              <a:gd name="T23" fmla="*/ 19 h 248"/>
              <a:gd name="T24" fmla="*/ 230 w 232"/>
              <a:gd name="T25" fmla="*/ 19 h 248"/>
              <a:gd name="T26" fmla="*/ 230 w 232"/>
              <a:gd name="T27" fmla="*/ 18 h 248"/>
              <a:gd name="T28" fmla="*/ 230 w 232"/>
              <a:gd name="T29" fmla="*/ 18 h 248"/>
              <a:gd name="T30" fmla="*/ 230 w 232"/>
              <a:gd name="T31" fmla="*/ 18 h 248"/>
              <a:gd name="T32" fmla="*/ 230 w 232"/>
              <a:gd name="T33" fmla="*/ 17 h 248"/>
              <a:gd name="T34" fmla="*/ 230 w 232"/>
              <a:gd name="T35" fmla="*/ 17 h 248"/>
              <a:gd name="T36" fmla="*/ 230 w 232"/>
              <a:gd name="T37" fmla="*/ 17 h 248"/>
              <a:gd name="T38" fmla="*/ 230 w 232"/>
              <a:gd name="T39" fmla="*/ 17 h 248"/>
              <a:gd name="T40" fmla="*/ 230 w 232"/>
              <a:gd name="T41" fmla="*/ 16 h 248"/>
              <a:gd name="T42" fmla="*/ 230 w 232"/>
              <a:gd name="T43" fmla="*/ 16 h 248"/>
              <a:gd name="T44" fmla="*/ 230 w 232"/>
              <a:gd name="T45" fmla="*/ 15 h 248"/>
              <a:gd name="T46" fmla="*/ 230 w 232"/>
              <a:gd name="T47" fmla="*/ 15 h 248"/>
              <a:gd name="T48" fmla="*/ 230 w 232"/>
              <a:gd name="T49" fmla="*/ 15 h 248"/>
              <a:gd name="T50" fmla="*/ 230 w 232"/>
              <a:gd name="T51" fmla="*/ 14 h 248"/>
              <a:gd name="T52" fmla="*/ 230 w 232"/>
              <a:gd name="T53" fmla="*/ 14 h 248"/>
              <a:gd name="T54" fmla="*/ 230 w 232"/>
              <a:gd name="T55" fmla="*/ 14 h 248"/>
              <a:gd name="T56" fmla="*/ 230 w 232"/>
              <a:gd name="T57" fmla="*/ 13 h 248"/>
              <a:gd name="T58" fmla="*/ 230 w 232"/>
              <a:gd name="T59" fmla="*/ 13 h 248"/>
              <a:gd name="T60" fmla="*/ 229 w 232"/>
              <a:gd name="T61" fmla="*/ 13 h 248"/>
              <a:gd name="T62" fmla="*/ 229 w 232"/>
              <a:gd name="T63" fmla="*/ 12 h 248"/>
              <a:gd name="T64" fmla="*/ 229 w 232"/>
              <a:gd name="T65" fmla="*/ 12 h 248"/>
              <a:gd name="T66" fmla="*/ 229 w 232"/>
              <a:gd name="T67" fmla="*/ 12 h 248"/>
              <a:gd name="T68" fmla="*/ 229 w 232"/>
              <a:gd name="T69" fmla="*/ 11 h 248"/>
              <a:gd name="T70" fmla="*/ 229 w 232"/>
              <a:gd name="T71" fmla="*/ 11 h 248"/>
              <a:gd name="T72" fmla="*/ 229 w 232"/>
              <a:gd name="T73" fmla="*/ 11 h 248"/>
              <a:gd name="T74" fmla="*/ 229 w 232"/>
              <a:gd name="T75" fmla="*/ 10 h 248"/>
              <a:gd name="T76" fmla="*/ 229 w 232"/>
              <a:gd name="T77" fmla="*/ 10 h 248"/>
              <a:gd name="T78" fmla="*/ 229 w 232"/>
              <a:gd name="T79" fmla="*/ 10 h 248"/>
              <a:gd name="T80" fmla="*/ 229 w 232"/>
              <a:gd name="T81" fmla="*/ 10 h 248"/>
              <a:gd name="T82" fmla="*/ 229 w 232"/>
              <a:gd name="T83" fmla="*/ 9 h 248"/>
              <a:gd name="T84" fmla="*/ 229 w 232"/>
              <a:gd name="T85" fmla="*/ 9 h 248"/>
              <a:gd name="T86" fmla="*/ 229 w 232"/>
              <a:gd name="T87" fmla="*/ 8 h 248"/>
              <a:gd name="T88" fmla="*/ 229 w 232"/>
              <a:gd name="T89" fmla="*/ 8 h 248"/>
              <a:gd name="T90" fmla="*/ 229 w 232"/>
              <a:gd name="T91" fmla="*/ 8 h 248"/>
              <a:gd name="T92" fmla="*/ 229 w 232"/>
              <a:gd name="T93" fmla="*/ 8 h 248"/>
              <a:gd name="T94" fmla="*/ 228 w 232"/>
              <a:gd name="T95" fmla="*/ 7 h 248"/>
              <a:gd name="T96" fmla="*/ 228 w 232"/>
              <a:gd name="T97" fmla="*/ 7 h 248"/>
              <a:gd name="T98" fmla="*/ 228 w 232"/>
              <a:gd name="T99" fmla="*/ 7 h 248"/>
              <a:gd name="T100" fmla="*/ 228 w 232"/>
              <a:gd name="T101" fmla="*/ 6 h 248"/>
              <a:gd name="T102" fmla="*/ 228 w 232"/>
              <a:gd name="T103" fmla="*/ 5 h 248"/>
              <a:gd name="T104" fmla="*/ 228 w 232"/>
              <a:gd name="T105" fmla="*/ 5 h 248"/>
              <a:gd name="T106" fmla="*/ 228 w 232"/>
              <a:gd name="T107" fmla="*/ 5 h 248"/>
              <a:gd name="T108" fmla="*/ 228 w 232"/>
              <a:gd name="T109" fmla="*/ 4 h 248"/>
              <a:gd name="T110" fmla="*/ 228 w 232"/>
              <a:gd name="T111" fmla="*/ 4 h 248"/>
              <a:gd name="T112" fmla="*/ 228 w 232"/>
              <a:gd name="T113" fmla="*/ 4 h 248"/>
              <a:gd name="T114" fmla="*/ 228 w 232"/>
              <a:gd name="T115" fmla="*/ 4 h 248"/>
              <a:gd name="T116" fmla="*/ 228 w 232"/>
              <a:gd name="T117" fmla="*/ 3 h 248"/>
              <a:gd name="T118" fmla="*/ 227 w 232"/>
              <a:gd name="T119" fmla="*/ 1 h 248"/>
              <a:gd name="T120" fmla="*/ 227 w 232"/>
              <a:gd name="T121" fmla="*/ 1 h 248"/>
              <a:gd name="T122" fmla="*/ 227 w 232"/>
              <a:gd name="T123" fmla="*/ 1 h 248"/>
              <a:gd name="T124" fmla="*/ 227 w 232"/>
              <a:gd name="T12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248">
                <a:moveTo>
                  <a:pt x="2" y="246"/>
                </a:moveTo>
                <a:cubicBezTo>
                  <a:pt x="2" y="246"/>
                  <a:pt x="2" y="246"/>
                  <a:pt x="2" y="246"/>
                </a:cubicBezTo>
                <a:cubicBezTo>
                  <a:pt x="2" y="246"/>
                  <a:pt x="2" y="246"/>
                  <a:pt x="2" y="246"/>
                </a:cubicBezTo>
                <a:moveTo>
                  <a:pt x="1" y="246"/>
                </a:moveTo>
                <a:cubicBezTo>
                  <a:pt x="1" y="246"/>
                  <a:pt x="1" y="246"/>
                  <a:pt x="2"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1" y="246"/>
                </a:moveTo>
                <a:cubicBezTo>
                  <a:pt x="1" y="246"/>
                  <a:pt x="1" y="246"/>
                  <a:pt x="1" y="246"/>
                </a:cubicBezTo>
                <a:cubicBezTo>
                  <a:pt x="1" y="246"/>
                  <a:pt x="1" y="246"/>
                  <a:pt x="1" y="246"/>
                </a:cubicBezTo>
                <a:moveTo>
                  <a:pt x="0" y="246"/>
                </a:moveTo>
                <a:cubicBezTo>
                  <a:pt x="0" y="246"/>
                  <a:pt x="0" y="246"/>
                  <a:pt x="0" y="246"/>
                </a:cubicBezTo>
                <a:cubicBezTo>
                  <a:pt x="0" y="246"/>
                  <a:pt x="0" y="246"/>
                  <a:pt x="0" y="246"/>
                </a:cubicBezTo>
                <a:moveTo>
                  <a:pt x="0" y="246"/>
                </a:moveTo>
                <a:cubicBezTo>
                  <a:pt x="0" y="246"/>
                  <a:pt x="0" y="246"/>
                  <a:pt x="0" y="246"/>
                </a:cubicBezTo>
                <a:cubicBezTo>
                  <a:pt x="0" y="246"/>
                  <a:pt x="0" y="246"/>
                  <a:pt x="0" y="246"/>
                </a:cubicBezTo>
                <a:moveTo>
                  <a:pt x="232" y="47"/>
                </a:moveTo>
                <a:cubicBezTo>
                  <a:pt x="232" y="146"/>
                  <a:pt x="159" y="232"/>
                  <a:pt x="58" y="246"/>
                </a:cubicBezTo>
                <a:cubicBezTo>
                  <a:pt x="49" y="247"/>
                  <a:pt x="40" y="248"/>
                  <a:pt x="31" y="248"/>
                </a:cubicBezTo>
                <a:cubicBezTo>
                  <a:pt x="21" y="248"/>
                  <a:pt x="11" y="247"/>
                  <a:pt x="2" y="246"/>
                </a:cubicBezTo>
                <a:cubicBezTo>
                  <a:pt x="11" y="247"/>
                  <a:pt x="21" y="248"/>
                  <a:pt x="31" y="248"/>
                </a:cubicBezTo>
                <a:cubicBezTo>
                  <a:pt x="40" y="248"/>
                  <a:pt x="49" y="247"/>
                  <a:pt x="58" y="246"/>
                </a:cubicBezTo>
                <a:cubicBezTo>
                  <a:pt x="159" y="232"/>
                  <a:pt x="232" y="146"/>
                  <a:pt x="232" y="47"/>
                </a:cubicBezTo>
                <a:moveTo>
                  <a:pt x="231" y="19"/>
                </a:moveTo>
                <a:cubicBezTo>
                  <a:pt x="231" y="20"/>
                  <a:pt x="231" y="20"/>
                  <a:pt x="231" y="20"/>
                </a:cubicBezTo>
                <a:cubicBezTo>
                  <a:pt x="231" y="20"/>
                  <a:pt x="231" y="20"/>
                  <a:pt x="231" y="19"/>
                </a:cubicBezTo>
                <a:moveTo>
                  <a:pt x="230" y="19"/>
                </a:moveTo>
                <a:cubicBezTo>
                  <a:pt x="230" y="19"/>
                  <a:pt x="231" y="19"/>
                  <a:pt x="231" y="19"/>
                </a:cubicBezTo>
                <a:cubicBezTo>
                  <a:pt x="231" y="19"/>
                  <a:pt x="230" y="19"/>
                  <a:pt x="230" y="19"/>
                </a:cubicBezTo>
                <a:moveTo>
                  <a:pt x="230" y="19"/>
                </a:moveTo>
                <a:cubicBezTo>
                  <a:pt x="230" y="19"/>
                  <a:pt x="230" y="19"/>
                  <a:pt x="230" y="19"/>
                </a:cubicBezTo>
                <a:cubicBezTo>
                  <a:pt x="230" y="19"/>
                  <a:pt x="230" y="19"/>
                  <a:pt x="230" y="19"/>
                </a:cubicBezTo>
                <a:moveTo>
                  <a:pt x="230" y="19"/>
                </a:moveTo>
                <a:cubicBezTo>
                  <a:pt x="230" y="19"/>
                  <a:pt x="230" y="19"/>
                  <a:pt x="230" y="19"/>
                </a:cubicBezTo>
                <a:cubicBezTo>
                  <a:pt x="230" y="19"/>
                  <a:pt x="230" y="19"/>
                  <a:pt x="230" y="19"/>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8"/>
                </a:moveTo>
                <a:cubicBezTo>
                  <a:pt x="230" y="18"/>
                  <a:pt x="230" y="18"/>
                  <a:pt x="230" y="18"/>
                </a:cubicBezTo>
                <a:cubicBezTo>
                  <a:pt x="230" y="18"/>
                  <a:pt x="230" y="18"/>
                  <a:pt x="230" y="18"/>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7"/>
                </a:moveTo>
                <a:cubicBezTo>
                  <a:pt x="230" y="17"/>
                  <a:pt x="230" y="17"/>
                  <a:pt x="230" y="17"/>
                </a:cubicBezTo>
                <a:cubicBezTo>
                  <a:pt x="230" y="17"/>
                  <a:pt x="230" y="17"/>
                  <a:pt x="230" y="17"/>
                </a:cubicBezTo>
                <a:moveTo>
                  <a:pt x="230" y="16"/>
                </a:moveTo>
                <a:cubicBezTo>
                  <a:pt x="230" y="16"/>
                  <a:pt x="230" y="16"/>
                  <a:pt x="230" y="17"/>
                </a:cubicBezTo>
                <a:cubicBezTo>
                  <a:pt x="230" y="16"/>
                  <a:pt x="230" y="16"/>
                  <a:pt x="230" y="16"/>
                </a:cubicBezTo>
                <a:moveTo>
                  <a:pt x="230" y="16"/>
                </a:moveTo>
                <a:cubicBezTo>
                  <a:pt x="230" y="16"/>
                  <a:pt x="230" y="16"/>
                  <a:pt x="230" y="16"/>
                </a:cubicBezTo>
                <a:cubicBezTo>
                  <a:pt x="230" y="16"/>
                  <a:pt x="230" y="16"/>
                  <a:pt x="230" y="16"/>
                </a:cubicBezTo>
                <a:moveTo>
                  <a:pt x="230" y="15"/>
                </a:moveTo>
                <a:cubicBezTo>
                  <a:pt x="230" y="15"/>
                  <a:pt x="230" y="15"/>
                  <a:pt x="230" y="16"/>
                </a:cubicBezTo>
                <a:cubicBezTo>
                  <a:pt x="230" y="15"/>
                  <a:pt x="230" y="15"/>
                  <a:pt x="230" y="15"/>
                </a:cubicBezTo>
                <a:moveTo>
                  <a:pt x="230" y="15"/>
                </a:moveTo>
                <a:cubicBezTo>
                  <a:pt x="230" y="15"/>
                  <a:pt x="230" y="15"/>
                  <a:pt x="230" y="15"/>
                </a:cubicBezTo>
                <a:cubicBezTo>
                  <a:pt x="230" y="15"/>
                  <a:pt x="230" y="15"/>
                  <a:pt x="230" y="15"/>
                </a:cubicBezTo>
                <a:moveTo>
                  <a:pt x="230" y="15"/>
                </a:moveTo>
                <a:cubicBezTo>
                  <a:pt x="230" y="15"/>
                  <a:pt x="230" y="15"/>
                  <a:pt x="230" y="15"/>
                </a:cubicBezTo>
                <a:cubicBezTo>
                  <a:pt x="230" y="15"/>
                  <a:pt x="230" y="15"/>
                  <a:pt x="230" y="15"/>
                </a:cubicBezTo>
                <a:moveTo>
                  <a:pt x="230" y="14"/>
                </a:moveTo>
                <a:cubicBezTo>
                  <a:pt x="230" y="14"/>
                  <a:pt x="230" y="15"/>
                  <a:pt x="230" y="15"/>
                </a:cubicBezTo>
                <a:cubicBezTo>
                  <a:pt x="230" y="15"/>
                  <a:pt x="230" y="14"/>
                  <a:pt x="230" y="14"/>
                </a:cubicBezTo>
                <a:moveTo>
                  <a:pt x="230" y="14"/>
                </a:moveTo>
                <a:cubicBezTo>
                  <a:pt x="230" y="14"/>
                  <a:pt x="230" y="14"/>
                  <a:pt x="230" y="14"/>
                </a:cubicBezTo>
                <a:cubicBezTo>
                  <a:pt x="230" y="14"/>
                  <a:pt x="230" y="14"/>
                  <a:pt x="230" y="14"/>
                </a:cubicBezTo>
                <a:moveTo>
                  <a:pt x="230" y="14"/>
                </a:moveTo>
                <a:cubicBezTo>
                  <a:pt x="230" y="14"/>
                  <a:pt x="230" y="14"/>
                  <a:pt x="230" y="14"/>
                </a:cubicBezTo>
                <a:cubicBezTo>
                  <a:pt x="230" y="14"/>
                  <a:pt x="230" y="14"/>
                  <a:pt x="230" y="14"/>
                </a:cubicBezTo>
                <a:moveTo>
                  <a:pt x="230" y="13"/>
                </a:moveTo>
                <a:cubicBezTo>
                  <a:pt x="230" y="14"/>
                  <a:pt x="230" y="14"/>
                  <a:pt x="230" y="14"/>
                </a:cubicBezTo>
                <a:cubicBezTo>
                  <a:pt x="230" y="14"/>
                  <a:pt x="230" y="14"/>
                  <a:pt x="230" y="13"/>
                </a:cubicBezTo>
                <a:moveTo>
                  <a:pt x="230" y="13"/>
                </a:moveTo>
                <a:cubicBezTo>
                  <a:pt x="230" y="13"/>
                  <a:pt x="230" y="13"/>
                  <a:pt x="230" y="13"/>
                </a:cubicBezTo>
                <a:cubicBezTo>
                  <a:pt x="230" y="13"/>
                  <a:pt x="230" y="13"/>
                  <a:pt x="230" y="13"/>
                </a:cubicBezTo>
                <a:moveTo>
                  <a:pt x="229" y="13"/>
                </a:moveTo>
                <a:cubicBezTo>
                  <a:pt x="230" y="13"/>
                  <a:pt x="230" y="13"/>
                  <a:pt x="230" y="13"/>
                </a:cubicBezTo>
                <a:cubicBezTo>
                  <a:pt x="230" y="13"/>
                  <a:pt x="230" y="13"/>
                  <a:pt x="229" y="13"/>
                </a:cubicBezTo>
                <a:moveTo>
                  <a:pt x="229" y="12"/>
                </a:moveTo>
                <a:cubicBezTo>
                  <a:pt x="229" y="13"/>
                  <a:pt x="229" y="13"/>
                  <a:pt x="229" y="13"/>
                </a:cubicBezTo>
                <a:cubicBezTo>
                  <a:pt x="229" y="13"/>
                  <a:pt x="229" y="13"/>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2"/>
                </a:moveTo>
                <a:cubicBezTo>
                  <a:pt x="229" y="12"/>
                  <a:pt x="229" y="12"/>
                  <a:pt x="229" y="12"/>
                </a:cubicBezTo>
                <a:cubicBezTo>
                  <a:pt x="229" y="12"/>
                  <a:pt x="229" y="12"/>
                  <a:pt x="229" y="12"/>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1"/>
                </a:moveTo>
                <a:cubicBezTo>
                  <a:pt x="229" y="11"/>
                  <a:pt x="229" y="11"/>
                  <a:pt x="229" y="11"/>
                </a:cubicBezTo>
                <a:cubicBezTo>
                  <a:pt x="229" y="11"/>
                  <a:pt x="229" y="11"/>
                  <a:pt x="229" y="11"/>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10"/>
                </a:moveTo>
                <a:cubicBezTo>
                  <a:pt x="229" y="10"/>
                  <a:pt x="229" y="10"/>
                  <a:pt x="229" y="10"/>
                </a:cubicBezTo>
                <a:cubicBezTo>
                  <a:pt x="229" y="10"/>
                  <a:pt x="229" y="10"/>
                  <a:pt x="229" y="10"/>
                </a:cubicBezTo>
                <a:moveTo>
                  <a:pt x="229" y="9"/>
                </a:moveTo>
                <a:cubicBezTo>
                  <a:pt x="229" y="9"/>
                  <a:pt x="229" y="10"/>
                  <a:pt x="229" y="10"/>
                </a:cubicBezTo>
                <a:cubicBezTo>
                  <a:pt x="229" y="10"/>
                  <a:pt x="229" y="9"/>
                  <a:pt x="229" y="9"/>
                </a:cubicBezTo>
                <a:moveTo>
                  <a:pt x="229" y="9"/>
                </a:moveTo>
                <a:cubicBezTo>
                  <a:pt x="229" y="9"/>
                  <a:pt x="229" y="9"/>
                  <a:pt x="229" y="9"/>
                </a:cubicBezTo>
                <a:cubicBezTo>
                  <a:pt x="229" y="9"/>
                  <a:pt x="229" y="9"/>
                  <a:pt x="229" y="9"/>
                </a:cubicBezTo>
                <a:moveTo>
                  <a:pt x="229" y="9"/>
                </a:moveTo>
                <a:cubicBezTo>
                  <a:pt x="229" y="9"/>
                  <a:pt x="229" y="9"/>
                  <a:pt x="229" y="9"/>
                </a:cubicBezTo>
                <a:cubicBezTo>
                  <a:pt x="229" y="9"/>
                  <a:pt x="229" y="9"/>
                  <a:pt x="229" y="9"/>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8"/>
                </a:moveTo>
                <a:cubicBezTo>
                  <a:pt x="229" y="8"/>
                  <a:pt x="229" y="8"/>
                  <a:pt x="229" y="8"/>
                </a:cubicBezTo>
                <a:cubicBezTo>
                  <a:pt x="229" y="8"/>
                  <a:pt x="229" y="8"/>
                  <a:pt x="229" y="8"/>
                </a:cubicBezTo>
                <a:moveTo>
                  <a:pt x="229" y="7"/>
                </a:moveTo>
                <a:cubicBezTo>
                  <a:pt x="229" y="7"/>
                  <a:pt x="229" y="8"/>
                  <a:pt x="229" y="8"/>
                </a:cubicBezTo>
                <a:cubicBezTo>
                  <a:pt x="229" y="8"/>
                  <a:pt x="229" y="7"/>
                  <a:pt x="229"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7"/>
                </a:moveTo>
                <a:cubicBezTo>
                  <a:pt x="228" y="7"/>
                  <a:pt x="228" y="7"/>
                  <a:pt x="228" y="7"/>
                </a:cubicBezTo>
                <a:cubicBezTo>
                  <a:pt x="228" y="7"/>
                  <a:pt x="228" y="7"/>
                  <a:pt x="228" y="7"/>
                </a:cubicBezTo>
                <a:moveTo>
                  <a:pt x="228" y="6"/>
                </a:moveTo>
                <a:cubicBezTo>
                  <a:pt x="228" y="6"/>
                  <a:pt x="228" y="6"/>
                  <a:pt x="228" y="6"/>
                </a:cubicBezTo>
                <a:cubicBezTo>
                  <a:pt x="228" y="6"/>
                  <a:pt x="228" y="6"/>
                  <a:pt x="228" y="6"/>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5"/>
                </a:moveTo>
                <a:cubicBezTo>
                  <a:pt x="228" y="5"/>
                  <a:pt x="228" y="5"/>
                  <a:pt x="228" y="5"/>
                </a:cubicBezTo>
                <a:cubicBezTo>
                  <a:pt x="228" y="5"/>
                  <a:pt x="228" y="5"/>
                  <a:pt x="228" y="5"/>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4"/>
                </a:moveTo>
                <a:cubicBezTo>
                  <a:pt x="228" y="4"/>
                  <a:pt x="228" y="4"/>
                  <a:pt x="228" y="4"/>
                </a:cubicBezTo>
                <a:cubicBezTo>
                  <a:pt x="228" y="4"/>
                  <a:pt x="228" y="4"/>
                  <a:pt x="228" y="4"/>
                </a:cubicBezTo>
                <a:moveTo>
                  <a:pt x="228" y="3"/>
                </a:moveTo>
                <a:cubicBezTo>
                  <a:pt x="228" y="3"/>
                  <a:pt x="228" y="3"/>
                  <a:pt x="228" y="4"/>
                </a:cubicBezTo>
                <a:cubicBezTo>
                  <a:pt x="228" y="3"/>
                  <a:pt x="228" y="3"/>
                  <a:pt x="228" y="3"/>
                </a:cubicBezTo>
                <a:moveTo>
                  <a:pt x="228" y="3"/>
                </a:moveTo>
                <a:cubicBezTo>
                  <a:pt x="228" y="3"/>
                  <a:pt x="228" y="3"/>
                  <a:pt x="228" y="3"/>
                </a:cubicBezTo>
                <a:cubicBezTo>
                  <a:pt x="228" y="3"/>
                  <a:pt x="228" y="3"/>
                  <a:pt x="228" y="3"/>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1"/>
                </a:moveTo>
                <a:cubicBezTo>
                  <a:pt x="227" y="1"/>
                  <a:pt x="227" y="1"/>
                  <a:pt x="227" y="1"/>
                </a:cubicBezTo>
                <a:cubicBezTo>
                  <a:pt x="227" y="1"/>
                  <a:pt x="227" y="1"/>
                  <a:pt x="227" y="1"/>
                </a:cubicBezTo>
                <a:moveTo>
                  <a:pt x="227" y="0"/>
                </a:moveTo>
                <a:cubicBezTo>
                  <a:pt x="227" y="0"/>
                  <a:pt x="227" y="0"/>
                  <a:pt x="227" y="0"/>
                </a:cubicBezTo>
                <a:cubicBezTo>
                  <a:pt x="227" y="0"/>
                  <a:pt x="227" y="0"/>
                  <a:pt x="227" y="0"/>
                </a:cubicBezTo>
              </a:path>
            </a:pathLst>
          </a:custGeom>
          <a:solidFill>
            <a:srgbClr val="D5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dirty="0">
              <a:ln>
                <a:noFill/>
              </a:ln>
              <a:solidFill>
                <a:srgbClr val="263147"/>
              </a:solidFill>
              <a:effectLst/>
              <a:uLnTx/>
              <a:uFillTx/>
              <a:latin typeface="Verdana"/>
              <a:ea typeface="+mn-ea"/>
              <a:cs typeface="+mn-cs"/>
            </a:endParaRPr>
          </a:p>
        </p:txBody>
      </p:sp>
      <p:grpSp>
        <p:nvGrpSpPr>
          <p:cNvPr id="238" name="Group 237">
            <a:extLst>
              <a:ext uri="{FF2B5EF4-FFF2-40B4-BE49-F238E27FC236}">
                <a16:creationId xmlns:a16="http://schemas.microsoft.com/office/drawing/2014/main" id="{8225409F-F10F-433E-9E2F-BDA08275C131}"/>
              </a:ext>
            </a:extLst>
          </p:cNvPr>
          <p:cNvGrpSpPr/>
          <p:nvPr/>
        </p:nvGrpSpPr>
        <p:grpSpPr>
          <a:xfrm>
            <a:off x="3565888" y="1396657"/>
            <a:ext cx="424718" cy="405082"/>
            <a:chOff x="18769013" y="630238"/>
            <a:chExt cx="1201738" cy="1146176"/>
          </a:xfrm>
        </p:grpSpPr>
        <p:sp>
          <p:nvSpPr>
            <p:cNvPr id="239" name="Freeform 125">
              <a:extLst>
                <a:ext uri="{FF2B5EF4-FFF2-40B4-BE49-F238E27FC236}">
                  <a16:creationId xmlns:a16="http://schemas.microsoft.com/office/drawing/2014/main" id="{CF41B5B6-9D8D-4A1F-8B4E-14EF4FEB90EC}"/>
                </a:ext>
              </a:extLst>
            </p:cNvPr>
            <p:cNvSpPr>
              <a:spLocks noEditPoints="1"/>
            </p:cNvSpPr>
            <p:nvPr/>
          </p:nvSpPr>
          <p:spPr bwMode="auto">
            <a:xfrm>
              <a:off x="18769013" y="630238"/>
              <a:ext cx="1201738" cy="701675"/>
            </a:xfrm>
            <a:custGeom>
              <a:avLst/>
              <a:gdLst>
                <a:gd name="T0" fmla="*/ 328 w 1515"/>
                <a:gd name="T1" fmla="*/ 769 h 883"/>
                <a:gd name="T2" fmla="*/ 298 w 1515"/>
                <a:gd name="T3" fmla="*/ 753 h 883"/>
                <a:gd name="T4" fmla="*/ 282 w 1515"/>
                <a:gd name="T5" fmla="*/ 725 h 883"/>
                <a:gd name="T6" fmla="*/ 280 w 1515"/>
                <a:gd name="T7" fmla="*/ 171 h 883"/>
                <a:gd name="T8" fmla="*/ 291 w 1515"/>
                <a:gd name="T9" fmla="*/ 139 h 883"/>
                <a:gd name="T10" fmla="*/ 315 w 1515"/>
                <a:gd name="T11" fmla="*/ 118 h 883"/>
                <a:gd name="T12" fmla="*/ 1262 w 1515"/>
                <a:gd name="T13" fmla="*/ 113 h 883"/>
                <a:gd name="T14" fmla="*/ 1284 w 1515"/>
                <a:gd name="T15" fmla="*/ 118 h 883"/>
                <a:gd name="T16" fmla="*/ 1311 w 1515"/>
                <a:gd name="T17" fmla="*/ 139 h 883"/>
                <a:gd name="T18" fmla="*/ 1320 w 1515"/>
                <a:gd name="T19" fmla="*/ 171 h 883"/>
                <a:gd name="T20" fmla="*/ 1320 w 1515"/>
                <a:gd name="T21" fmla="*/ 725 h 883"/>
                <a:gd name="T22" fmla="*/ 1304 w 1515"/>
                <a:gd name="T23" fmla="*/ 753 h 883"/>
                <a:gd name="T24" fmla="*/ 1274 w 1515"/>
                <a:gd name="T25" fmla="*/ 769 h 883"/>
                <a:gd name="T26" fmla="*/ 1174 w 1515"/>
                <a:gd name="T27" fmla="*/ 883 h 883"/>
                <a:gd name="T28" fmla="*/ 1413 w 1515"/>
                <a:gd name="T29" fmla="*/ 883 h 883"/>
                <a:gd name="T30" fmla="*/ 1446 w 1515"/>
                <a:gd name="T31" fmla="*/ 874 h 883"/>
                <a:gd name="T32" fmla="*/ 1481 w 1515"/>
                <a:gd name="T33" fmla="*/ 850 h 883"/>
                <a:gd name="T34" fmla="*/ 1506 w 1515"/>
                <a:gd name="T35" fmla="*/ 814 h 883"/>
                <a:gd name="T36" fmla="*/ 1513 w 1515"/>
                <a:gd name="T37" fmla="*/ 783 h 883"/>
                <a:gd name="T38" fmla="*/ 1515 w 1515"/>
                <a:gd name="T39" fmla="*/ 113 h 883"/>
                <a:gd name="T40" fmla="*/ 1510 w 1515"/>
                <a:gd name="T41" fmla="*/ 79 h 883"/>
                <a:gd name="T42" fmla="*/ 1496 w 1515"/>
                <a:gd name="T43" fmla="*/ 49 h 883"/>
                <a:gd name="T44" fmla="*/ 1455 w 1515"/>
                <a:gd name="T45" fmla="*/ 14 h 883"/>
                <a:gd name="T46" fmla="*/ 1425 w 1515"/>
                <a:gd name="T47" fmla="*/ 2 h 883"/>
                <a:gd name="T48" fmla="*/ 113 w 1515"/>
                <a:gd name="T49" fmla="*/ 0 h 883"/>
                <a:gd name="T50" fmla="*/ 90 w 1515"/>
                <a:gd name="T51" fmla="*/ 2 h 883"/>
                <a:gd name="T52" fmla="*/ 58 w 1515"/>
                <a:gd name="T53" fmla="*/ 14 h 883"/>
                <a:gd name="T54" fmla="*/ 20 w 1515"/>
                <a:gd name="T55" fmla="*/ 49 h 883"/>
                <a:gd name="T56" fmla="*/ 6 w 1515"/>
                <a:gd name="T57" fmla="*/ 79 h 883"/>
                <a:gd name="T58" fmla="*/ 0 w 1515"/>
                <a:gd name="T59" fmla="*/ 113 h 883"/>
                <a:gd name="T60" fmla="*/ 0 w 1515"/>
                <a:gd name="T61" fmla="*/ 783 h 883"/>
                <a:gd name="T62" fmla="*/ 9 w 1515"/>
                <a:gd name="T63" fmla="*/ 814 h 883"/>
                <a:gd name="T64" fmla="*/ 32 w 1515"/>
                <a:gd name="T65" fmla="*/ 850 h 883"/>
                <a:gd name="T66" fmla="*/ 69 w 1515"/>
                <a:gd name="T67" fmla="*/ 874 h 883"/>
                <a:gd name="T68" fmla="*/ 101 w 1515"/>
                <a:gd name="T69" fmla="*/ 883 h 883"/>
                <a:gd name="T70" fmla="*/ 938 w 1515"/>
                <a:gd name="T71" fmla="*/ 770 h 883"/>
                <a:gd name="T72" fmla="*/ 1406 w 1515"/>
                <a:gd name="T73" fmla="*/ 346 h 883"/>
                <a:gd name="T74" fmla="*/ 1420 w 1515"/>
                <a:gd name="T75" fmla="*/ 327 h 883"/>
                <a:gd name="T76" fmla="*/ 1436 w 1515"/>
                <a:gd name="T77" fmla="*/ 327 h 883"/>
                <a:gd name="T78" fmla="*/ 1450 w 1515"/>
                <a:gd name="T79" fmla="*/ 346 h 883"/>
                <a:gd name="T80" fmla="*/ 1448 w 1515"/>
                <a:gd name="T81" fmla="*/ 545 h 883"/>
                <a:gd name="T82" fmla="*/ 1429 w 1515"/>
                <a:gd name="T83" fmla="*/ 559 h 883"/>
                <a:gd name="T84" fmla="*/ 1413 w 1515"/>
                <a:gd name="T85" fmla="*/ 552 h 883"/>
                <a:gd name="T86" fmla="*/ 1406 w 1515"/>
                <a:gd name="T87" fmla="*/ 346 h 883"/>
                <a:gd name="T88" fmla="*/ 127 w 1515"/>
                <a:gd name="T89" fmla="*/ 501 h 883"/>
                <a:gd name="T90" fmla="*/ 95 w 1515"/>
                <a:gd name="T91" fmla="*/ 484 h 883"/>
                <a:gd name="T92" fmla="*/ 80 w 1515"/>
                <a:gd name="T93" fmla="*/ 454 h 883"/>
                <a:gd name="T94" fmla="*/ 80 w 1515"/>
                <a:gd name="T95" fmla="*/ 429 h 883"/>
                <a:gd name="T96" fmla="*/ 95 w 1515"/>
                <a:gd name="T97" fmla="*/ 399 h 883"/>
                <a:gd name="T98" fmla="*/ 127 w 1515"/>
                <a:gd name="T99" fmla="*/ 383 h 883"/>
                <a:gd name="T100" fmla="*/ 152 w 1515"/>
                <a:gd name="T101" fmla="*/ 383 h 883"/>
                <a:gd name="T102" fmla="*/ 182 w 1515"/>
                <a:gd name="T103" fmla="*/ 399 h 883"/>
                <a:gd name="T104" fmla="*/ 197 w 1515"/>
                <a:gd name="T105" fmla="*/ 429 h 883"/>
                <a:gd name="T106" fmla="*/ 197 w 1515"/>
                <a:gd name="T107" fmla="*/ 454 h 883"/>
                <a:gd name="T108" fmla="*/ 182 w 1515"/>
                <a:gd name="T109" fmla="*/ 484 h 883"/>
                <a:gd name="T110" fmla="*/ 152 w 1515"/>
                <a:gd name="T111" fmla="*/ 501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15" h="883">
                  <a:moveTo>
                    <a:pt x="338" y="770"/>
                  </a:moveTo>
                  <a:lnTo>
                    <a:pt x="338" y="770"/>
                  </a:lnTo>
                  <a:lnTo>
                    <a:pt x="328" y="769"/>
                  </a:lnTo>
                  <a:lnTo>
                    <a:pt x="315" y="767"/>
                  </a:lnTo>
                  <a:lnTo>
                    <a:pt x="306" y="760"/>
                  </a:lnTo>
                  <a:lnTo>
                    <a:pt x="298" y="753"/>
                  </a:lnTo>
                  <a:lnTo>
                    <a:pt x="291" y="746"/>
                  </a:lnTo>
                  <a:lnTo>
                    <a:pt x="285" y="735"/>
                  </a:lnTo>
                  <a:lnTo>
                    <a:pt x="282" y="725"/>
                  </a:lnTo>
                  <a:lnTo>
                    <a:pt x="280" y="712"/>
                  </a:lnTo>
                  <a:lnTo>
                    <a:pt x="280" y="171"/>
                  </a:lnTo>
                  <a:lnTo>
                    <a:pt x="280" y="171"/>
                  </a:lnTo>
                  <a:lnTo>
                    <a:pt x="282" y="160"/>
                  </a:lnTo>
                  <a:lnTo>
                    <a:pt x="285" y="148"/>
                  </a:lnTo>
                  <a:lnTo>
                    <a:pt x="291" y="139"/>
                  </a:lnTo>
                  <a:lnTo>
                    <a:pt x="298" y="130"/>
                  </a:lnTo>
                  <a:lnTo>
                    <a:pt x="306" y="123"/>
                  </a:lnTo>
                  <a:lnTo>
                    <a:pt x="315" y="118"/>
                  </a:lnTo>
                  <a:lnTo>
                    <a:pt x="328" y="114"/>
                  </a:lnTo>
                  <a:lnTo>
                    <a:pt x="338" y="113"/>
                  </a:lnTo>
                  <a:lnTo>
                    <a:pt x="1262" y="113"/>
                  </a:lnTo>
                  <a:lnTo>
                    <a:pt x="1262" y="113"/>
                  </a:lnTo>
                  <a:lnTo>
                    <a:pt x="1274" y="114"/>
                  </a:lnTo>
                  <a:lnTo>
                    <a:pt x="1284" y="118"/>
                  </a:lnTo>
                  <a:lnTo>
                    <a:pt x="1295" y="123"/>
                  </a:lnTo>
                  <a:lnTo>
                    <a:pt x="1304" y="130"/>
                  </a:lnTo>
                  <a:lnTo>
                    <a:pt x="1311" y="139"/>
                  </a:lnTo>
                  <a:lnTo>
                    <a:pt x="1316" y="148"/>
                  </a:lnTo>
                  <a:lnTo>
                    <a:pt x="1320" y="160"/>
                  </a:lnTo>
                  <a:lnTo>
                    <a:pt x="1320" y="171"/>
                  </a:lnTo>
                  <a:lnTo>
                    <a:pt x="1320" y="712"/>
                  </a:lnTo>
                  <a:lnTo>
                    <a:pt x="1320" y="712"/>
                  </a:lnTo>
                  <a:lnTo>
                    <a:pt x="1320" y="725"/>
                  </a:lnTo>
                  <a:lnTo>
                    <a:pt x="1316" y="735"/>
                  </a:lnTo>
                  <a:lnTo>
                    <a:pt x="1311" y="746"/>
                  </a:lnTo>
                  <a:lnTo>
                    <a:pt x="1304" y="753"/>
                  </a:lnTo>
                  <a:lnTo>
                    <a:pt x="1295" y="760"/>
                  </a:lnTo>
                  <a:lnTo>
                    <a:pt x="1284" y="767"/>
                  </a:lnTo>
                  <a:lnTo>
                    <a:pt x="1274" y="769"/>
                  </a:lnTo>
                  <a:lnTo>
                    <a:pt x="1262" y="770"/>
                  </a:lnTo>
                  <a:lnTo>
                    <a:pt x="1167" y="770"/>
                  </a:lnTo>
                  <a:lnTo>
                    <a:pt x="1174" y="883"/>
                  </a:lnTo>
                  <a:lnTo>
                    <a:pt x="1402" y="883"/>
                  </a:lnTo>
                  <a:lnTo>
                    <a:pt x="1402" y="883"/>
                  </a:lnTo>
                  <a:lnTo>
                    <a:pt x="1413" y="883"/>
                  </a:lnTo>
                  <a:lnTo>
                    <a:pt x="1425" y="881"/>
                  </a:lnTo>
                  <a:lnTo>
                    <a:pt x="1436" y="878"/>
                  </a:lnTo>
                  <a:lnTo>
                    <a:pt x="1446" y="874"/>
                  </a:lnTo>
                  <a:lnTo>
                    <a:pt x="1455" y="869"/>
                  </a:lnTo>
                  <a:lnTo>
                    <a:pt x="1464" y="864"/>
                  </a:lnTo>
                  <a:lnTo>
                    <a:pt x="1481" y="850"/>
                  </a:lnTo>
                  <a:lnTo>
                    <a:pt x="1496" y="834"/>
                  </a:lnTo>
                  <a:lnTo>
                    <a:pt x="1501" y="825"/>
                  </a:lnTo>
                  <a:lnTo>
                    <a:pt x="1506" y="814"/>
                  </a:lnTo>
                  <a:lnTo>
                    <a:pt x="1510" y="804"/>
                  </a:lnTo>
                  <a:lnTo>
                    <a:pt x="1511" y="793"/>
                  </a:lnTo>
                  <a:lnTo>
                    <a:pt x="1513" y="783"/>
                  </a:lnTo>
                  <a:lnTo>
                    <a:pt x="1515" y="770"/>
                  </a:lnTo>
                  <a:lnTo>
                    <a:pt x="1515" y="113"/>
                  </a:lnTo>
                  <a:lnTo>
                    <a:pt x="1515" y="113"/>
                  </a:lnTo>
                  <a:lnTo>
                    <a:pt x="1513" y="102"/>
                  </a:lnTo>
                  <a:lnTo>
                    <a:pt x="1511" y="90"/>
                  </a:lnTo>
                  <a:lnTo>
                    <a:pt x="1510" y="79"/>
                  </a:lnTo>
                  <a:lnTo>
                    <a:pt x="1506" y="69"/>
                  </a:lnTo>
                  <a:lnTo>
                    <a:pt x="1501" y="60"/>
                  </a:lnTo>
                  <a:lnTo>
                    <a:pt x="1496" y="49"/>
                  </a:lnTo>
                  <a:lnTo>
                    <a:pt x="1481" y="33"/>
                  </a:lnTo>
                  <a:lnTo>
                    <a:pt x="1464" y="19"/>
                  </a:lnTo>
                  <a:lnTo>
                    <a:pt x="1455" y="14"/>
                  </a:lnTo>
                  <a:lnTo>
                    <a:pt x="1446" y="9"/>
                  </a:lnTo>
                  <a:lnTo>
                    <a:pt x="1436" y="5"/>
                  </a:lnTo>
                  <a:lnTo>
                    <a:pt x="1425" y="2"/>
                  </a:lnTo>
                  <a:lnTo>
                    <a:pt x="1413" y="0"/>
                  </a:lnTo>
                  <a:lnTo>
                    <a:pt x="1402" y="0"/>
                  </a:lnTo>
                  <a:lnTo>
                    <a:pt x="113" y="0"/>
                  </a:lnTo>
                  <a:lnTo>
                    <a:pt x="113" y="0"/>
                  </a:lnTo>
                  <a:lnTo>
                    <a:pt x="101" y="0"/>
                  </a:lnTo>
                  <a:lnTo>
                    <a:pt x="90" y="2"/>
                  </a:lnTo>
                  <a:lnTo>
                    <a:pt x="80" y="5"/>
                  </a:lnTo>
                  <a:lnTo>
                    <a:pt x="69" y="9"/>
                  </a:lnTo>
                  <a:lnTo>
                    <a:pt x="58" y="14"/>
                  </a:lnTo>
                  <a:lnTo>
                    <a:pt x="50" y="19"/>
                  </a:lnTo>
                  <a:lnTo>
                    <a:pt x="32" y="33"/>
                  </a:lnTo>
                  <a:lnTo>
                    <a:pt x="20" y="49"/>
                  </a:lnTo>
                  <a:lnTo>
                    <a:pt x="13" y="60"/>
                  </a:lnTo>
                  <a:lnTo>
                    <a:pt x="9" y="69"/>
                  </a:lnTo>
                  <a:lnTo>
                    <a:pt x="6" y="79"/>
                  </a:lnTo>
                  <a:lnTo>
                    <a:pt x="2" y="90"/>
                  </a:lnTo>
                  <a:lnTo>
                    <a:pt x="0" y="102"/>
                  </a:lnTo>
                  <a:lnTo>
                    <a:pt x="0" y="113"/>
                  </a:lnTo>
                  <a:lnTo>
                    <a:pt x="0" y="770"/>
                  </a:lnTo>
                  <a:lnTo>
                    <a:pt x="0" y="770"/>
                  </a:lnTo>
                  <a:lnTo>
                    <a:pt x="0" y="783"/>
                  </a:lnTo>
                  <a:lnTo>
                    <a:pt x="2" y="793"/>
                  </a:lnTo>
                  <a:lnTo>
                    <a:pt x="6" y="804"/>
                  </a:lnTo>
                  <a:lnTo>
                    <a:pt x="9" y="814"/>
                  </a:lnTo>
                  <a:lnTo>
                    <a:pt x="13" y="825"/>
                  </a:lnTo>
                  <a:lnTo>
                    <a:pt x="20" y="834"/>
                  </a:lnTo>
                  <a:lnTo>
                    <a:pt x="32" y="850"/>
                  </a:lnTo>
                  <a:lnTo>
                    <a:pt x="50" y="864"/>
                  </a:lnTo>
                  <a:lnTo>
                    <a:pt x="58" y="869"/>
                  </a:lnTo>
                  <a:lnTo>
                    <a:pt x="69" y="874"/>
                  </a:lnTo>
                  <a:lnTo>
                    <a:pt x="80" y="878"/>
                  </a:lnTo>
                  <a:lnTo>
                    <a:pt x="90" y="881"/>
                  </a:lnTo>
                  <a:lnTo>
                    <a:pt x="101" y="883"/>
                  </a:lnTo>
                  <a:lnTo>
                    <a:pt x="113" y="883"/>
                  </a:lnTo>
                  <a:lnTo>
                    <a:pt x="931" y="883"/>
                  </a:lnTo>
                  <a:lnTo>
                    <a:pt x="938" y="770"/>
                  </a:lnTo>
                  <a:lnTo>
                    <a:pt x="338" y="770"/>
                  </a:lnTo>
                  <a:close/>
                  <a:moveTo>
                    <a:pt x="1406" y="346"/>
                  </a:moveTo>
                  <a:lnTo>
                    <a:pt x="1406" y="346"/>
                  </a:lnTo>
                  <a:lnTo>
                    <a:pt x="1408" y="338"/>
                  </a:lnTo>
                  <a:lnTo>
                    <a:pt x="1413" y="331"/>
                  </a:lnTo>
                  <a:lnTo>
                    <a:pt x="1420" y="327"/>
                  </a:lnTo>
                  <a:lnTo>
                    <a:pt x="1429" y="325"/>
                  </a:lnTo>
                  <a:lnTo>
                    <a:pt x="1429" y="325"/>
                  </a:lnTo>
                  <a:lnTo>
                    <a:pt x="1436" y="327"/>
                  </a:lnTo>
                  <a:lnTo>
                    <a:pt x="1443" y="331"/>
                  </a:lnTo>
                  <a:lnTo>
                    <a:pt x="1448" y="338"/>
                  </a:lnTo>
                  <a:lnTo>
                    <a:pt x="1450" y="346"/>
                  </a:lnTo>
                  <a:lnTo>
                    <a:pt x="1450" y="536"/>
                  </a:lnTo>
                  <a:lnTo>
                    <a:pt x="1450" y="536"/>
                  </a:lnTo>
                  <a:lnTo>
                    <a:pt x="1448" y="545"/>
                  </a:lnTo>
                  <a:lnTo>
                    <a:pt x="1443" y="552"/>
                  </a:lnTo>
                  <a:lnTo>
                    <a:pt x="1436" y="558"/>
                  </a:lnTo>
                  <a:lnTo>
                    <a:pt x="1429" y="559"/>
                  </a:lnTo>
                  <a:lnTo>
                    <a:pt x="1429" y="559"/>
                  </a:lnTo>
                  <a:lnTo>
                    <a:pt x="1420" y="558"/>
                  </a:lnTo>
                  <a:lnTo>
                    <a:pt x="1413" y="552"/>
                  </a:lnTo>
                  <a:lnTo>
                    <a:pt x="1408" y="545"/>
                  </a:lnTo>
                  <a:lnTo>
                    <a:pt x="1406" y="536"/>
                  </a:lnTo>
                  <a:lnTo>
                    <a:pt x="1406" y="346"/>
                  </a:lnTo>
                  <a:close/>
                  <a:moveTo>
                    <a:pt x="139" y="501"/>
                  </a:moveTo>
                  <a:lnTo>
                    <a:pt x="139" y="501"/>
                  </a:lnTo>
                  <a:lnTo>
                    <a:pt x="127" y="501"/>
                  </a:lnTo>
                  <a:lnTo>
                    <a:pt x="115" y="498"/>
                  </a:lnTo>
                  <a:lnTo>
                    <a:pt x="106" y="492"/>
                  </a:lnTo>
                  <a:lnTo>
                    <a:pt x="95" y="484"/>
                  </a:lnTo>
                  <a:lnTo>
                    <a:pt x="88" y="475"/>
                  </a:lnTo>
                  <a:lnTo>
                    <a:pt x="83" y="466"/>
                  </a:lnTo>
                  <a:lnTo>
                    <a:pt x="80" y="454"/>
                  </a:lnTo>
                  <a:lnTo>
                    <a:pt x="78" y="441"/>
                  </a:lnTo>
                  <a:lnTo>
                    <a:pt x="78" y="441"/>
                  </a:lnTo>
                  <a:lnTo>
                    <a:pt x="80" y="429"/>
                  </a:lnTo>
                  <a:lnTo>
                    <a:pt x="83" y="419"/>
                  </a:lnTo>
                  <a:lnTo>
                    <a:pt x="88" y="408"/>
                  </a:lnTo>
                  <a:lnTo>
                    <a:pt x="95" y="399"/>
                  </a:lnTo>
                  <a:lnTo>
                    <a:pt x="106" y="392"/>
                  </a:lnTo>
                  <a:lnTo>
                    <a:pt x="115" y="387"/>
                  </a:lnTo>
                  <a:lnTo>
                    <a:pt x="127" y="383"/>
                  </a:lnTo>
                  <a:lnTo>
                    <a:pt x="139" y="382"/>
                  </a:lnTo>
                  <a:lnTo>
                    <a:pt x="139" y="382"/>
                  </a:lnTo>
                  <a:lnTo>
                    <a:pt x="152" y="383"/>
                  </a:lnTo>
                  <a:lnTo>
                    <a:pt x="162" y="387"/>
                  </a:lnTo>
                  <a:lnTo>
                    <a:pt x="173" y="392"/>
                  </a:lnTo>
                  <a:lnTo>
                    <a:pt x="182" y="399"/>
                  </a:lnTo>
                  <a:lnTo>
                    <a:pt x="189" y="408"/>
                  </a:lnTo>
                  <a:lnTo>
                    <a:pt x="194" y="419"/>
                  </a:lnTo>
                  <a:lnTo>
                    <a:pt x="197" y="429"/>
                  </a:lnTo>
                  <a:lnTo>
                    <a:pt x="199" y="441"/>
                  </a:lnTo>
                  <a:lnTo>
                    <a:pt x="199" y="441"/>
                  </a:lnTo>
                  <a:lnTo>
                    <a:pt x="197" y="454"/>
                  </a:lnTo>
                  <a:lnTo>
                    <a:pt x="194" y="466"/>
                  </a:lnTo>
                  <a:lnTo>
                    <a:pt x="189" y="475"/>
                  </a:lnTo>
                  <a:lnTo>
                    <a:pt x="182" y="484"/>
                  </a:lnTo>
                  <a:lnTo>
                    <a:pt x="173" y="492"/>
                  </a:lnTo>
                  <a:lnTo>
                    <a:pt x="162" y="498"/>
                  </a:lnTo>
                  <a:lnTo>
                    <a:pt x="152" y="501"/>
                  </a:lnTo>
                  <a:lnTo>
                    <a:pt x="139" y="501"/>
                  </a:lnTo>
                  <a:lnTo>
                    <a:pt x="139" y="50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 name="Freeform 126">
              <a:extLst>
                <a:ext uri="{FF2B5EF4-FFF2-40B4-BE49-F238E27FC236}">
                  <a16:creationId xmlns:a16="http://schemas.microsoft.com/office/drawing/2014/main" id="{9DA184D7-F997-42AD-8C02-A5235CBE37A7}"/>
                </a:ext>
              </a:extLst>
            </p:cNvPr>
            <p:cNvSpPr>
              <a:spLocks/>
            </p:cNvSpPr>
            <p:nvPr/>
          </p:nvSpPr>
          <p:spPr bwMode="auto">
            <a:xfrm>
              <a:off x="19332576" y="1116013"/>
              <a:ext cx="25400" cy="25400"/>
            </a:xfrm>
            <a:custGeom>
              <a:avLst/>
              <a:gdLst>
                <a:gd name="T0" fmla="*/ 16 w 34"/>
                <a:gd name="T1" fmla="*/ 0 h 34"/>
                <a:gd name="T2" fmla="*/ 16 w 34"/>
                <a:gd name="T3" fmla="*/ 0 h 34"/>
                <a:gd name="T4" fmla="*/ 11 w 34"/>
                <a:gd name="T5" fmla="*/ 2 h 34"/>
                <a:gd name="T6" fmla="*/ 6 w 34"/>
                <a:gd name="T7" fmla="*/ 6 h 34"/>
                <a:gd name="T8" fmla="*/ 2 w 34"/>
                <a:gd name="T9" fmla="*/ 11 h 34"/>
                <a:gd name="T10" fmla="*/ 0 w 34"/>
                <a:gd name="T11" fmla="*/ 16 h 34"/>
                <a:gd name="T12" fmla="*/ 0 w 34"/>
                <a:gd name="T13" fmla="*/ 16 h 34"/>
                <a:gd name="T14" fmla="*/ 2 w 34"/>
                <a:gd name="T15" fmla="*/ 23 h 34"/>
                <a:gd name="T16" fmla="*/ 6 w 34"/>
                <a:gd name="T17" fmla="*/ 28 h 34"/>
                <a:gd name="T18" fmla="*/ 11 w 34"/>
                <a:gd name="T19" fmla="*/ 32 h 34"/>
                <a:gd name="T20" fmla="*/ 16 w 34"/>
                <a:gd name="T21" fmla="*/ 34 h 34"/>
                <a:gd name="T22" fmla="*/ 16 w 34"/>
                <a:gd name="T23" fmla="*/ 34 h 34"/>
                <a:gd name="T24" fmla="*/ 23 w 34"/>
                <a:gd name="T25" fmla="*/ 32 h 34"/>
                <a:gd name="T26" fmla="*/ 28 w 34"/>
                <a:gd name="T27" fmla="*/ 28 h 34"/>
                <a:gd name="T28" fmla="*/ 32 w 34"/>
                <a:gd name="T29" fmla="*/ 23 h 34"/>
                <a:gd name="T30" fmla="*/ 34 w 34"/>
                <a:gd name="T31" fmla="*/ 16 h 34"/>
                <a:gd name="T32" fmla="*/ 34 w 34"/>
                <a:gd name="T33" fmla="*/ 16 h 34"/>
                <a:gd name="T34" fmla="*/ 32 w 34"/>
                <a:gd name="T35" fmla="*/ 11 h 34"/>
                <a:gd name="T36" fmla="*/ 28 w 34"/>
                <a:gd name="T37" fmla="*/ 6 h 34"/>
                <a:gd name="T38" fmla="*/ 23 w 34"/>
                <a:gd name="T39" fmla="*/ 2 h 34"/>
                <a:gd name="T40" fmla="*/ 16 w 34"/>
                <a:gd name="T41" fmla="*/ 0 h 34"/>
                <a:gd name="T42" fmla="*/ 16 w 34"/>
                <a:gd name="T4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16" y="0"/>
                  </a:moveTo>
                  <a:lnTo>
                    <a:pt x="16" y="0"/>
                  </a:lnTo>
                  <a:lnTo>
                    <a:pt x="11" y="2"/>
                  </a:lnTo>
                  <a:lnTo>
                    <a:pt x="6" y="6"/>
                  </a:lnTo>
                  <a:lnTo>
                    <a:pt x="2" y="11"/>
                  </a:lnTo>
                  <a:lnTo>
                    <a:pt x="0" y="16"/>
                  </a:lnTo>
                  <a:lnTo>
                    <a:pt x="0" y="16"/>
                  </a:lnTo>
                  <a:lnTo>
                    <a:pt x="2" y="23"/>
                  </a:lnTo>
                  <a:lnTo>
                    <a:pt x="6" y="28"/>
                  </a:lnTo>
                  <a:lnTo>
                    <a:pt x="11" y="32"/>
                  </a:lnTo>
                  <a:lnTo>
                    <a:pt x="16" y="34"/>
                  </a:lnTo>
                  <a:lnTo>
                    <a:pt x="16" y="34"/>
                  </a:lnTo>
                  <a:lnTo>
                    <a:pt x="23" y="32"/>
                  </a:lnTo>
                  <a:lnTo>
                    <a:pt x="28" y="28"/>
                  </a:lnTo>
                  <a:lnTo>
                    <a:pt x="32" y="23"/>
                  </a:lnTo>
                  <a:lnTo>
                    <a:pt x="34" y="16"/>
                  </a:lnTo>
                  <a:lnTo>
                    <a:pt x="34" y="16"/>
                  </a:lnTo>
                  <a:lnTo>
                    <a:pt x="32" y="11"/>
                  </a:lnTo>
                  <a:lnTo>
                    <a:pt x="28" y="6"/>
                  </a:lnTo>
                  <a:lnTo>
                    <a:pt x="23" y="2"/>
                  </a:lnTo>
                  <a:lnTo>
                    <a:pt x="16" y="0"/>
                  </a:lnTo>
                  <a:lnTo>
                    <a:pt x="16" y="0"/>
                  </a:lnTo>
                  <a:close/>
                </a:path>
              </a:pathLst>
            </a:cu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 name="Freeform 127">
              <a:extLst>
                <a:ext uri="{FF2B5EF4-FFF2-40B4-BE49-F238E27FC236}">
                  <a16:creationId xmlns:a16="http://schemas.microsoft.com/office/drawing/2014/main" id="{3072B6F6-7484-48FA-A5F2-4BCAC88B27AE}"/>
                </a:ext>
              </a:extLst>
            </p:cNvPr>
            <p:cNvSpPr>
              <a:spLocks/>
            </p:cNvSpPr>
            <p:nvPr/>
          </p:nvSpPr>
          <p:spPr bwMode="auto">
            <a:xfrm>
              <a:off x="19448463" y="1116013"/>
              <a:ext cx="25400" cy="25400"/>
            </a:xfrm>
            <a:custGeom>
              <a:avLst/>
              <a:gdLst>
                <a:gd name="T0" fmla="*/ 18 w 34"/>
                <a:gd name="T1" fmla="*/ 0 h 34"/>
                <a:gd name="T2" fmla="*/ 18 w 34"/>
                <a:gd name="T3" fmla="*/ 0 h 34"/>
                <a:gd name="T4" fmla="*/ 11 w 34"/>
                <a:gd name="T5" fmla="*/ 2 h 34"/>
                <a:gd name="T6" fmla="*/ 6 w 34"/>
                <a:gd name="T7" fmla="*/ 6 h 34"/>
                <a:gd name="T8" fmla="*/ 2 w 34"/>
                <a:gd name="T9" fmla="*/ 11 h 34"/>
                <a:gd name="T10" fmla="*/ 0 w 34"/>
                <a:gd name="T11" fmla="*/ 16 h 34"/>
                <a:gd name="T12" fmla="*/ 0 w 34"/>
                <a:gd name="T13" fmla="*/ 16 h 34"/>
                <a:gd name="T14" fmla="*/ 2 w 34"/>
                <a:gd name="T15" fmla="*/ 23 h 34"/>
                <a:gd name="T16" fmla="*/ 6 w 34"/>
                <a:gd name="T17" fmla="*/ 28 h 34"/>
                <a:gd name="T18" fmla="*/ 11 w 34"/>
                <a:gd name="T19" fmla="*/ 32 h 34"/>
                <a:gd name="T20" fmla="*/ 18 w 34"/>
                <a:gd name="T21" fmla="*/ 34 h 34"/>
                <a:gd name="T22" fmla="*/ 18 w 34"/>
                <a:gd name="T23" fmla="*/ 34 h 34"/>
                <a:gd name="T24" fmla="*/ 23 w 34"/>
                <a:gd name="T25" fmla="*/ 32 h 34"/>
                <a:gd name="T26" fmla="*/ 28 w 34"/>
                <a:gd name="T27" fmla="*/ 28 h 34"/>
                <a:gd name="T28" fmla="*/ 32 w 34"/>
                <a:gd name="T29" fmla="*/ 23 h 34"/>
                <a:gd name="T30" fmla="*/ 34 w 34"/>
                <a:gd name="T31" fmla="*/ 16 h 34"/>
                <a:gd name="T32" fmla="*/ 34 w 34"/>
                <a:gd name="T33" fmla="*/ 16 h 34"/>
                <a:gd name="T34" fmla="*/ 32 w 34"/>
                <a:gd name="T35" fmla="*/ 11 h 34"/>
                <a:gd name="T36" fmla="*/ 28 w 34"/>
                <a:gd name="T37" fmla="*/ 6 h 34"/>
                <a:gd name="T38" fmla="*/ 23 w 34"/>
                <a:gd name="T39" fmla="*/ 2 h 34"/>
                <a:gd name="T40" fmla="*/ 18 w 34"/>
                <a:gd name="T41" fmla="*/ 0 h 34"/>
                <a:gd name="T42" fmla="*/ 18 w 34"/>
                <a:gd name="T4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18" y="0"/>
                  </a:moveTo>
                  <a:lnTo>
                    <a:pt x="18" y="0"/>
                  </a:lnTo>
                  <a:lnTo>
                    <a:pt x="11" y="2"/>
                  </a:lnTo>
                  <a:lnTo>
                    <a:pt x="6" y="6"/>
                  </a:lnTo>
                  <a:lnTo>
                    <a:pt x="2" y="11"/>
                  </a:lnTo>
                  <a:lnTo>
                    <a:pt x="0" y="16"/>
                  </a:lnTo>
                  <a:lnTo>
                    <a:pt x="0" y="16"/>
                  </a:lnTo>
                  <a:lnTo>
                    <a:pt x="2" y="23"/>
                  </a:lnTo>
                  <a:lnTo>
                    <a:pt x="6" y="28"/>
                  </a:lnTo>
                  <a:lnTo>
                    <a:pt x="11" y="32"/>
                  </a:lnTo>
                  <a:lnTo>
                    <a:pt x="18" y="34"/>
                  </a:lnTo>
                  <a:lnTo>
                    <a:pt x="18" y="34"/>
                  </a:lnTo>
                  <a:lnTo>
                    <a:pt x="23" y="32"/>
                  </a:lnTo>
                  <a:lnTo>
                    <a:pt x="28" y="28"/>
                  </a:lnTo>
                  <a:lnTo>
                    <a:pt x="32" y="23"/>
                  </a:lnTo>
                  <a:lnTo>
                    <a:pt x="34" y="16"/>
                  </a:lnTo>
                  <a:lnTo>
                    <a:pt x="34" y="16"/>
                  </a:lnTo>
                  <a:lnTo>
                    <a:pt x="32" y="11"/>
                  </a:lnTo>
                  <a:lnTo>
                    <a:pt x="28" y="6"/>
                  </a:lnTo>
                  <a:lnTo>
                    <a:pt x="23" y="2"/>
                  </a:lnTo>
                  <a:lnTo>
                    <a:pt x="18" y="0"/>
                  </a:lnTo>
                  <a:lnTo>
                    <a:pt x="18" y="0"/>
                  </a:lnTo>
                  <a:close/>
                </a:path>
              </a:pathLst>
            </a:custGeom>
            <a:solidFill>
              <a:srgbClr val="0054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 name="Freeform 128">
              <a:extLst>
                <a:ext uri="{FF2B5EF4-FFF2-40B4-BE49-F238E27FC236}">
                  <a16:creationId xmlns:a16="http://schemas.microsoft.com/office/drawing/2014/main" id="{FD5AC326-E8B6-49E8-91F9-41B603ACE583}"/>
                </a:ext>
              </a:extLst>
            </p:cNvPr>
            <p:cNvSpPr>
              <a:spLocks/>
            </p:cNvSpPr>
            <p:nvPr/>
          </p:nvSpPr>
          <p:spPr bwMode="auto">
            <a:xfrm>
              <a:off x="18830926" y="933451"/>
              <a:ext cx="96838" cy="95250"/>
            </a:xfrm>
            <a:custGeom>
              <a:avLst/>
              <a:gdLst>
                <a:gd name="T0" fmla="*/ 61 w 121"/>
                <a:gd name="T1" fmla="*/ 0 h 119"/>
                <a:gd name="T2" fmla="*/ 61 w 121"/>
                <a:gd name="T3" fmla="*/ 0 h 119"/>
                <a:gd name="T4" fmla="*/ 49 w 121"/>
                <a:gd name="T5" fmla="*/ 1 h 119"/>
                <a:gd name="T6" fmla="*/ 37 w 121"/>
                <a:gd name="T7" fmla="*/ 5 h 119"/>
                <a:gd name="T8" fmla="*/ 28 w 121"/>
                <a:gd name="T9" fmla="*/ 10 h 119"/>
                <a:gd name="T10" fmla="*/ 17 w 121"/>
                <a:gd name="T11" fmla="*/ 17 h 119"/>
                <a:gd name="T12" fmla="*/ 10 w 121"/>
                <a:gd name="T13" fmla="*/ 26 h 119"/>
                <a:gd name="T14" fmla="*/ 5 w 121"/>
                <a:gd name="T15" fmla="*/ 37 h 119"/>
                <a:gd name="T16" fmla="*/ 2 w 121"/>
                <a:gd name="T17" fmla="*/ 47 h 119"/>
                <a:gd name="T18" fmla="*/ 0 w 121"/>
                <a:gd name="T19" fmla="*/ 59 h 119"/>
                <a:gd name="T20" fmla="*/ 0 w 121"/>
                <a:gd name="T21" fmla="*/ 59 h 119"/>
                <a:gd name="T22" fmla="*/ 2 w 121"/>
                <a:gd name="T23" fmla="*/ 72 h 119"/>
                <a:gd name="T24" fmla="*/ 5 w 121"/>
                <a:gd name="T25" fmla="*/ 84 h 119"/>
                <a:gd name="T26" fmla="*/ 10 w 121"/>
                <a:gd name="T27" fmla="*/ 93 h 119"/>
                <a:gd name="T28" fmla="*/ 17 w 121"/>
                <a:gd name="T29" fmla="*/ 102 h 119"/>
                <a:gd name="T30" fmla="*/ 28 w 121"/>
                <a:gd name="T31" fmla="*/ 110 h 119"/>
                <a:gd name="T32" fmla="*/ 37 w 121"/>
                <a:gd name="T33" fmla="*/ 116 h 119"/>
                <a:gd name="T34" fmla="*/ 49 w 121"/>
                <a:gd name="T35" fmla="*/ 119 h 119"/>
                <a:gd name="T36" fmla="*/ 61 w 121"/>
                <a:gd name="T37" fmla="*/ 119 h 119"/>
                <a:gd name="T38" fmla="*/ 61 w 121"/>
                <a:gd name="T39" fmla="*/ 119 h 119"/>
                <a:gd name="T40" fmla="*/ 74 w 121"/>
                <a:gd name="T41" fmla="*/ 119 h 119"/>
                <a:gd name="T42" fmla="*/ 84 w 121"/>
                <a:gd name="T43" fmla="*/ 116 h 119"/>
                <a:gd name="T44" fmla="*/ 95 w 121"/>
                <a:gd name="T45" fmla="*/ 110 h 119"/>
                <a:gd name="T46" fmla="*/ 104 w 121"/>
                <a:gd name="T47" fmla="*/ 102 h 119"/>
                <a:gd name="T48" fmla="*/ 111 w 121"/>
                <a:gd name="T49" fmla="*/ 93 h 119"/>
                <a:gd name="T50" fmla="*/ 116 w 121"/>
                <a:gd name="T51" fmla="*/ 84 h 119"/>
                <a:gd name="T52" fmla="*/ 119 w 121"/>
                <a:gd name="T53" fmla="*/ 72 h 119"/>
                <a:gd name="T54" fmla="*/ 121 w 121"/>
                <a:gd name="T55" fmla="*/ 59 h 119"/>
                <a:gd name="T56" fmla="*/ 121 w 121"/>
                <a:gd name="T57" fmla="*/ 59 h 119"/>
                <a:gd name="T58" fmla="*/ 119 w 121"/>
                <a:gd name="T59" fmla="*/ 47 h 119"/>
                <a:gd name="T60" fmla="*/ 116 w 121"/>
                <a:gd name="T61" fmla="*/ 37 h 119"/>
                <a:gd name="T62" fmla="*/ 111 w 121"/>
                <a:gd name="T63" fmla="*/ 26 h 119"/>
                <a:gd name="T64" fmla="*/ 104 w 121"/>
                <a:gd name="T65" fmla="*/ 17 h 119"/>
                <a:gd name="T66" fmla="*/ 95 w 121"/>
                <a:gd name="T67" fmla="*/ 10 h 119"/>
                <a:gd name="T68" fmla="*/ 84 w 121"/>
                <a:gd name="T69" fmla="*/ 5 h 119"/>
                <a:gd name="T70" fmla="*/ 74 w 121"/>
                <a:gd name="T71" fmla="*/ 1 h 119"/>
                <a:gd name="T72" fmla="*/ 61 w 121"/>
                <a:gd name="T73" fmla="*/ 0 h 119"/>
                <a:gd name="T74" fmla="*/ 61 w 121"/>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1" h="119">
                  <a:moveTo>
                    <a:pt x="61" y="0"/>
                  </a:moveTo>
                  <a:lnTo>
                    <a:pt x="61" y="0"/>
                  </a:lnTo>
                  <a:lnTo>
                    <a:pt x="49" y="1"/>
                  </a:lnTo>
                  <a:lnTo>
                    <a:pt x="37" y="5"/>
                  </a:lnTo>
                  <a:lnTo>
                    <a:pt x="28" y="10"/>
                  </a:lnTo>
                  <a:lnTo>
                    <a:pt x="17" y="17"/>
                  </a:lnTo>
                  <a:lnTo>
                    <a:pt x="10" y="26"/>
                  </a:lnTo>
                  <a:lnTo>
                    <a:pt x="5" y="37"/>
                  </a:lnTo>
                  <a:lnTo>
                    <a:pt x="2" y="47"/>
                  </a:lnTo>
                  <a:lnTo>
                    <a:pt x="0" y="59"/>
                  </a:lnTo>
                  <a:lnTo>
                    <a:pt x="0" y="59"/>
                  </a:lnTo>
                  <a:lnTo>
                    <a:pt x="2" y="72"/>
                  </a:lnTo>
                  <a:lnTo>
                    <a:pt x="5" y="84"/>
                  </a:lnTo>
                  <a:lnTo>
                    <a:pt x="10" y="93"/>
                  </a:lnTo>
                  <a:lnTo>
                    <a:pt x="17" y="102"/>
                  </a:lnTo>
                  <a:lnTo>
                    <a:pt x="28" y="110"/>
                  </a:lnTo>
                  <a:lnTo>
                    <a:pt x="37" y="116"/>
                  </a:lnTo>
                  <a:lnTo>
                    <a:pt x="49" y="119"/>
                  </a:lnTo>
                  <a:lnTo>
                    <a:pt x="61" y="119"/>
                  </a:lnTo>
                  <a:lnTo>
                    <a:pt x="61" y="119"/>
                  </a:lnTo>
                  <a:lnTo>
                    <a:pt x="74" y="119"/>
                  </a:lnTo>
                  <a:lnTo>
                    <a:pt x="84" y="116"/>
                  </a:lnTo>
                  <a:lnTo>
                    <a:pt x="95" y="110"/>
                  </a:lnTo>
                  <a:lnTo>
                    <a:pt x="104" y="102"/>
                  </a:lnTo>
                  <a:lnTo>
                    <a:pt x="111" y="93"/>
                  </a:lnTo>
                  <a:lnTo>
                    <a:pt x="116" y="84"/>
                  </a:lnTo>
                  <a:lnTo>
                    <a:pt x="119" y="72"/>
                  </a:lnTo>
                  <a:lnTo>
                    <a:pt x="121" y="59"/>
                  </a:lnTo>
                  <a:lnTo>
                    <a:pt x="121" y="59"/>
                  </a:lnTo>
                  <a:lnTo>
                    <a:pt x="119" y="47"/>
                  </a:lnTo>
                  <a:lnTo>
                    <a:pt x="116" y="37"/>
                  </a:lnTo>
                  <a:lnTo>
                    <a:pt x="111" y="26"/>
                  </a:lnTo>
                  <a:lnTo>
                    <a:pt x="104" y="17"/>
                  </a:lnTo>
                  <a:lnTo>
                    <a:pt x="95" y="10"/>
                  </a:lnTo>
                  <a:lnTo>
                    <a:pt x="84" y="5"/>
                  </a:lnTo>
                  <a:lnTo>
                    <a:pt x="74" y="1"/>
                  </a:lnTo>
                  <a:lnTo>
                    <a:pt x="61" y="0"/>
                  </a:lnTo>
                  <a:lnTo>
                    <a:pt x="61" y="0"/>
                  </a:lnTo>
                  <a:close/>
                </a:path>
              </a:pathLst>
            </a:custGeom>
            <a:solidFill>
              <a:schemeClr val="bg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29">
              <a:extLst>
                <a:ext uri="{FF2B5EF4-FFF2-40B4-BE49-F238E27FC236}">
                  <a16:creationId xmlns:a16="http://schemas.microsoft.com/office/drawing/2014/main" id="{0BBE3779-13B6-48A4-A2D5-BCB837669595}"/>
                </a:ext>
              </a:extLst>
            </p:cNvPr>
            <p:cNvSpPr>
              <a:spLocks/>
            </p:cNvSpPr>
            <p:nvPr/>
          </p:nvSpPr>
          <p:spPr bwMode="auto">
            <a:xfrm>
              <a:off x="19885026" y="889001"/>
              <a:ext cx="34925" cy="185738"/>
            </a:xfrm>
            <a:custGeom>
              <a:avLst/>
              <a:gdLst>
                <a:gd name="T0" fmla="*/ 23 w 44"/>
                <a:gd name="T1" fmla="*/ 234 h 234"/>
                <a:gd name="T2" fmla="*/ 23 w 44"/>
                <a:gd name="T3" fmla="*/ 234 h 234"/>
                <a:gd name="T4" fmla="*/ 30 w 44"/>
                <a:gd name="T5" fmla="*/ 233 h 234"/>
                <a:gd name="T6" fmla="*/ 37 w 44"/>
                <a:gd name="T7" fmla="*/ 227 h 234"/>
                <a:gd name="T8" fmla="*/ 42 w 44"/>
                <a:gd name="T9" fmla="*/ 220 h 234"/>
                <a:gd name="T10" fmla="*/ 44 w 44"/>
                <a:gd name="T11" fmla="*/ 211 h 234"/>
                <a:gd name="T12" fmla="*/ 44 w 44"/>
                <a:gd name="T13" fmla="*/ 21 h 234"/>
                <a:gd name="T14" fmla="*/ 44 w 44"/>
                <a:gd name="T15" fmla="*/ 21 h 234"/>
                <a:gd name="T16" fmla="*/ 42 w 44"/>
                <a:gd name="T17" fmla="*/ 13 h 234"/>
                <a:gd name="T18" fmla="*/ 37 w 44"/>
                <a:gd name="T19" fmla="*/ 6 h 234"/>
                <a:gd name="T20" fmla="*/ 30 w 44"/>
                <a:gd name="T21" fmla="*/ 2 h 234"/>
                <a:gd name="T22" fmla="*/ 23 w 44"/>
                <a:gd name="T23" fmla="*/ 0 h 234"/>
                <a:gd name="T24" fmla="*/ 23 w 44"/>
                <a:gd name="T25" fmla="*/ 0 h 234"/>
                <a:gd name="T26" fmla="*/ 14 w 44"/>
                <a:gd name="T27" fmla="*/ 2 h 234"/>
                <a:gd name="T28" fmla="*/ 7 w 44"/>
                <a:gd name="T29" fmla="*/ 6 h 234"/>
                <a:gd name="T30" fmla="*/ 2 w 44"/>
                <a:gd name="T31" fmla="*/ 13 h 234"/>
                <a:gd name="T32" fmla="*/ 0 w 44"/>
                <a:gd name="T33" fmla="*/ 21 h 234"/>
                <a:gd name="T34" fmla="*/ 0 w 44"/>
                <a:gd name="T35" fmla="*/ 211 h 234"/>
                <a:gd name="T36" fmla="*/ 0 w 44"/>
                <a:gd name="T37" fmla="*/ 211 h 234"/>
                <a:gd name="T38" fmla="*/ 2 w 44"/>
                <a:gd name="T39" fmla="*/ 220 h 234"/>
                <a:gd name="T40" fmla="*/ 7 w 44"/>
                <a:gd name="T41" fmla="*/ 227 h 234"/>
                <a:gd name="T42" fmla="*/ 14 w 44"/>
                <a:gd name="T43" fmla="*/ 233 h 234"/>
                <a:gd name="T44" fmla="*/ 23 w 44"/>
                <a:gd name="T45" fmla="*/ 234 h 234"/>
                <a:gd name="T46" fmla="*/ 23 w 44"/>
                <a:gd name="T4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234">
                  <a:moveTo>
                    <a:pt x="23" y="234"/>
                  </a:moveTo>
                  <a:lnTo>
                    <a:pt x="23" y="234"/>
                  </a:lnTo>
                  <a:lnTo>
                    <a:pt x="30" y="233"/>
                  </a:lnTo>
                  <a:lnTo>
                    <a:pt x="37" y="227"/>
                  </a:lnTo>
                  <a:lnTo>
                    <a:pt x="42" y="220"/>
                  </a:lnTo>
                  <a:lnTo>
                    <a:pt x="44" y="211"/>
                  </a:lnTo>
                  <a:lnTo>
                    <a:pt x="44" y="21"/>
                  </a:lnTo>
                  <a:lnTo>
                    <a:pt x="44" y="21"/>
                  </a:lnTo>
                  <a:lnTo>
                    <a:pt x="42" y="13"/>
                  </a:lnTo>
                  <a:lnTo>
                    <a:pt x="37" y="6"/>
                  </a:lnTo>
                  <a:lnTo>
                    <a:pt x="30" y="2"/>
                  </a:lnTo>
                  <a:lnTo>
                    <a:pt x="23" y="0"/>
                  </a:lnTo>
                  <a:lnTo>
                    <a:pt x="23" y="0"/>
                  </a:lnTo>
                  <a:lnTo>
                    <a:pt x="14" y="2"/>
                  </a:lnTo>
                  <a:lnTo>
                    <a:pt x="7" y="6"/>
                  </a:lnTo>
                  <a:lnTo>
                    <a:pt x="2" y="13"/>
                  </a:lnTo>
                  <a:lnTo>
                    <a:pt x="0" y="21"/>
                  </a:lnTo>
                  <a:lnTo>
                    <a:pt x="0" y="211"/>
                  </a:lnTo>
                  <a:lnTo>
                    <a:pt x="0" y="211"/>
                  </a:lnTo>
                  <a:lnTo>
                    <a:pt x="2" y="220"/>
                  </a:lnTo>
                  <a:lnTo>
                    <a:pt x="7" y="227"/>
                  </a:lnTo>
                  <a:lnTo>
                    <a:pt x="14" y="233"/>
                  </a:lnTo>
                  <a:lnTo>
                    <a:pt x="23" y="234"/>
                  </a:lnTo>
                  <a:lnTo>
                    <a:pt x="23" y="234"/>
                  </a:lnTo>
                  <a:close/>
                </a:path>
              </a:pathLst>
            </a:custGeom>
            <a:solidFill>
              <a:schemeClr val="bg1">
                <a:lumMod val="95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30">
              <a:extLst>
                <a:ext uri="{FF2B5EF4-FFF2-40B4-BE49-F238E27FC236}">
                  <a16:creationId xmlns:a16="http://schemas.microsoft.com/office/drawing/2014/main" id="{39182691-832F-4BA5-A9B1-B92346308D78}"/>
                </a:ext>
              </a:extLst>
            </p:cNvPr>
            <p:cNvSpPr>
              <a:spLocks/>
            </p:cNvSpPr>
            <p:nvPr/>
          </p:nvSpPr>
          <p:spPr bwMode="auto">
            <a:xfrm>
              <a:off x="19369088" y="1104901"/>
              <a:ext cx="561975" cy="671513"/>
            </a:xfrm>
            <a:custGeom>
              <a:avLst/>
              <a:gdLst>
                <a:gd name="T0" fmla="*/ 369 w 707"/>
                <a:gd name="T1" fmla="*/ 394 h 844"/>
                <a:gd name="T2" fmla="*/ 352 w 707"/>
                <a:gd name="T3" fmla="*/ 55 h 844"/>
                <a:gd name="T4" fmla="*/ 345 w 707"/>
                <a:gd name="T5" fmla="*/ 28 h 844"/>
                <a:gd name="T6" fmla="*/ 325 w 707"/>
                <a:gd name="T7" fmla="*/ 9 h 844"/>
                <a:gd name="T8" fmla="*/ 311 w 707"/>
                <a:gd name="T9" fmla="*/ 2 h 844"/>
                <a:gd name="T10" fmla="*/ 295 w 707"/>
                <a:gd name="T11" fmla="*/ 0 h 844"/>
                <a:gd name="T12" fmla="*/ 295 w 707"/>
                <a:gd name="T13" fmla="*/ 0 h 844"/>
                <a:gd name="T14" fmla="*/ 274 w 707"/>
                <a:gd name="T15" fmla="*/ 5 h 844"/>
                <a:gd name="T16" fmla="*/ 258 w 707"/>
                <a:gd name="T17" fmla="*/ 16 h 844"/>
                <a:gd name="T18" fmla="*/ 246 w 707"/>
                <a:gd name="T19" fmla="*/ 32 h 844"/>
                <a:gd name="T20" fmla="*/ 241 w 707"/>
                <a:gd name="T21" fmla="*/ 53 h 844"/>
                <a:gd name="T22" fmla="*/ 84 w 707"/>
                <a:gd name="T23" fmla="*/ 412 h 844"/>
                <a:gd name="T24" fmla="*/ 72 w 707"/>
                <a:gd name="T25" fmla="*/ 406 h 844"/>
                <a:gd name="T26" fmla="*/ 60 w 707"/>
                <a:gd name="T27" fmla="*/ 406 h 844"/>
                <a:gd name="T28" fmla="*/ 60 w 707"/>
                <a:gd name="T29" fmla="*/ 406 h 844"/>
                <a:gd name="T30" fmla="*/ 38 w 707"/>
                <a:gd name="T31" fmla="*/ 410 h 844"/>
                <a:gd name="T32" fmla="*/ 21 w 707"/>
                <a:gd name="T33" fmla="*/ 420 h 844"/>
                <a:gd name="T34" fmla="*/ 12 w 707"/>
                <a:gd name="T35" fmla="*/ 429 h 844"/>
                <a:gd name="T36" fmla="*/ 2 w 707"/>
                <a:gd name="T37" fmla="*/ 449 h 844"/>
                <a:gd name="T38" fmla="*/ 0 w 707"/>
                <a:gd name="T39" fmla="*/ 471 h 844"/>
                <a:gd name="T40" fmla="*/ 7 w 707"/>
                <a:gd name="T41" fmla="*/ 493 h 844"/>
                <a:gd name="T42" fmla="*/ 251 w 707"/>
                <a:gd name="T43" fmla="*/ 777 h 844"/>
                <a:gd name="T44" fmla="*/ 679 w 707"/>
                <a:gd name="T45" fmla="*/ 844 h 844"/>
                <a:gd name="T46" fmla="*/ 707 w 707"/>
                <a:gd name="T47" fmla="*/ 512 h 844"/>
                <a:gd name="T48" fmla="*/ 707 w 707"/>
                <a:gd name="T49" fmla="*/ 489 h 844"/>
                <a:gd name="T50" fmla="*/ 702 w 707"/>
                <a:gd name="T51" fmla="*/ 468 h 844"/>
                <a:gd name="T52" fmla="*/ 693 w 707"/>
                <a:gd name="T53" fmla="*/ 447 h 844"/>
                <a:gd name="T54" fmla="*/ 679 w 707"/>
                <a:gd name="T55" fmla="*/ 429 h 844"/>
                <a:gd name="T56" fmla="*/ 670 w 707"/>
                <a:gd name="T57" fmla="*/ 422 h 844"/>
                <a:gd name="T58" fmla="*/ 652 w 707"/>
                <a:gd name="T59" fmla="*/ 408 h 844"/>
                <a:gd name="T60" fmla="*/ 633 w 707"/>
                <a:gd name="T61" fmla="*/ 399 h 844"/>
                <a:gd name="T62" fmla="*/ 610 w 707"/>
                <a:gd name="T63" fmla="*/ 396 h 844"/>
                <a:gd name="T64" fmla="*/ 600 w 707"/>
                <a:gd name="T65" fmla="*/ 394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7" h="844">
                  <a:moveTo>
                    <a:pt x="600" y="394"/>
                  </a:moveTo>
                  <a:lnTo>
                    <a:pt x="369" y="394"/>
                  </a:lnTo>
                  <a:lnTo>
                    <a:pt x="352" y="55"/>
                  </a:lnTo>
                  <a:lnTo>
                    <a:pt x="352" y="55"/>
                  </a:lnTo>
                  <a:lnTo>
                    <a:pt x="350" y="40"/>
                  </a:lnTo>
                  <a:lnTo>
                    <a:pt x="345" y="28"/>
                  </a:lnTo>
                  <a:lnTo>
                    <a:pt x="336" y="18"/>
                  </a:lnTo>
                  <a:lnTo>
                    <a:pt x="325" y="9"/>
                  </a:lnTo>
                  <a:lnTo>
                    <a:pt x="325" y="9"/>
                  </a:lnTo>
                  <a:lnTo>
                    <a:pt x="311" y="2"/>
                  </a:lnTo>
                  <a:lnTo>
                    <a:pt x="295" y="0"/>
                  </a:lnTo>
                  <a:lnTo>
                    <a:pt x="295" y="0"/>
                  </a:lnTo>
                  <a:lnTo>
                    <a:pt x="295" y="0"/>
                  </a:lnTo>
                  <a:lnTo>
                    <a:pt x="295" y="0"/>
                  </a:lnTo>
                  <a:lnTo>
                    <a:pt x="285" y="2"/>
                  </a:lnTo>
                  <a:lnTo>
                    <a:pt x="274" y="5"/>
                  </a:lnTo>
                  <a:lnTo>
                    <a:pt x="265" y="9"/>
                  </a:lnTo>
                  <a:lnTo>
                    <a:pt x="258" y="16"/>
                  </a:lnTo>
                  <a:lnTo>
                    <a:pt x="251" y="23"/>
                  </a:lnTo>
                  <a:lnTo>
                    <a:pt x="246" y="32"/>
                  </a:lnTo>
                  <a:lnTo>
                    <a:pt x="243" y="42"/>
                  </a:lnTo>
                  <a:lnTo>
                    <a:pt x="241" y="53"/>
                  </a:lnTo>
                  <a:lnTo>
                    <a:pt x="214" y="475"/>
                  </a:lnTo>
                  <a:lnTo>
                    <a:pt x="84" y="412"/>
                  </a:lnTo>
                  <a:lnTo>
                    <a:pt x="84" y="412"/>
                  </a:lnTo>
                  <a:lnTo>
                    <a:pt x="72" y="406"/>
                  </a:lnTo>
                  <a:lnTo>
                    <a:pt x="60" y="406"/>
                  </a:lnTo>
                  <a:lnTo>
                    <a:pt x="60" y="406"/>
                  </a:lnTo>
                  <a:lnTo>
                    <a:pt x="60" y="406"/>
                  </a:lnTo>
                  <a:lnTo>
                    <a:pt x="60" y="406"/>
                  </a:lnTo>
                  <a:lnTo>
                    <a:pt x="49" y="406"/>
                  </a:lnTo>
                  <a:lnTo>
                    <a:pt x="38" y="410"/>
                  </a:lnTo>
                  <a:lnTo>
                    <a:pt x="30" y="413"/>
                  </a:lnTo>
                  <a:lnTo>
                    <a:pt x="21" y="420"/>
                  </a:lnTo>
                  <a:lnTo>
                    <a:pt x="21" y="420"/>
                  </a:lnTo>
                  <a:lnTo>
                    <a:pt x="12" y="429"/>
                  </a:lnTo>
                  <a:lnTo>
                    <a:pt x="7" y="438"/>
                  </a:lnTo>
                  <a:lnTo>
                    <a:pt x="2" y="449"/>
                  </a:lnTo>
                  <a:lnTo>
                    <a:pt x="0" y="461"/>
                  </a:lnTo>
                  <a:lnTo>
                    <a:pt x="0" y="471"/>
                  </a:lnTo>
                  <a:lnTo>
                    <a:pt x="3" y="482"/>
                  </a:lnTo>
                  <a:lnTo>
                    <a:pt x="7" y="493"/>
                  </a:lnTo>
                  <a:lnTo>
                    <a:pt x="14" y="503"/>
                  </a:lnTo>
                  <a:lnTo>
                    <a:pt x="251" y="777"/>
                  </a:lnTo>
                  <a:lnTo>
                    <a:pt x="257" y="844"/>
                  </a:lnTo>
                  <a:lnTo>
                    <a:pt x="679" y="844"/>
                  </a:lnTo>
                  <a:lnTo>
                    <a:pt x="707" y="512"/>
                  </a:lnTo>
                  <a:lnTo>
                    <a:pt x="707" y="512"/>
                  </a:lnTo>
                  <a:lnTo>
                    <a:pt x="707" y="500"/>
                  </a:lnTo>
                  <a:lnTo>
                    <a:pt x="707" y="489"/>
                  </a:lnTo>
                  <a:lnTo>
                    <a:pt x="705" y="478"/>
                  </a:lnTo>
                  <a:lnTo>
                    <a:pt x="702" y="468"/>
                  </a:lnTo>
                  <a:lnTo>
                    <a:pt x="696" y="457"/>
                  </a:lnTo>
                  <a:lnTo>
                    <a:pt x="693" y="447"/>
                  </a:lnTo>
                  <a:lnTo>
                    <a:pt x="686" y="438"/>
                  </a:lnTo>
                  <a:lnTo>
                    <a:pt x="679" y="429"/>
                  </a:lnTo>
                  <a:lnTo>
                    <a:pt x="679" y="429"/>
                  </a:lnTo>
                  <a:lnTo>
                    <a:pt x="670" y="422"/>
                  </a:lnTo>
                  <a:lnTo>
                    <a:pt x="661" y="415"/>
                  </a:lnTo>
                  <a:lnTo>
                    <a:pt x="652" y="408"/>
                  </a:lnTo>
                  <a:lnTo>
                    <a:pt x="642" y="405"/>
                  </a:lnTo>
                  <a:lnTo>
                    <a:pt x="633" y="399"/>
                  </a:lnTo>
                  <a:lnTo>
                    <a:pt x="621" y="398"/>
                  </a:lnTo>
                  <a:lnTo>
                    <a:pt x="610" y="396"/>
                  </a:lnTo>
                  <a:lnTo>
                    <a:pt x="600" y="394"/>
                  </a:lnTo>
                  <a:lnTo>
                    <a:pt x="600" y="3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 name="Freeform 131">
              <a:extLst>
                <a:ext uri="{FF2B5EF4-FFF2-40B4-BE49-F238E27FC236}">
                  <a16:creationId xmlns:a16="http://schemas.microsoft.com/office/drawing/2014/main" id="{22EC63F4-B217-444C-A497-ACAF76C9D54B}"/>
                </a:ext>
              </a:extLst>
            </p:cNvPr>
            <p:cNvSpPr>
              <a:spLocks/>
            </p:cNvSpPr>
            <p:nvPr/>
          </p:nvSpPr>
          <p:spPr bwMode="auto">
            <a:xfrm>
              <a:off x="19208751" y="781051"/>
              <a:ext cx="471488" cy="287338"/>
            </a:xfrm>
            <a:custGeom>
              <a:avLst/>
              <a:gdLst>
                <a:gd name="T0" fmla="*/ 437 w 593"/>
                <a:gd name="T1" fmla="*/ 0 h 361"/>
                <a:gd name="T2" fmla="*/ 426 w 593"/>
                <a:gd name="T3" fmla="*/ 2 h 361"/>
                <a:gd name="T4" fmla="*/ 409 w 593"/>
                <a:gd name="T5" fmla="*/ 14 h 361"/>
                <a:gd name="T6" fmla="*/ 389 w 593"/>
                <a:gd name="T7" fmla="*/ 91 h 361"/>
                <a:gd name="T8" fmla="*/ 34 w 593"/>
                <a:gd name="T9" fmla="*/ 91 h 361"/>
                <a:gd name="T10" fmla="*/ 20 w 593"/>
                <a:gd name="T11" fmla="*/ 95 h 361"/>
                <a:gd name="T12" fmla="*/ 11 w 593"/>
                <a:gd name="T13" fmla="*/ 102 h 361"/>
                <a:gd name="T14" fmla="*/ 4 w 593"/>
                <a:gd name="T15" fmla="*/ 111 h 361"/>
                <a:gd name="T16" fmla="*/ 0 w 593"/>
                <a:gd name="T17" fmla="*/ 125 h 361"/>
                <a:gd name="T18" fmla="*/ 2 w 593"/>
                <a:gd name="T19" fmla="*/ 130 h 361"/>
                <a:gd name="T20" fmla="*/ 6 w 593"/>
                <a:gd name="T21" fmla="*/ 142 h 361"/>
                <a:gd name="T22" fmla="*/ 15 w 593"/>
                <a:gd name="T23" fmla="*/ 151 h 361"/>
                <a:gd name="T24" fmla="*/ 27 w 593"/>
                <a:gd name="T25" fmla="*/ 156 h 361"/>
                <a:gd name="T26" fmla="*/ 373 w 593"/>
                <a:gd name="T27" fmla="*/ 156 h 361"/>
                <a:gd name="T28" fmla="*/ 74 w 593"/>
                <a:gd name="T29" fmla="*/ 192 h 361"/>
                <a:gd name="T30" fmla="*/ 67 w 593"/>
                <a:gd name="T31" fmla="*/ 193 h 361"/>
                <a:gd name="T32" fmla="*/ 57 w 593"/>
                <a:gd name="T33" fmla="*/ 197 h 361"/>
                <a:gd name="T34" fmla="*/ 48 w 593"/>
                <a:gd name="T35" fmla="*/ 206 h 361"/>
                <a:gd name="T36" fmla="*/ 43 w 593"/>
                <a:gd name="T37" fmla="*/ 218 h 361"/>
                <a:gd name="T38" fmla="*/ 41 w 593"/>
                <a:gd name="T39" fmla="*/ 225 h 361"/>
                <a:gd name="T40" fmla="*/ 44 w 593"/>
                <a:gd name="T41" fmla="*/ 237 h 361"/>
                <a:gd name="T42" fmla="*/ 51 w 593"/>
                <a:gd name="T43" fmla="*/ 248 h 361"/>
                <a:gd name="T44" fmla="*/ 62 w 593"/>
                <a:gd name="T45" fmla="*/ 255 h 361"/>
                <a:gd name="T46" fmla="*/ 74 w 593"/>
                <a:gd name="T47" fmla="*/ 257 h 361"/>
                <a:gd name="T48" fmla="*/ 340 w 593"/>
                <a:gd name="T49" fmla="*/ 295 h 361"/>
                <a:gd name="T50" fmla="*/ 120 w 593"/>
                <a:gd name="T51" fmla="*/ 295 h 361"/>
                <a:gd name="T52" fmla="*/ 108 w 593"/>
                <a:gd name="T53" fmla="*/ 299 h 361"/>
                <a:gd name="T54" fmla="*/ 97 w 593"/>
                <a:gd name="T55" fmla="*/ 306 h 361"/>
                <a:gd name="T56" fmla="*/ 90 w 593"/>
                <a:gd name="T57" fmla="*/ 317 h 361"/>
                <a:gd name="T58" fmla="*/ 88 w 593"/>
                <a:gd name="T59" fmla="*/ 329 h 361"/>
                <a:gd name="T60" fmla="*/ 88 w 593"/>
                <a:gd name="T61" fmla="*/ 334 h 361"/>
                <a:gd name="T62" fmla="*/ 94 w 593"/>
                <a:gd name="T63" fmla="*/ 346 h 361"/>
                <a:gd name="T64" fmla="*/ 103 w 593"/>
                <a:gd name="T65" fmla="*/ 355 h 361"/>
                <a:gd name="T66" fmla="*/ 115 w 593"/>
                <a:gd name="T67" fmla="*/ 361 h 361"/>
                <a:gd name="T68" fmla="*/ 366 w 593"/>
                <a:gd name="T69" fmla="*/ 361 h 361"/>
                <a:gd name="T70" fmla="*/ 377 w 593"/>
                <a:gd name="T71" fmla="*/ 359 h 361"/>
                <a:gd name="T72" fmla="*/ 393 w 593"/>
                <a:gd name="T73" fmla="*/ 346 h 361"/>
                <a:gd name="T74" fmla="*/ 461 w 593"/>
                <a:gd name="T75" fmla="*/ 63 h 361"/>
                <a:gd name="T76" fmla="*/ 560 w 593"/>
                <a:gd name="T77" fmla="*/ 63 h 361"/>
                <a:gd name="T78" fmla="*/ 572 w 593"/>
                <a:gd name="T79" fmla="*/ 61 h 361"/>
                <a:gd name="T80" fmla="*/ 583 w 593"/>
                <a:gd name="T81" fmla="*/ 54 h 361"/>
                <a:gd name="T82" fmla="*/ 590 w 593"/>
                <a:gd name="T83" fmla="*/ 44 h 361"/>
                <a:gd name="T84" fmla="*/ 593 w 593"/>
                <a:gd name="T85" fmla="*/ 32 h 361"/>
                <a:gd name="T86" fmla="*/ 592 w 593"/>
                <a:gd name="T87" fmla="*/ 25 h 361"/>
                <a:gd name="T88" fmla="*/ 588 w 593"/>
                <a:gd name="T89" fmla="*/ 14 h 361"/>
                <a:gd name="T90" fmla="*/ 579 w 593"/>
                <a:gd name="T91" fmla="*/ 5 h 361"/>
                <a:gd name="T92" fmla="*/ 567 w 593"/>
                <a:gd name="T93" fmla="*/ 0 h 361"/>
                <a:gd name="T94" fmla="*/ 560 w 593"/>
                <a:gd name="T95"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3" h="361">
                  <a:moveTo>
                    <a:pt x="560" y="0"/>
                  </a:moveTo>
                  <a:lnTo>
                    <a:pt x="437" y="0"/>
                  </a:lnTo>
                  <a:lnTo>
                    <a:pt x="437" y="0"/>
                  </a:lnTo>
                  <a:lnTo>
                    <a:pt x="426" y="2"/>
                  </a:lnTo>
                  <a:lnTo>
                    <a:pt x="416" y="7"/>
                  </a:lnTo>
                  <a:lnTo>
                    <a:pt x="409" y="14"/>
                  </a:lnTo>
                  <a:lnTo>
                    <a:pt x="405" y="25"/>
                  </a:lnTo>
                  <a:lnTo>
                    <a:pt x="389" y="91"/>
                  </a:lnTo>
                  <a:lnTo>
                    <a:pt x="34" y="91"/>
                  </a:lnTo>
                  <a:lnTo>
                    <a:pt x="34" y="91"/>
                  </a:lnTo>
                  <a:lnTo>
                    <a:pt x="27" y="93"/>
                  </a:lnTo>
                  <a:lnTo>
                    <a:pt x="20" y="95"/>
                  </a:lnTo>
                  <a:lnTo>
                    <a:pt x="15" y="97"/>
                  </a:lnTo>
                  <a:lnTo>
                    <a:pt x="11" y="102"/>
                  </a:lnTo>
                  <a:lnTo>
                    <a:pt x="6" y="105"/>
                  </a:lnTo>
                  <a:lnTo>
                    <a:pt x="4" y="111"/>
                  </a:lnTo>
                  <a:lnTo>
                    <a:pt x="2" y="118"/>
                  </a:lnTo>
                  <a:lnTo>
                    <a:pt x="0" y="125"/>
                  </a:lnTo>
                  <a:lnTo>
                    <a:pt x="0" y="125"/>
                  </a:lnTo>
                  <a:lnTo>
                    <a:pt x="2" y="130"/>
                  </a:lnTo>
                  <a:lnTo>
                    <a:pt x="4" y="137"/>
                  </a:lnTo>
                  <a:lnTo>
                    <a:pt x="6" y="142"/>
                  </a:lnTo>
                  <a:lnTo>
                    <a:pt x="11" y="148"/>
                  </a:lnTo>
                  <a:lnTo>
                    <a:pt x="15" y="151"/>
                  </a:lnTo>
                  <a:lnTo>
                    <a:pt x="20" y="155"/>
                  </a:lnTo>
                  <a:lnTo>
                    <a:pt x="27" y="156"/>
                  </a:lnTo>
                  <a:lnTo>
                    <a:pt x="34" y="156"/>
                  </a:lnTo>
                  <a:lnTo>
                    <a:pt x="373" y="156"/>
                  </a:lnTo>
                  <a:lnTo>
                    <a:pt x="365" y="192"/>
                  </a:lnTo>
                  <a:lnTo>
                    <a:pt x="74" y="192"/>
                  </a:lnTo>
                  <a:lnTo>
                    <a:pt x="74" y="192"/>
                  </a:lnTo>
                  <a:lnTo>
                    <a:pt x="67" y="193"/>
                  </a:lnTo>
                  <a:lnTo>
                    <a:pt x="62" y="195"/>
                  </a:lnTo>
                  <a:lnTo>
                    <a:pt x="57" y="197"/>
                  </a:lnTo>
                  <a:lnTo>
                    <a:pt x="51" y="202"/>
                  </a:lnTo>
                  <a:lnTo>
                    <a:pt x="48" y="206"/>
                  </a:lnTo>
                  <a:lnTo>
                    <a:pt x="44" y="213"/>
                  </a:lnTo>
                  <a:lnTo>
                    <a:pt x="43" y="218"/>
                  </a:lnTo>
                  <a:lnTo>
                    <a:pt x="41" y="225"/>
                  </a:lnTo>
                  <a:lnTo>
                    <a:pt x="41" y="225"/>
                  </a:lnTo>
                  <a:lnTo>
                    <a:pt x="43" y="230"/>
                  </a:lnTo>
                  <a:lnTo>
                    <a:pt x="44" y="237"/>
                  </a:lnTo>
                  <a:lnTo>
                    <a:pt x="48" y="243"/>
                  </a:lnTo>
                  <a:lnTo>
                    <a:pt x="51" y="248"/>
                  </a:lnTo>
                  <a:lnTo>
                    <a:pt x="57" y="251"/>
                  </a:lnTo>
                  <a:lnTo>
                    <a:pt x="62" y="255"/>
                  </a:lnTo>
                  <a:lnTo>
                    <a:pt x="67" y="257"/>
                  </a:lnTo>
                  <a:lnTo>
                    <a:pt x="74" y="257"/>
                  </a:lnTo>
                  <a:lnTo>
                    <a:pt x="351" y="257"/>
                  </a:lnTo>
                  <a:lnTo>
                    <a:pt x="340" y="295"/>
                  </a:lnTo>
                  <a:lnTo>
                    <a:pt x="120" y="295"/>
                  </a:lnTo>
                  <a:lnTo>
                    <a:pt x="120" y="295"/>
                  </a:lnTo>
                  <a:lnTo>
                    <a:pt x="115" y="297"/>
                  </a:lnTo>
                  <a:lnTo>
                    <a:pt x="108" y="299"/>
                  </a:lnTo>
                  <a:lnTo>
                    <a:pt x="103" y="301"/>
                  </a:lnTo>
                  <a:lnTo>
                    <a:pt x="97" y="306"/>
                  </a:lnTo>
                  <a:lnTo>
                    <a:pt x="94" y="309"/>
                  </a:lnTo>
                  <a:lnTo>
                    <a:pt x="90" y="317"/>
                  </a:lnTo>
                  <a:lnTo>
                    <a:pt x="88" y="322"/>
                  </a:lnTo>
                  <a:lnTo>
                    <a:pt x="88" y="329"/>
                  </a:lnTo>
                  <a:lnTo>
                    <a:pt x="88" y="329"/>
                  </a:lnTo>
                  <a:lnTo>
                    <a:pt x="88" y="334"/>
                  </a:lnTo>
                  <a:lnTo>
                    <a:pt x="90" y="341"/>
                  </a:lnTo>
                  <a:lnTo>
                    <a:pt x="94" y="346"/>
                  </a:lnTo>
                  <a:lnTo>
                    <a:pt x="97" y="352"/>
                  </a:lnTo>
                  <a:lnTo>
                    <a:pt x="103" y="355"/>
                  </a:lnTo>
                  <a:lnTo>
                    <a:pt x="108" y="359"/>
                  </a:lnTo>
                  <a:lnTo>
                    <a:pt x="115" y="361"/>
                  </a:lnTo>
                  <a:lnTo>
                    <a:pt x="120" y="361"/>
                  </a:lnTo>
                  <a:lnTo>
                    <a:pt x="366" y="361"/>
                  </a:lnTo>
                  <a:lnTo>
                    <a:pt x="366" y="361"/>
                  </a:lnTo>
                  <a:lnTo>
                    <a:pt x="377" y="359"/>
                  </a:lnTo>
                  <a:lnTo>
                    <a:pt x="386" y="353"/>
                  </a:lnTo>
                  <a:lnTo>
                    <a:pt x="393" y="346"/>
                  </a:lnTo>
                  <a:lnTo>
                    <a:pt x="398" y="336"/>
                  </a:lnTo>
                  <a:lnTo>
                    <a:pt x="461" y="63"/>
                  </a:lnTo>
                  <a:lnTo>
                    <a:pt x="560" y="63"/>
                  </a:lnTo>
                  <a:lnTo>
                    <a:pt x="560" y="63"/>
                  </a:lnTo>
                  <a:lnTo>
                    <a:pt x="567" y="63"/>
                  </a:lnTo>
                  <a:lnTo>
                    <a:pt x="572" y="61"/>
                  </a:lnTo>
                  <a:lnTo>
                    <a:pt x="579" y="58"/>
                  </a:lnTo>
                  <a:lnTo>
                    <a:pt x="583" y="54"/>
                  </a:lnTo>
                  <a:lnTo>
                    <a:pt x="588" y="49"/>
                  </a:lnTo>
                  <a:lnTo>
                    <a:pt x="590" y="44"/>
                  </a:lnTo>
                  <a:lnTo>
                    <a:pt x="592" y="39"/>
                  </a:lnTo>
                  <a:lnTo>
                    <a:pt x="593" y="32"/>
                  </a:lnTo>
                  <a:lnTo>
                    <a:pt x="593" y="32"/>
                  </a:lnTo>
                  <a:lnTo>
                    <a:pt x="592" y="25"/>
                  </a:lnTo>
                  <a:lnTo>
                    <a:pt x="590" y="19"/>
                  </a:lnTo>
                  <a:lnTo>
                    <a:pt x="588" y="14"/>
                  </a:lnTo>
                  <a:lnTo>
                    <a:pt x="583" y="9"/>
                  </a:lnTo>
                  <a:lnTo>
                    <a:pt x="579" y="5"/>
                  </a:lnTo>
                  <a:lnTo>
                    <a:pt x="572" y="2"/>
                  </a:lnTo>
                  <a:lnTo>
                    <a:pt x="567" y="0"/>
                  </a:lnTo>
                  <a:lnTo>
                    <a:pt x="560" y="0"/>
                  </a:lnTo>
                  <a:lnTo>
                    <a:pt x="560" y="0"/>
                  </a:lnTo>
                  <a:close/>
                </a:path>
              </a:pathLst>
            </a:custGeom>
            <a:solidFill>
              <a:srgbClr val="0054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 name="Freeform 132">
              <a:extLst>
                <a:ext uri="{FF2B5EF4-FFF2-40B4-BE49-F238E27FC236}">
                  <a16:creationId xmlns:a16="http://schemas.microsoft.com/office/drawing/2014/main" id="{4E39E72F-A507-40BC-AF4B-8D2393F12D6A}"/>
                </a:ext>
              </a:extLst>
            </p:cNvPr>
            <p:cNvSpPr>
              <a:spLocks noEditPoints="1"/>
            </p:cNvSpPr>
            <p:nvPr/>
          </p:nvSpPr>
          <p:spPr bwMode="auto">
            <a:xfrm>
              <a:off x="19299238" y="1082676"/>
              <a:ext cx="92075" cy="92075"/>
            </a:xfrm>
            <a:custGeom>
              <a:avLst/>
              <a:gdLst>
                <a:gd name="T0" fmla="*/ 56 w 114"/>
                <a:gd name="T1" fmla="*/ 0 h 114"/>
                <a:gd name="T2" fmla="*/ 56 w 114"/>
                <a:gd name="T3" fmla="*/ 0 h 114"/>
                <a:gd name="T4" fmla="*/ 46 w 114"/>
                <a:gd name="T5" fmla="*/ 2 h 114"/>
                <a:gd name="T6" fmla="*/ 35 w 114"/>
                <a:gd name="T7" fmla="*/ 3 h 114"/>
                <a:gd name="T8" fmla="*/ 24 w 114"/>
                <a:gd name="T9" fmla="*/ 9 h 114"/>
                <a:gd name="T10" fmla="*/ 17 w 114"/>
                <a:gd name="T11" fmla="*/ 16 h 114"/>
                <a:gd name="T12" fmla="*/ 10 w 114"/>
                <a:gd name="T13" fmla="*/ 24 h 114"/>
                <a:gd name="T14" fmla="*/ 5 w 114"/>
                <a:gd name="T15" fmla="*/ 35 h 114"/>
                <a:gd name="T16" fmla="*/ 2 w 114"/>
                <a:gd name="T17" fmla="*/ 46 h 114"/>
                <a:gd name="T18" fmla="*/ 0 w 114"/>
                <a:gd name="T19" fmla="*/ 56 h 114"/>
                <a:gd name="T20" fmla="*/ 0 w 114"/>
                <a:gd name="T21" fmla="*/ 56 h 114"/>
                <a:gd name="T22" fmla="*/ 2 w 114"/>
                <a:gd name="T23" fmla="*/ 68 h 114"/>
                <a:gd name="T24" fmla="*/ 5 w 114"/>
                <a:gd name="T25" fmla="*/ 79 h 114"/>
                <a:gd name="T26" fmla="*/ 10 w 114"/>
                <a:gd name="T27" fmla="*/ 88 h 114"/>
                <a:gd name="T28" fmla="*/ 17 w 114"/>
                <a:gd name="T29" fmla="*/ 97 h 114"/>
                <a:gd name="T30" fmla="*/ 24 w 114"/>
                <a:gd name="T31" fmla="*/ 104 h 114"/>
                <a:gd name="T32" fmla="*/ 35 w 114"/>
                <a:gd name="T33" fmla="*/ 109 h 114"/>
                <a:gd name="T34" fmla="*/ 46 w 114"/>
                <a:gd name="T35" fmla="*/ 112 h 114"/>
                <a:gd name="T36" fmla="*/ 56 w 114"/>
                <a:gd name="T37" fmla="*/ 114 h 114"/>
                <a:gd name="T38" fmla="*/ 56 w 114"/>
                <a:gd name="T39" fmla="*/ 114 h 114"/>
                <a:gd name="T40" fmla="*/ 68 w 114"/>
                <a:gd name="T41" fmla="*/ 112 h 114"/>
                <a:gd name="T42" fmla="*/ 79 w 114"/>
                <a:gd name="T43" fmla="*/ 109 h 114"/>
                <a:gd name="T44" fmla="*/ 90 w 114"/>
                <a:gd name="T45" fmla="*/ 104 h 114"/>
                <a:gd name="T46" fmla="*/ 97 w 114"/>
                <a:gd name="T47" fmla="*/ 97 h 114"/>
                <a:gd name="T48" fmla="*/ 104 w 114"/>
                <a:gd name="T49" fmla="*/ 88 h 114"/>
                <a:gd name="T50" fmla="*/ 109 w 114"/>
                <a:gd name="T51" fmla="*/ 79 h 114"/>
                <a:gd name="T52" fmla="*/ 112 w 114"/>
                <a:gd name="T53" fmla="*/ 68 h 114"/>
                <a:gd name="T54" fmla="*/ 114 w 114"/>
                <a:gd name="T55" fmla="*/ 56 h 114"/>
                <a:gd name="T56" fmla="*/ 114 w 114"/>
                <a:gd name="T57" fmla="*/ 56 h 114"/>
                <a:gd name="T58" fmla="*/ 112 w 114"/>
                <a:gd name="T59" fmla="*/ 46 h 114"/>
                <a:gd name="T60" fmla="*/ 109 w 114"/>
                <a:gd name="T61" fmla="*/ 35 h 114"/>
                <a:gd name="T62" fmla="*/ 104 w 114"/>
                <a:gd name="T63" fmla="*/ 24 h 114"/>
                <a:gd name="T64" fmla="*/ 97 w 114"/>
                <a:gd name="T65" fmla="*/ 16 h 114"/>
                <a:gd name="T66" fmla="*/ 90 w 114"/>
                <a:gd name="T67" fmla="*/ 9 h 114"/>
                <a:gd name="T68" fmla="*/ 79 w 114"/>
                <a:gd name="T69" fmla="*/ 3 h 114"/>
                <a:gd name="T70" fmla="*/ 68 w 114"/>
                <a:gd name="T71" fmla="*/ 2 h 114"/>
                <a:gd name="T72" fmla="*/ 56 w 114"/>
                <a:gd name="T73" fmla="*/ 0 h 114"/>
                <a:gd name="T74" fmla="*/ 56 w 114"/>
                <a:gd name="T75" fmla="*/ 0 h 114"/>
                <a:gd name="T76" fmla="*/ 56 w 114"/>
                <a:gd name="T77" fmla="*/ 74 h 114"/>
                <a:gd name="T78" fmla="*/ 56 w 114"/>
                <a:gd name="T79" fmla="*/ 74 h 114"/>
                <a:gd name="T80" fmla="*/ 51 w 114"/>
                <a:gd name="T81" fmla="*/ 72 h 114"/>
                <a:gd name="T82" fmla="*/ 46 w 114"/>
                <a:gd name="T83" fmla="*/ 68 h 114"/>
                <a:gd name="T84" fmla="*/ 42 w 114"/>
                <a:gd name="T85" fmla="*/ 63 h 114"/>
                <a:gd name="T86" fmla="*/ 40 w 114"/>
                <a:gd name="T87" fmla="*/ 56 h 114"/>
                <a:gd name="T88" fmla="*/ 40 w 114"/>
                <a:gd name="T89" fmla="*/ 56 h 114"/>
                <a:gd name="T90" fmla="*/ 42 w 114"/>
                <a:gd name="T91" fmla="*/ 51 h 114"/>
                <a:gd name="T92" fmla="*/ 46 w 114"/>
                <a:gd name="T93" fmla="*/ 46 h 114"/>
                <a:gd name="T94" fmla="*/ 51 w 114"/>
                <a:gd name="T95" fmla="*/ 42 h 114"/>
                <a:gd name="T96" fmla="*/ 56 w 114"/>
                <a:gd name="T97" fmla="*/ 40 h 114"/>
                <a:gd name="T98" fmla="*/ 56 w 114"/>
                <a:gd name="T99" fmla="*/ 40 h 114"/>
                <a:gd name="T100" fmla="*/ 63 w 114"/>
                <a:gd name="T101" fmla="*/ 42 h 114"/>
                <a:gd name="T102" fmla="*/ 68 w 114"/>
                <a:gd name="T103" fmla="*/ 46 h 114"/>
                <a:gd name="T104" fmla="*/ 72 w 114"/>
                <a:gd name="T105" fmla="*/ 51 h 114"/>
                <a:gd name="T106" fmla="*/ 74 w 114"/>
                <a:gd name="T107" fmla="*/ 56 h 114"/>
                <a:gd name="T108" fmla="*/ 74 w 114"/>
                <a:gd name="T109" fmla="*/ 56 h 114"/>
                <a:gd name="T110" fmla="*/ 72 w 114"/>
                <a:gd name="T111" fmla="*/ 63 h 114"/>
                <a:gd name="T112" fmla="*/ 68 w 114"/>
                <a:gd name="T113" fmla="*/ 68 h 114"/>
                <a:gd name="T114" fmla="*/ 63 w 114"/>
                <a:gd name="T115" fmla="*/ 72 h 114"/>
                <a:gd name="T116" fmla="*/ 56 w 114"/>
                <a:gd name="T117" fmla="*/ 74 h 114"/>
                <a:gd name="T118" fmla="*/ 56 w 114"/>
                <a:gd name="T119" fmla="*/ 7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4" h="114">
                  <a:moveTo>
                    <a:pt x="56" y="0"/>
                  </a:moveTo>
                  <a:lnTo>
                    <a:pt x="56" y="0"/>
                  </a:lnTo>
                  <a:lnTo>
                    <a:pt x="46" y="2"/>
                  </a:lnTo>
                  <a:lnTo>
                    <a:pt x="35" y="3"/>
                  </a:lnTo>
                  <a:lnTo>
                    <a:pt x="24" y="9"/>
                  </a:lnTo>
                  <a:lnTo>
                    <a:pt x="17" y="16"/>
                  </a:lnTo>
                  <a:lnTo>
                    <a:pt x="10" y="24"/>
                  </a:lnTo>
                  <a:lnTo>
                    <a:pt x="5" y="35"/>
                  </a:lnTo>
                  <a:lnTo>
                    <a:pt x="2" y="46"/>
                  </a:lnTo>
                  <a:lnTo>
                    <a:pt x="0" y="56"/>
                  </a:lnTo>
                  <a:lnTo>
                    <a:pt x="0" y="56"/>
                  </a:lnTo>
                  <a:lnTo>
                    <a:pt x="2" y="68"/>
                  </a:lnTo>
                  <a:lnTo>
                    <a:pt x="5" y="79"/>
                  </a:lnTo>
                  <a:lnTo>
                    <a:pt x="10" y="88"/>
                  </a:lnTo>
                  <a:lnTo>
                    <a:pt x="17" y="97"/>
                  </a:lnTo>
                  <a:lnTo>
                    <a:pt x="24" y="104"/>
                  </a:lnTo>
                  <a:lnTo>
                    <a:pt x="35" y="109"/>
                  </a:lnTo>
                  <a:lnTo>
                    <a:pt x="46" y="112"/>
                  </a:lnTo>
                  <a:lnTo>
                    <a:pt x="56" y="114"/>
                  </a:lnTo>
                  <a:lnTo>
                    <a:pt x="56" y="114"/>
                  </a:lnTo>
                  <a:lnTo>
                    <a:pt x="68" y="112"/>
                  </a:lnTo>
                  <a:lnTo>
                    <a:pt x="79" y="109"/>
                  </a:lnTo>
                  <a:lnTo>
                    <a:pt x="90" y="104"/>
                  </a:lnTo>
                  <a:lnTo>
                    <a:pt x="97" y="97"/>
                  </a:lnTo>
                  <a:lnTo>
                    <a:pt x="104" y="88"/>
                  </a:lnTo>
                  <a:lnTo>
                    <a:pt x="109" y="79"/>
                  </a:lnTo>
                  <a:lnTo>
                    <a:pt x="112" y="68"/>
                  </a:lnTo>
                  <a:lnTo>
                    <a:pt x="114" y="56"/>
                  </a:lnTo>
                  <a:lnTo>
                    <a:pt x="114" y="56"/>
                  </a:lnTo>
                  <a:lnTo>
                    <a:pt x="112" y="46"/>
                  </a:lnTo>
                  <a:lnTo>
                    <a:pt x="109" y="35"/>
                  </a:lnTo>
                  <a:lnTo>
                    <a:pt x="104" y="24"/>
                  </a:lnTo>
                  <a:lnTo>
                    <a:pt x="97" y="16"/>
                  </a:lnTo>
                  <a:lnTo>
                    <a:pt x="90" y="9"/>
                  </a:lnTo>
                  <a:lnTo>
                    <a:pt x="79" y="3"/>
                  </a:lnTo>
                  <a:lnTo>
                    <a:pt x="68" y="2"/>
                  </a:lnTo>
                  <a:lnTo>
                    <a:pt x="56" y="0"/>
                  </a:lnTo>
                  <a:lnTo>
                    <a:pt x="56" y="0"/>
                  </a:lnTo>
                  <a:close/>
                  <a:moveTo>
                    <a:pt x="56" y="74"/>
                  </a:moveTo>
                  <a:lnTo>
                    <a:pt x="56" y="74"/>
                  </a:lnTo>
                  <a:lnTo>
                    <a:pt x="51" y="72"/>
                  </a:lnTo>
                  <a:lnTo>
                    <a:pt x="46" y="68"/>
                  </a:lnTo>
                  <a:lnTo>
                    <a:pt x="42" y="63"/>
                  </a:lnTo>
                  <a:lnTo>
                    <a:pt x="40" y="56"/>
                  </a:lnTo>
                  <a:lnTo>
                    <a:pt x="40" y="56"/>
                  </a:lnTo>
                  <a:lnTo>
                    <a:pt x="42" y="51"/>
                  </a:lnTo>
                  <a:lnTo>
                    <a:pt x="46" y="46"/>
                  </a:lnTo>
                  <a:lnTo>
                    <a:pt x="51" y="42"/>
                  </a:lnTo>
                  <a:lnTo>
                    <a:pt x="56" y="40"/>
                  </a:lnTo>
                  <a:lnTo>
                    <a:pt x="56" y="40"/>
                  </a:lnTo>
                  <a:lnTo>
                    <a:pt x="63" y="42"/>
                  </a:lnTo>
                  <a:lnTo>
                    <a:pt x="68" y="46"/>
                  </a:lnTo>
                  <a:lnTo>
                    <a:pt x="72" y="51"/>
                  </a:lnTo>
                  <a:lnTo>
                    <a:pt x="74" y="56"/>
                  </a:lnTo>
                  <a:lnTo>
                    <a:pt x="74" y="56"/>
                  </a:lnTo>
                  <a:lnTo>
                    <a:pt x="72" y="63"/>
                  </a:lnTo>
                  <a:lnTo>
                    <a:pt x="68" y="68"/>
                  </a:lnTo>
                  <a:lnTo>
                    <a:pt x="63" y="72"/>
                  </a:lnTo>
                  <a:lnTo>
                    <a:pt x="56" y="74"/>
                  </a:lnTo>
                  <a:lnTo>
                    <a:pt x="56" y="74"/>
                  </a:lnTo>
                  <a:close/>
                </a:path>
              </a:pathLst>
            </a:custGeom>
            <a:solidFill>
              <a:srgbClr val="0054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 name="Freeform 133">
              <a:extLst>
                <a:ext uri="{FF2B5EF4-FFF2-40B4-BE49-F238E27FC236}">
                  <a16:creationId xmlns:a16="http://schemas.microsoft.com/office/drawing/2014/main" id="{89C99A5B-D106-439B-9450-A67C55A33651}"/>
                </a:ext>
              </a:extLst>
            </p:cNvPr>
            <p:cNvSpPr>
              <a:spLocks noEditPoints="1"/>
            </p:cNvSpPr>
            <p:nvPr/>
          </p:nvSpPr>
          <p:spPr bwMode="auto">
            <a:xfrm>
              <a:off x="19415126" y="1082676"/>
              <a:ext cx="92075" cy="92075"/>
            </a:xfrm>
            <a:custGeom>
              <a:avLst/>
              <a:gdLst>
                <a:gd name="T0" fmla="*/ 58 w 114"/>
                <a:gd name="T1" fmla="*/ 0 h 114"/>
                <a:gd name="T2" fmla="*/ 58 w 114"/>
                <a:gd name="T3" fmla="*/ 0 h 114"/>
                <a:gd name="T4" fmla="*/ 46 w 114"/>
                <a:gd name="T5" fmla="*/ 2 h 114"/>
                <a:gd name="T6" fmla="*/ 35 w 114"/>
                <a:gd name="T7" fmla="*/ 3 h 114"/>
                <a:gd name="T8" fmla="*/ 24 w 114"/>
                <a:gd name="T9" fmla="*/ 9 h 114"/>
                <a:gd name="T10" fmla="*/ 17 w 114"/>
                <a:gd name="T11" fmla="*/ 16 h 114"/>
                <a:gd name="T12" fmla="*/ 10 w 114"/>
                <a:gd name="T13" fmla="*/ 24 h 114"/>
                <a:gd name="T14" fmla="*/ 5 w 114"/>
                <a:gd name="T15" fmla="*/ 35 h 114"/>
                <a:gd name="T16" fmla="*/ 2 w 114"/>
                <a:gd name="T17" fmla="*/ 46 h 114"/>
                <a:gd name="T18" fmla="*/ 0 w 114"/>
                <a:gd name="T19" fmla="*/ 56 h 114"/>
                <a:gd name="T20" fmla="*/ 0 w 114"/>
                <a:gd name="T21" fmla="*/ 56 h 114"/>
                <a:gd name="T22" fmla="*/ 2 w 114"/>
                <a:gd name="T23" fmla="*/ 68 h 114"/>
                <a:gd name="T24" fmla="*/ 5 w 114"/>
                <a:gd name="T25" fmla="*/ 79 h 114"/>
                <a:gd name="T26" fmla="*/ 10 w 114"/>
                <a:gd name="T27" fmla="*/ 88 h 114"/>
                <a:gd name="T28" fmla="*/ 17 w 114"/>
                <a:gd name="T29" fmla="*/ 97 h 114"/>
                <a:gd name="T30" fmla="*/ 24 w 114"/>
                <a:gd name="T31" fmla="*/ 104 h 114"/>
                <a:gd name="T32" fmla="*/ 35 w 114"/>
                <a:gd name="T33" fmla="*/ 109 h 114"/>
                <a:gd name="T34" fmla="*/ 46 w 114"/>
                <a:gd name="T35" fmla="*/ 112 h 114"/>
                <a:gd name="T36" fmla="*/ 58 w 114"/>
                <a:gd name="T37" fmla="*/ 114 h 114"/>
                <a:gd name="T38" fmla="*/ 58 w 114"/>
                <a:gd name="T39" fmla="*/ 114 h 114"/>
                <a:gd name="T40" fmla="*/ 68 w 114"/>
                <a:gd name="T41" fmla="*/ 112 h 114"/>
                <a:gd name="T42" fmla="*/ 79 w 114"/>
                <a:gd name="T43" fmla="*/ 109 h 114"/>
                <a:gd name="T44" fmla="*/ 90 w 114"/>
                <a:gd name="T45" fmla="*/ 104 h 114"/>
                <a:gd name="T46" fmla="*/ 97 w 114"/>
                <a:gd name="T47" fmla="*/ 97 h 114"/>
                <a:gd name="T48" fmla="*/ 104 w 114"/>
                <a:gd name="T49" fmla="*/ 88 h 114"/>
                <a:gd name="T50" fmla="*/ 109 w 114"/>
                <a:gd name="T51" fmla="*/ 79 h 114"/>
                <a:gd name="T52" fmla="*/ 112 w 114"/>
                <a:gd name="T53" fmla="*/ 68 h 114"/>
                <a:gd name="T54" fmla="*/ 114 w 114"/>
                <a:gd name="T55" fmla="*/ 56 h 114"/>
                <a:gd name="T56" fmla="*/ 114 w 114"/>
                <a:gd name="T57" fmla="*/ 56 h 114"/>
                <a:gd name="T58" fmla="*/ 112 w 114"/>
                <a:gd name="T59" fmla="*/ 46 h 114"/>
                <a:gd name="T60" fmla="*/ 109 w 114"/>
                <a:gd name="T61" fmla="*/ 35 h 114"/>
                <a:gd name="T62" fmla="*/ 104 w 114"/>
                <a:gd name="T63" fmla="*/ 24 h 114"/>
                <a:gd name="T64" fmla="*/ 97 w 114"/>
                <a:gd name="T65" fmla="*/ 16 h 114"/>
                <a:gd name="T66" fmla="*/ 90 w 114"/>
                <a:gd name="T67" fmla="*/ 9 h 114"/>
                <a:gd name="T68" fmla="*/ 79 w 114"/>
                <a:gd name="T69" fmla="*/ 3 h 114"/>
                <a:gd name="T70" fmla="*/ 68 w 114"/>
                <a:gd name="T71" fmla="*/ 2 h 114"/>
                <a:gd name="T72" fmla="*/ 58 w 114"/>
                <a:gd name="T73" fmla="*/ 0 h 114"/>
                <a:gd name="T74" fmla="*/ 58 w 114"/>
                <a:gd name="T75" fmla="*/ 0 h 114"/>
                <a:gd name="T76" fmla="*/ 58 w 114"/>
                <a:gd name="T77" fmla="*/ 74 h 114"/>
                <a:gd name="T78" fmla="*/ 58 w 114"/>
                <a:gd name="T79" fmla="*/ 74 h 114"/>
                <a:gd name="T80" fmla="*/ 51 w 114"/>
                <a:gd name="T81" fmla="*/ 72 h 114"/>
                <a:gd name="T82" fmla="*/ 46 w 114"/>
                <a:gd name="T83" fmla="*/ 68 h 114"/>
                <a:gd name="T84" fmla="*/ 42 w 114"/>
                <a:gd name="T85" fmla="*/ 63 h 114"/>
                <a:gd name="T86" fmla="*/ 40 w 114"/>
                <a:gd name="T87" fmla="*/ 56 h 114"/>
                <a:gd name="T88" fmla="*/ 40 w 114"/>
                <a:gd name="T89" fmla="*/ 56 h 114"/>
                <a:gd name="T90" fmla="*/ 42 w 114"/>
                <a:gd name="T91" fmla="*/ 51 h 114"/>
                <a:gd name="T92" fmla="*/ 46 w 114"/>
                <a:gd name="T93" fmla="*/ 46 h 114"/>
                <a:gd name="T94" fmla="*/ 51 w 114"/>
                <a:gd name="T95" fmla="*/ 42 h 114"/>
                <a:gd name="T96" fmla="*/ 58 w 114"/>
                <a:gd name="T97" fmla="*/ 40 h 114"/>
                <a:gd name="T98" fmla="*/ 58 w 114"/>
                <a:gd name="T99" fmla="*/ 40 h 114"/>
                <a:gd name="T100" fmla="*/ 63 w 114"/>
                <a:gd name="T101" fmla="*/ 42 h 114"/>
                <a:gd name="T102" fmla="*/ 68 w 114"/>
                <a:gd name="T103" fmla="*/ 46 h 114"/>
                <a:gd name="T104" fmla="*/ 72 w 114"/>
                <a:gd name="T105" fmla="*/ 51 h 114"/>
                <a:gd name="T106" fmla="*/ 74 w 114"/>
                <a:gd name="T107" fmla="*/ 56 h 114"/>
                <a:gd name="T108" fmla="*/ 74 w 114"/>
                <a:gd name="T109" fmla="*/ 56 h 114"/>
                <a:gd name="T110" fmla="*/ 72 w 114"/>
                <a:gd name="T111" fmla="*/ 63 h 114"/>
                <a:gd name="T112" fmla="*/ 68 w 114"/>
                <a:gd name="T113" fmla="*/ 68 h 114"/>
                <a:gd name="T114" fmla="*/ 63 w 114"/>
                <a:gd name="T115" fmla="*/ 72 h 114"/>
                <a:gd name="T116" fmla="*/ 58 w 114"/>
                <a:gd name="T117" fmla="*/ 74 h 114"/>
                <a:gd name="T118" fmla="*/ 58 w 114"/>
                <a:gd name="T119" fmla="*/ 7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4" h="114">
                  <a:moveTo>
                    <a:pt x="58" y="0"/>
                  </a:moveTo>
                  <a:lnTo>
                    <a:pt x="58" y="0"/>
                  </a:lnTo>
                  <a:lnTo>
                    <a:pt x="46" y="2"/>
                  </a:lnTo>
                  <a:lnTo>
                    <a:pt x="35" y="3"/>
                  </a:lnTo>
                  <a:lnTo>
                    <a:pt x="24" y="9"/>
                  </a:lnTo>
                  <a:lnTo>
                    <a:pt x="17" y="16"/>
                  </a:lnTo>
                  <a:lnTo>
                    <a:pt x="10" y="24"/>
                  </a:lnTo>
                  <a:lnTo>
                    <a:pt x="5" y="35"/>
                  </a:lnTo>
                  <a:lnTo>
                    <a:pt x="2" y="46"/>
                  </a:lnTo>
                  <a:lnTo>
                    <a:pt x="0" y="56"/>
                  </a:lnTo>
                  <a:lnTo>
                    <a:pt x="0" y="56"/>
                  </a:lnTo>
                  <a:lnTo>
                    <a:pt x="2" y="68"/>
                  </a:lnTo>
                  <a:lnTo>
                    <a:pt x="5" y="79"/>
                  </a:lnTo>
                  <a:lnTo>
                    <a:pt x="10" y="88"/>
                  </a:lnTo>
                  <a:lnTo>
                    <a:pt x="17" y="97"/>
                  </a:lnTo>
                  <a:lnTo>
                    <a:pt x="24" y="104"/>
                  </a:lnTo>
                  <a:lnTo>
                    <a:pt x="35" y="109"/>
                  </a:lnTo>
                  <a:lnTo>
                    <a:pt x="46" y="112"/>
                  </a:lnTo>
                  <a:lnTo>
                    <a:pt x="58" y="114"/>
                  </a:lnTo>
                  <a:lnTo>
                    <a:pt x="58" y="114"/>
                  </a:lnTo>
                  <a:lnTo>
                    <a:pt x="68" y="112"/>
                  </a:lnTo>
                  <a:lnTo>
                    <a:pt x="79" y="109"/>
                  </a:lnTo>
                  <a:lnTo>
                    <a:pt x="90" y="104"/>
                  </a:lnTo>
                  <a:lnTo>
                    <a:pt x="97" y="97"/>
                  </a:lnTo>
                  <a:lnTo>
                    <a:pt x="104" y="88"/>
                  </a:lnTo>
                  <a:lnTo>
                    <a:pt x="109" y="79"/>
                  </a:lnTo>
                  <a:lnTo>
                    <a:pt x="112" y="68"/>
                  </a:lnTo>
                  <a:lnTo>
                    <a:pt x="114" y="56"/>
                  </a:lnTo>
                  <a:lnTo>
                    <a:pt x="114" y="56"/>
                  </a:lnTo>
                  <a:lnTo>
                    <a:pt x="112" y="46"/>
                  </a:lnTo>
                  <a:lnTo>
                    <a:pt x="109" y="35"/>
                  </a:lnTo>
                  <a:lnTo>
                    <a:pt x="104" y="24"/>
                  </a:lnTo>
                  <a:lnTo>
                    <a:pt x="97" y="16"/>
                  </a:lnTo>
                  <a:lnTo>
                    <a:pt x="90" y="9"/>
                  </a:lnTo>
                  <a:lnTo>
                    <a:pt x="79" y="3"/>
                  </a:lnTo>
                  <a:lnTo>
                    <a:pt x="68" y="2"/>
                  </a:lnTo>
                  <a:lnTo>
                    <a:pt x="58" y="0"/>
                  </a:lnTo>
                  <a:lnTo>
                    <a:pt x="58" y="0"/>
                  </a:lnTo>
                  <a:close/>
                  <a:moveTo>
                    <a:pt x="58" y="74"/>
                  </a:moveTo>
                  <a:lnTo>
                    <a:pt x="58" y="74"/>
                  </a:lnTo>
                  <a:lnTo>
                    <a:pt x="51" y="72"/>
                  </a:lnTo>
                  <a:lnTo>
                    <a:pt x="46" y="68"/>
                  </a:lnTo>
                  <a:lnTo>
                    <a:pt x="42" y="63"/>
                  </a:lnTo>
                  <a:lnTo>
                    <a:pt x="40" y="56"/>
                  </a:lnTo>
                  <a:lnTo>
                    <a:pt x="40" y="56"/>
                  </a:lnTo>
                  <a:lnTo>
                    <a:pt x="42" y="51"/>
                  </a:lnTo>
                  <a:lnTo>
                    <a:pt x="46" y="46"/>
                  </a:lnTo>
                  <a:lnTo>
                    <a:pt x="51" y="42"/>
                  </a:lnTo>
                  <a:lnTo>
                    <a:pt x="58" y="40"/>
                  </a:lnTo>
                  <a:lnTo>
                    <a:pt x="58" y="40"/>
                  </a:lnTo>
                  <a:lnTo>
                    <a:pt x="63" y="42"/>
                  </a:lnTo>
                  <a:lnTo>
                    <a:pt x="68" y="46"/>
                  </a:lnTo>
                  <a:lnTo>
                    <a:pt x="72" y="51"/>
                  </a:lnTo>
                  <a:lnTo>
                    <a:pt x="74" y="56"/>
                  </a:lnTo>
                  <a:lnTo>
                    <a:pt x="74" y="56"/>
                  </a:lnTo>
                  <a:lnTo>
                    <a:pt x="72" y="63"/>
                  </a:lnTo>
                  <a:lnTo>
                    <a:pt x="68" y="68"/>
                  </a:lnTo>
                  <a:lnTo>
                    <a:pt x="63" y="72"/>
                  </a:lnTo>
                  <a:lnTo>
                    <a:pt x="58" y="74"/>
                  </a:lnTo>
                  <a:lnTo>
                    <a:pt x="58" y="7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8" name="Group 247">
            <a:extLst>
              <a:ext uri="{FF2B5EF4-FFF2-40B4-BE49-F238E27FC236}">
                <a16:creationId xmlns:a16="http://schemas.microsoft.com/office/drawing/2014/main" id="{74D4456A-E3F3-45DB-8781-F1C91FA63011}"/>
              </a:ext>
            </a:extLst>
          </p:cNvPr>
          <p:cNvGrpSpPr/>
          <p:nvPr/>
        </p:nvGrpSpPr>
        <p:grpSpPr>
          <a:xfrm>
            <a:off x="3568701" y="2379063"/>
            <a:ext cx="419093" cy="435147"/>
            <a:chOff x="-5051425" y="1952625"/>
            <a:chExt cx="4724400" cy="4905375"/>
          </a:xfrm>
        </p:grpSpPr>
        <p:sp>
          <p:nvSpPr>
            <p:cNvPr id="249" name="Freeform 56">
              <a:extLst>
                <a:ext uri="{FF2B5EF4-FFF2-40B4-BE49-F238E27FC236}">
                  <a16:creationId xmlns:a16="http://schemas.microsoft.com/office/drawing/2014/main" id="{9B9B1DD3-D98A-4DE2-8A86-2A1583BEDB4E}"/>
                </a:ext>
              </a:extLst>
            </p:cNvPr>
            <p:cNvSpPr>
              <a:spLocks noEditPoints="1"/>
            </p:cNvSpPr>
            <p:nvPr/>
          </p:nvSpPr>
          <p:spPr bwMode="auto">
            <a:xfrm>
              <a:off x="-2994025" y="4213225"/>
              <a:ext cx="631825" cy="1797050"/>
            </a:xfrm>
            <a:custGeom>
              <a:avLst/>
              <a:gdLst>
                <a:gd name="T0" fmla="*/ 308 w 398"/>
                <a:gd name="T1" fmla="*/ 1132 h 1132"/>
                <a:gd name="T2" fmla="*/ 308 w 398"/>
                <a:gd name="T3" fmla="*/ 1132 h 1132"/>
                <a:gd name="T4" fmla="*/ 294 w 398"/>
                <a:gd name="T5" fmla="*/ 1132 h 1132"/>
                <a:gd name="T6" fmla="*/ 280 w 398"/>
                <a:gd name="T7" fmla="*/ 1128 h 1132"/>
                <a:gd name="T8" fmla="*/ 266 w 398"/>
                <a:gd name="T9" fmla="*/ 1122 h 1132"/>
                <a:gd name="T10" fmla="*/ 254 w 398"/>
                <a:gd name="T11" fmla="*/ 1114 h 1132"/>
                <a:gd name="T12" fmla="*/ 242 w 398"/>
                <a:gd name="T13" fmla="*/ 1104 h 1132"/>
                <a:gd name="T14" fmla="*/ 234 w 398"/>
                <a:gd name="T15" fmla="*/ 1092 h 1132"/>
                <a:gd name="T16" fmla="*/ 226 w 398"/>
                <a:gd name="T17" fmla="*/ 1078 h 1132"/>
                <a:gd name="T18" fmla="*/ 222 w 398"/>
                <a:gd name="T19" fmla="*/ 1064 h 1132"/>
                <a:gd name="T20" fmla="*/ 2 w 398"/>
                <a:gd name="T21" fmla="*/ 110 h 1132"/>
                <a:gd name="T22" fmla="*/ 2 w 398"/>
                <a:gd name="T23" fmla="*/ 110 h 1132"/>
                <a:gd name="T24" fmla="*/ 0 w 398"/>
                <a:gd name="T25" fmla="*/ 92 h 1132"/>
                <a:gd name="T26" fmla="*/ 0 w 398"/>
                <a:gd name="T27" fmla="*/ 74 h 1132"/>
                <a:gd name="T28" fmla="*/ 6 w 398"/>
                <a:gd name="T29" fmla="*/ 58 h 1132"/>
                <a:gd name="T30" fmla="*/ 12 w 398"/>
                <a:gd name="T31" fmla="*/ 42 h 1132"/>
                <a:gd name="T32" fmla="*/ 24 w 398"/>
                <a:gd name="T33" fmla="*/ 28 h 1132"/>
                <a:gd name="T34" fmla="*/ 36 w 398"/>
                <a:gd name="T35" fmla="*/ 18 h 1132"/>
                <a:gd name="T36" fmla="*/ 52 w 398"/>
                <a:gd name="T37" fmla="*/ 8 h 1132"/>
                <a:gd name="T38" fmla="*/ 68 w 398"/>
                <a:gd name="T39" fmla="*/ 2 h 1132"/>
                <a:gd name="T40" fmla="*/ 68 w 398"/>
                <a:gd name="T41" fmla="*/ 2 h 1132"/>
                <a:gd name="T42" fmla="*/ 86 w 398"/>
                <a:gd name="T43" fmla="*/ 0 h 1132"/>
                <a:gd name="T44" fmla="*/ 104 w 398"/>
                <a:gd name="T45" fmla="*/ 2 h 1132"/>
                <a:gd name="T46" fmla="*/ 120 w 398"/>
                <a:gd name="T47" fmla="*/ 6 h 1132"/>
                <a:gd name="T48" fmla="*/ 136 w 398"/>
                <a:gd name="T49" fmla="*/ 14 h 1132"/>
                <a:gd name="T50" fmla="*/ 150 w 398"/>
                <a:gd name="T51" fmla="*/ 24 h 1132"/>
                <a:gd name="T52" fmla="*/ 162 w 398"/>
                <a:gd name="T53" fmla="*/ 38 h 1132"/>
                <a:gd name="T54" fmla="*/ 170 w 398"/>
                <a:gd name="T55" fmla="*/ 52 h 1132"/>
                <a:gd name="T56" fmla="*/ 176 w 398"/>
                <a:gd name="T57" fmla="*/ 70 h 1132"/>
                <a:gd name="T58" fmla="*/ 396 w 398"/>
                <a:gd name="T59" fmla="*/ 1024 h 1132"/>
                <a:gd name="T60" fmla="*/ 396 w 398"/>
                <a:gd name="T61" fmla="*/ 1024 h 1132"/>
                <a:gd name="T62" fmla="*/ 398 w 398"/>
                <a:gd name="T63" fmla="*/ 1042 h 1132"/>
                <a:gd name="T64" fmla="*/ 398 w 398"/>
                <a:gd name="T65" fmla="*/ 1058 h 1132"/>
                <a:gd name="T66" fmla="*/ 392 w 398"/>
                <a:gd name="T67" fmla="*/ 1076 h 1132"/>
                <a:gd name="T68" fmla="*/ 384 w 398"/>
                <a:gd name="T69" fmla="*/ 1090 h 1132"/>
                <a:gd name="T70" fmla="*/ 374 w 398"/>
                <a:gd name="T71" fmla="*/ 1104 h 1132"/>
                <a:gd name="T72" fmla="*/ 362 w 398"/>
                <a:gd name="T73" fmla="*/ 1116 h 1132"/>
                <a:gd name="T74" fmla="*/ 346 w 398"/>
                <a:gd name="T75" fmla="*/ 1124 h 1132"/>
                <a:gd name="T76" fmla="*/ 330 w 398"/>
                <a:gd name="T77" fmla="*/ 1130 h 1132"/>
                <a:gd name="T78" fmla="*/ 330 w 398"/>
                <a:gd name="T79" fmla="*/ 1130 h 1132"/>
                <a:gd name="T80" fmla="*/ 308 w 398"/>
                <a:gd name="T81" fmla="*/ 1132 h 1132"/>
                <a:gd name="T82" fmla="*/ 308 w 398"/>
                <a:gd name="T83" fmla="*/ 1132 h 1132"/>
                <a:gd name="T84" fmla="*/ 308 w 398"/>
                <a:gd name="T85" fmla="*/ 1132 h 1132"/>
                <a:gd name="T86" fmla="*/ 308 w 398"/>
                <a:gd name="T87" fmla="*/ 1132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1132">
                  <a:moveTo>
                    <a:pt x="308" y="1132"/>
                  </a:moveTo>
                  <a:lnTo>
                    <a:pt x="308" y="1132"/>
                  </a:lnTo>
                  <a:lnTo>
                    <a:pt x="294" y="1132"/>
                  </a:lnTo>
                  <a:lnTo>
                    <a:pt x="280" y="1128"/>
                  </a:lnTo>
                  <a:lnTo>
                    <a:pt x="266" y="1122"/>
                  </a:lnTo>
                  <a:lnTo>
                    <a:pt x="254" y="1114"/>
                  </a:lnTo>
                  <a:lnTo>
                    <a:pt x="242" y="1104"/>
                  </a:lnTo>
                  <a:lnTo>
                    <a:pt x="234" y="1092"/>
                  </a:lnTo>
                  <a:lnTo>
                    <a:pt x="226" y="1078"/>
                  </a:lnTo>
                  <a:lnTo>
                    <a:pt x="222" y="1064"/>
                  </a:lnTo>
                  <a:lnTo>
                    <a:pt x="2" y="110"/>
                  </a:lnTo>
                  <a:lnTo>
                    <a:pt x="2" y="110"/>
                  </a:lnTo>
                  <a:lnTo>
                    <a:pt x="0" y="92"/>
                  </a:lnTo>
                  <a:lnTo>
                    <a:pt x="0" y="74"/>
                  </a:lnTo>
                  <a:lnTo>
                    <a:pt x="6" y="58"/>
                  </a:lnTo>
                  <a:lnTo>
                    <a:pt x="12" y="42"/>
                  </a:lnTo>
                  <a:lnTo>
                    <a:pt x="24" y="28"/>
                  </a:lnTo>
                  <a:lnTo>
                    <a:pt x="36" y="18"/>
                  </a:lnTo>
                  <a:lnTo>
                    <a:pt x="52" y="8"/>
                  </a:lnTo>
                  <a:lnTo>
                    <a:pt x="68" y="2"/>
                  </a:lnTo>
                  <a:lnTo>
                    <a:pt x="68" y="2"/>
                  </a:lnTo>
                  <a:lnTo>
                    <a:pt x="86" y="0"/>
                  </a:lnTo>
                  <a:lnTo>
                    <a:pt x="104" y="2"/>
                  </a:lnTo>
                  <a:lnTo>
                    <a:pt x="120" y="6"/>
                  </a:lnTo>
                  <a:lnTo>
                    <a:pt x="136" y="14"/>
                  </a:lnTo>
                  <a:lnTo>
                    <a:pt x="150" y="24"/>
                  </a:lnTo>
                  <a:lnTo>
                    <a:pt x="162" y="38"/>
                  </a:lnTo>
                  <a:lnTo>
                    <a:pt x="170" y="52"/>
                  </a:lnTo>
                  <a:lnTo>
                    <a:pt x="176" y="70"/>
                  </a:lnTo>
                  <a:lnTo>
                    <a:pt x="396" y="1024"/>
                  </a:lnTo>
                  <a:lnTo>
                    <a:pt x="396" y="1024"/>
                  </a:lnTo>
                  <a:lnTo>
                    <a:pt x="398" y="1042"/>
                  </a:lnTo>
                  <a:lnTo>
                    <a:pt x="398" y="1058"/>
                  </a:lnTo>
                  <a:lnTo>
                    <a:pt x="392" y="1076"/>
                  </a:lnTo>
                  <a:lnTo>
                    <a:pt x="384" y="1090"/>
                  </a:lnTo>
                  <a:lnTo>
                    <a:pt x="374" y="1104"/>
                  </a:lnTo>
                  <a:lnTo>
                    <a:pt x="362" y="1116"/>
                  </a:lnTo>
                  <a:lnTo>
                    <a:pt x="346" y="1124"/>
                  </a:lnTo>
                  <a:lnTo>
                    <a:pt x="330" y="1130"/>
                  </a:lnTo>
                  <a:lnTo>
                    <a:pt x="330" y="1130"/>
                  </a:lnTo>
                  <a:lnTo>
                    <a:pt x="308" y="1132"/>
                  </a:lnTo>
                  <a:lnTo>
                    <a:pt x="308" y="1132"/>
                  </a:lnTo>
                  <a:close/>
                  <a:moveTo>
                    <a:pt x="308" y="1132"/>
                  </a:moveTo>
                  <a:lnTo>
                    <a:pt x="308" y="11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0" name="Freeform 57">
              <a:extLst>
                <a:ext uri="{FF2B5EF4-FFF2-40B4-BE49-F238E27FC236}">
                  <a16:creationId xmlns:a16="http://schemas.microsoft.com/office/drawing/2014/main" id="{B112142F-44E3-479C-A843-325CF0DD16F1}"/>
                </a:ext>
              </a:extLst>
            </p:cNvPr>
            <p:cNvSpPr>
              <a:spLocks/>
            </p:cNvSpPr>
            <p:nvPr/>
          </p:nvSpPr>
          <p:spPr bwMode="auto">
            <a:xfrm>
              <a:off x="-2994025" y="4213225"/>
              <a:ext cx="631825" cy="1797050"/>
            </a:xfrm>
            <a:custGeom>
              <a:avLst/>
              <a:gdLst>
                <a:gd name="T0" fmla="*/ 308 w 398"/>
                <a:gd name="T1" fmla="*/ 1132 h 1132"/>
                <a:gd name="T2" fmla="*/ 308 w 398"/>
                <a:gd name="T3" fmla="*/ 1132 h 1132"/>
                <a:gd name="T4" fmla="*/ 294 w 398"/>
                <a:gd name="T5" fmla="*/ 1132 h 1132"/>
                <a:gd name="T6" fmla="*/ 280 w 398"/>
                <a:gd name="T7" fmla="*/ 1128 h 1132"/>
                <a:gd name="T8" fmla="*/ 266 w 398"/>
                <a:gd name="T9" fmla="*/ 1122 h 1132"/>
                <a:gd name="T10" fmla="*/ 254 w 398"/>
                <a:gd name="T11" fmla="*/ 1114 h 1132"/>
                <a:gd name="T12" fmla="*/ 242 w 398"/>
                <a:gd name="T13" fmla="*/ 1104 h 1132"/>
                <a:gd name="T14" fmla="*/ 234 w 398"/>
                <a:gd name="T15" fmla="*/ 1092 h 1132"/>
                <a:gd name="T16" fmla="*/ 226 w 398"/>
                <a:gd name="T17" fmla="*/ 1078 h 1132"/>
                <a:gd name="T18" fmla="*/ 222 w 398"/>
                <a:gd name="T19" fmla="*/ 1064 h 1132"/>
                <a:gd name="T20" fmla="*/ 2 w 398"/>
                <a:gd name="T21" fmla="*/ 110 h 1132"/>
                <a:gd name="T22" fmla="*/ 2 w 398"/>
                <a:gd name="T23" fmla="*/ 110 h 1132"/>
                <a:gd name="T24" fmla="*/ 0 w 398"/>
                <a:gd name="T25" fmla="*/ 92 h 1132"/>
                <a:gd name="T26" fmla="*/ 0 w 398"/>
                <a:gd name="T27" fmla="*/ 74 h 1132"/>
                <a:gd name="T28" fmla="*/ 6 w 398"/>
                <a:gd name="T29" fmla="*/ 58 h 1132"/>
                <a:gd name="T30" fmla="*/ 12 w 398"/>
                <a:gd name="T31" fmla="*/ 42 h 1132"/>
                <a:gd name="T32" fmla="*/ 24 w 398"/>
                <a:gd name="T33" fmla="*/ 28 h 1132"/>
                <a:gd name="T34" fmla="*/ 36 w 398"/>
                <a:gd name="T35" fmla="*/ 18 h 1132"/>
                <a:gd name="T36" fmla="*/ 52 w 398"/>
                <a:gd name="T37" fmla="*/ 8 h 1132"/>
                <a:gd name="T38" fmla="*/ 68 w 398"/>
                <a:gd name="T39" fmla="*/ 2 h 1132"/>
                <a:gd name="T40" fmla="*/ 68 w 398"/>
                <a:gd name="T41" fmla="*/ 2 h 1132"/>
                <a:gd name="T42" fmla="*/ 86 w 398"/>
                <a:gd name="T43" fmla="*/ 0 h 1132"/>
                <a:gd name="T44" fmla="*/ 104 w 398"/>
                <a:gd name="T45" fmla="*/ 2 h 1132"/>
                <a:gd name="T46" fmla="*/ 120 w 398"/>
                <a:gd name="T47" fmla="*/ 6 h 1132"/>
                <a:gd name="T48" fmla="*/ 136 w 398"/>
                <a:gd name="T49" fmla="*/ 14 h 1132"/>
                <a:gd name="T50" fmla="*/ 150 w 398"/>
                <a:gd name="T51" fmla="*/ 24 h 1132"/>
                <a:gd name="T52" fmla="*/ 162 w 398"/>
                <a:gd name="T53" fmla="*/ 38 h 1132"/>
                <a:gd name="T54" fmla="*/ 170 w 398"/>
                <a:gd name="T55" fmla="*/ 52 h 1132"/>
                <a:gd name="T56" fmla="*/ 176 w 398"/>
                <a:gd name="T57" fmla="*/ 70 h 1132"/>
                <a:gd name="T58" fmla="*/ 396 w 398"/>
                <a:gd name="T59" fmla="*/ 1024 h 1132"/>
                <a:gd name="T60" fmla="*/ 396 w 398"/>
                <a:gd name="T61" fmla="*/ 1024 h 1132"/>
                <a:gd name="T62" fmla="*/ 398 w 398"/>
                <a:gd name="T63" fmla="*/ 1042 h 1132"/>
                <a:gd name="T64" fmla="*/ 398 w 398"/>
                <a:gd name="T65" fmla="*/ 1058 h 1132"/>
                <a:gd name="T66" fmla="*/ 392 w 398"/>
                <a:gd name="T67" fmla="*/ 1076 h 1132"/>
                <a:gd name="T68" fmla="*/ 384 w 398"/>
                <a:gd name="T69" fmla="*/ 1090 h 1132"/>
                <a:gd name="T70" fmla="*/ 374 w 398"/>
                <a:gd name="T71" fmla="*/ 1104 h 1132"/>
                <a:gd name="T72" fmla="*/ 362 w 398"/>
                <a:gd name="T73" fmla="*/ 1116 h 1132"/>
                <a:gd name="T74" fmla="*/ 346 w 398"/>
                <a:gd name="T75" fmla="*/ 1124 h 1132"/>
                <a:gd name="T76" fmla="*/ 330 w 398"/>
                <a:gd name="T77" fmla="*/ 1130 h 1132"/>
                <a:gd name="T78" fmla="*/ 330 w 398"/>
                <a:gd name="T79" fmla="*/ 1130 h 1132"/>
                <a:gd name="T80" fmla="*/ 308 w 398"/>
                <a:gd name="T81" fmla="*/ 1132 h 1132"/>
                <a:gd name="T82" fmla="*/ 308 w 398"/>
                <a:gd name="T83" fmla="*/ 1132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8" h="1132">
                  <a:moveTo>
                    <a:pt x="308" y="1132"/>
                  </a:moveTo>
                  <a:lnTo>
                    <a:pt x="308" y="1132"/>
                  </a:lnTo>
                  <a:lnTo>
                    <a:pt x="294" y="1132"/>
                  </a:lnTo>
                  <a:lnTo>
                    <a:pt x="280" y="1128"/>
                  </a:lnTo>
                  <a:lnTo>
                    <a:pt x="266" y="1122"/>
                  </a:lnTo>
                  <a:lnTo>
                    <a:pt x="254" y="1114"/>
                  </a:lnTo>
                  <a:lnTo>
                    <a:pt x="242" y="1104"/>
                  </a:lnTo>
                  <a:lnTo>
                    <a:pt x="234" y="1092"/>
                  </a:lnTo>
                  <a:lnTo>
                    <a:pt x="226" y="1078"/>
                  </a:lnTo>
                  <a:lnTo>
                    <a:pt x="222" y="1064"/>
                  </a:lnTo>
                  <a:lnTo>
                    <a:pt x="2" y="110"/>
                  </a:lnTo>
                  <a:lnTo>
                    <a:pt x="2" y="110"/>
                  </a:lnTo>
                  <a:lnTo>
                    <a:pt x="0" y="92"/>
                  </a:lnTo>
                  <a:lnTo>
                    <a:pt x="0" y="74"/>
                  </a:lnTo>
                  <a:lnTo>
                    <a:pt x="6" y="58"/>
                  </a:lnTo>
                  <a:lnTo>
                    <a:pt x="12" y="42"/>
                  </a:lnTo>
                  <a:lnTo>
                    <a:pt x="24" y="28"/>
                  </a:lnTo>
                  <a:lnTo>
                    <a:pt x="36" y="18"/>
                  </a:lnTo>
                  <a:lnTo>
                    <a:pt x="52" y="8"/>
                  </a:lnTo>
                  <a:lnTo>
                    <a:pt x="68" y="2"/>
                  </a:lnTo>
                  <a:lnTo>
                    <a:pt x="68" y="2"/>
                  </a:lnTo>
                  <a:lnTo>
                    <a:pt x="86" y="0"/>
                  </a:lnTo>
                  <a:lnTo>
                    <a:pt x="104" y="2"/>
                  </a:lnTo>
                  <a:lnTo>
                    <a:pt x="120" y="6"/>
                  </a:lnTo>
                  <a:lnTo>
                    <a:pt x="136" y="14"/>
                  </a:lnTo>
                  <a:lnTo>
                    <a:pt x="150" y="24"/>
                  </a:lnTo>
                  <a:lnTo>
                    <a:pt x="162" y="38"/>
                  </a:lnTo>
                  <a:lnTo>
                    <a:pt x="170" y="52"/>
                  </a:lnTo>
                  <a:lnTo>
                    <a:pt x="176" y="70"/>
                  </a:lnTo>
                  <a:lnTo>
                    <a:pt x="396" y="1024"/>
                  </a:lnTo>
                  <a:lnTo>
                    <a:pt x="396" y="1024"/>
                  </a:lnTo>
                  <a:lnTo>
                    <a:pt x="398" y="1042"/>
                  </a:lnTo>
                  <a:lnTo>
                    <a:pt x="398" y="1058"/>
                  </a:lnTo>
                  <a:lnTo>
                    <a:pt x="392" y="1076"/>
                  </a:lnTo>
                  <a:lnTo>
                    <a:pt x="384" y="1090"/>
                  </a:lnTo>
                  <a:lnTo>
                    <a:pt x="374" y="1104"/>
                  </a:lnTo>
                  <a:lnTo>
                    <a:pt x="362" y="1116"/>
                  </a:lnTo>
                  <a:lnTo>
                    <a:pt x="346" y="1124"/>
                  </a:lnTo>
                  <a:lnTo>
                    <a:pt x="330" y="1130"/>
                  </a:lnTo>
                  <a:lnTo>
                    <a:pt x="330" y="1130"/>
                  </a:lnTo>
                  <a:lnTo>
                    <a:pt x="308" y="1132"/>
                  </a:lnTo>
                  <a:lnTo>
                    <a:pt x="308" y="11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 name="Line 58">
              <a:extLst>
                <a:ext uri="{FF2B5EF4-FFF2-40B4-BE49-F238E27FC236}">
                  <a16:creationId xmlns:a16="http://schemas.microsoft.com/office/drawing/2014/main" id="{F1E5DB12-368F-434E-AAD2-A77C296F6C28}"/>
                </a:ext>
              </a:extLst>
            </p:cNvPr>
            <p:cNvSpPr>
              <a:spLocks noChangeShapeType="1"/>
            </p:cNvSpPr>
            <p:nvPr/>
          </p:nvSpPr>
          <p:spPr bwMode="auto">
            <a:xfrm>
              <a:off x="-2505075" y="601027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 name="Line 61">
              <a:extLst>
                <a:ext uri="{FF2B5EF4-FFF2-40B4-BE49-F238E27FC236}">
                  <a16:creationId xmlns:a16="http://schemas.microsoft.com/office/drawing/2014/main" id="{07B4B0BB-3FA5-46BA-AECA-C25CF464AF1F}"/>
                </a:ext>
              </a:extLst>
            </p:cNvPr>
            <p:cNvSpPr>
              <a:spLocks noChangeShapeType="1"/>
            </p:cNvSpPr>
            <p:nvPr/>
          </p:nvSpPr>
          <p:spPr bwMode="auto">
            <a:xfrm>
              <a:off x="-4235450" y="52959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 name="Freeform 62">
              <a:extLst>
                <a:ext uri="{FF2B5EF4-FFF2-40B4-BE49-F238E27FC236}">
                  <a16:creationId xmlns:a16="http://schemas.microsoft.com/office/drawing/2014/main" id="{8712C997-7942-440B-9A25-63F7EEA3E5B5}"/>
                </a:ext>
              </a:extLst>
            </p:cNvPr>
            <p:cNvSpPr>
              <a:spLocks noEditPoints="1"/>
            </p:cNvSpPr>
            <p:nvPr/>
          </p:nvSpPr>
          <p:spPr bwMode="auto">
            <a:xfrm>
              <a:off x="-4171950" y="2943225"/>
              <a:ext cx="2546350" cy="2254250"/>
            </a:xfrm>
            <a:custGeom>
              <a:avLst/>
              <a:gdLst>
                <a:gd name="T0" fmla="*/ 88 w 1604"/>
                <a:gd name="T1" fmla="*/ 1420 h 1420"/>
                <a:gd name="T2" fmla="*/ 88 w 1604"/>
                <a:gd name="T3" fmla="*/ 1420 h 1420"/>
                <a:gd name="T4" fmla="*/ 70 w 1604"/>
                <a:gd name="T5" fmla="*/ 1418 h 1420"/>
                <a:gd name="T6" fmla="*/ 52 w 1604"/>
                <a:gd name="T7" fmla="*/ 1412 h 1420"/>
                <a:gd name="T8" fmla="*/ 36 w 1604"/>
                <a:gd name="T9" fmla="*/ 1404 h 1420"/>
                <a:gd name="T10" fmla="*/ 22 w 1604"/>
                <a:gd name="T11" fmla="*/ 1390 h 1420"/>
                <a:gd name="T12" fmla="*/ 22 w 1604"/>
                <a:gd name="T13" fmla="*/ 1390 h 1420"/>
                <a:gd name="T14" fmla="*/ 10 w 1604"/>
                <a:gd name="T15" fmla="*/ 1376 h 1420"/>
                <a:gd name="T16" fmla="*/ 4 w 1604"/>
                <a:gd name="T17" fmla="*/ 1358 h 1420"/>
                <a:gd name="T18" fmla="*/ 0 w 1604"/>
                <a:gd name="T19" fmla="*/ 1342 h 1420"/>
                <a:gd name="T20" fmla="*/ 0 w 1604"/>
                <a:gd name="T21" fmla="*/ 1324 h 1420"/>
                <a:gd name="T22" fmla="*/ 2 w 1604"/>
                <a:gd name="T23" fmla="*/ 1308 h 1420"/>
                <a:gd name="T24" fmla="*/ 8 w 1604"/>
                <a:gd name="T25" fmla="*/ 1292 h 1420"/>
                <a:gd name="T26" fmla="*/ 18 w 1604"/>
                <a:gd name="T27" fmla="*/ 1276 h 1420"/>
                <a:gd name="T28" fmla="*/ 30 w 1604"/>
                <a:gd name="T29" fmla="*/ 1264 h 1420"/>
                <a:gd name="T30" fmla="*/ 1456 w 1604"/>
                <a:gd name="T31" fmla="*/ 22 h 1420"/>
                <a:gd name="T32" fmla="*/ 1456 w 1604"/>
                <a:gd name="T33" fmla="*/ 22 h 1420"/>
                <a:gd name="T34" fmla="*/ 1470 w 1604"/>
                <a:gd name="T35" fmla="*/ 12 h 1420"/>
                <a:gd name="T36" fmla="*/ 1486 w 1604"/>
                <a:gd name="T37" fmla="*/ 4 h 1420"/>
                <a:gd name="T38" fmla="*/ 1504 w 1604"/>
                <a:gd name="T39" fmla="*/ 0 h 1420"/>
                <a:gd name="T40" fmla="*/ 1520 w 1604"/>
                <a:gd name="T41" fmla="*/ 0 h 1420"/>
                <a:gd name="T42" fmla="*/ 1538 w 1604"/>
                <a:gd name="T43" fmla="*/ 2 h 1420"/>
                <a:gd name="T44" fmla="*/ 1554 w 1604"/>
                <a:gd name="T45" fmla="*/ 8 h 1420"/>
                <a:gd name="T46" fmla="*/ 1570 w 1604"/>
                <a:gd name="T47" fmla="*/ 18 h 1420"/>
                <a:gd name="T48" fmla="*/ 1582 w 1604"/>
                <a:gd name="T49" fmla="*/ 30 h 1420"/>
                <a:gd name="T50" fmla="*/ 1582 w 1604"/>
                <a:gd name="T51" fmla="*/ 30 h 1420"/>
                <a:gd name="T52" fmla="*/ 1592 w 1604"/>
                <a:gd name="T53" fmla="*/ 46 h 1420"/>
                <a:gd name="T54" fmla="*/ 1600 w 1604"/>
                <a:gd name="T55" fmla="*/ 62 h 1420"/>
                <a:gd name="T56" fmla="*/ 1604 w 1604"/>
                <a:gd name="T57" fmla="*/ 78 h 1420"/>
                <a:gd name="T58" fmla="*/ 1604 w 1604"/>
                <a:gd name="T59" fmla="*/ 96 h 1420"/>
                <a:gd name="T60" fmla="*/ 1602 w 1604"/>
                <a:gd name="T61" fmla="*/ 112 h 1420"/>
                <a:gd name="T62" fmla="*/ 1596 w 1604"/>
                <a:gd name="T63" fmla="*/ 128 h 1420"/>
                <a:gd name="T64" fmla="*/ 1586 w 1604"/>
                <a:gd name="T65" fmla="*/ 144 h 1420"/>
                <a:gd name="T66" fmla="*/ 1574 w 1604"/>
                <a:gd name="T67" fmla="*/ 156 h 1420"/>
                <a:gd name="T68" fmla="*/ 148 w 1604"/>
                <a:gd name="T69" fmla="*/ 1398 h 1420"/>
                <a:gd name="T70" fmla="*/ 148 w 1604"/>
                <a:gd name="T71" fmla="*/ 1398 h 1420"/>
                <a:gd name="T72" fmla="*/ 134 w 1604"/>
                <a:gd name="T73" fmla="*/ 1408 h 1420"/>
                <a:gd name="T74" fmla="*/ 120 w 1604"/>
                <a:gd name="T75" fmla="*/ 1416 h 1420"/>
                <a:gd name="T76" fmla="*/ 104 w 1604"/>
                <a:gd name="T77" fmla="*/ 1420 h 1420"/>
                <a:gd name="T78" fmla="*/ 88 w 1604"/>
                <a:gd name="T79" fmla="*/ 1420 h 1420"/>
                <a:gd name="T80" fmla="*/ 88 w 1604"/>
                <a:gd name="T81" fmla="*/ 1420 h 1420"/>
                <a:gd name="T82" fmla="*/ 88 w 1604"/>
                <a:gd name="T83" fmla="*/ 1420 h 1420"/>
                <a:gd name="T84" fmla="*/ 88 w 1604"/>
                <a:gd name="T85" fmla="*/ 1420 h 1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4" h="1420">
                  <a:moveTo>
                    <a:pt x="88" y="1420"/>
                  </a:moveTo>
                  <a:lnTo>
                    <a:pt x="88" y="1420"/>
                  </a:lnTo>
                  <a:lnTo>
                    <a:pt x="70" y="1418"/>
                  </a:lnTo>
                  <a:lnTo>
                    <a:pt x="52" y="1412"/>
                  </a:lnTo>
                  <a:lnTo>
                    <a:pt x="36" y="1404"/>
                  </a:lnTo>
                  <a:lnTo>
                    <a:pt x="22" y="1390"/>
                  </a:lnTo>
                  <a:lnTo>
                    <a:pt x="22" y="1390"/>
                  </a:lnTo>
                  <a:lnTo>
                    <a:pt x="10" y="1376"/>
                  </a:lnTo>
                  <a:lnTo>
                    <a:pt x="4" y="1358"/>
                  </a:lnTo>
                  <a:lnTo>
                    <a:pt x="0" y="1342"/>
                  </a:lnTo>
                  <a:lnTo>
                    <a:pt x="0" y="1324"/>
                  </a:lnTo>
                  <a:lnTo>
                    <a:pt x="2" y="1308"/>
                  </a:lnTo>
                  <a:lnTo>
                    <a:pt x="8" y="1292"/>
                  </a:lnTo>
                  <a:lnTo>
                    <a:pt x="18" y="1276"/>
                  </a:lnTo>
                  <a:lnTo>
                    <a:pt x="30" y="1264"/>
                  </a:lnTo>
                  <a:lnTo>
                    <a:pt x="1456" y="22"/>
                  </a:lnTo>
                  <a:lnTo>
                    <a:pt x="1456" y="22"/>
                  </a:lnTo>
                  <a:lnTo>
                    <a:pt x="1470" y="12"/>
                  </a:lnTo>
                  <a:lnTo>
                    <a:pt x="1486" y="4"/>
                  </a:lnTo>
                  <a:lnTo>
                    <a:pt x="1504" y="0"/>
                  </a:lnTo>
                  <a:lnTo>
                    <a:pt x="1520" y="0"/>
                  </a:lnTo>
                  <a:lnTo>
                    <a:pt x="1538" y="2"/>
                  </a:lnTo>
                  <a:lnTo>
                    <a:pt x="1554" y="8"/>
                  </a:lnTo>
                  <a:lnTo>
                    <a:pt x="1570" y="18"/>
                  </a:lnTo>
                  <a:lnTo>
                    <a:pt x="1582" y="30"/>
                  </a:lnTo>
                  <a:lnTo>
                    <a:pt x="1582" y="30"/>
                  </a:lnTo>
                  <a:lnTo>
                    <a:pt x="1592" y="46"/>
                  </a:lnTo>
                  <a:lnTo>
                    <a:pt x="1600" y="62"/>
                  </a:lnTo>
                  <a:lnTo>
                    <a:pt x="1604" y="78"/>
                  </a:lnTo>
                  <a:lnTo>
                    <a:pt x="1604" y="96"/>
                  </a:lnTo>
                  <a:lnTo>
                    <a:pt x="1602" y="112"/>
                  </a:lnTo>
                  <a:lnTo>
                    <a:pt x="1596" y="128"/>
                  </a:lnTo>
                  <a:lnTo>
                    <a:pt x="1586" y="144"/>
                  </a:lnTo>
                  <a:lnTo>
                    <a:pt x="1574" y="156"/>
                  </a:lnTo>
                  <a:lnTo>
                    <a:pt x="148" y="1398"/>
                  </a:lnTo>
                  <a:lnTo>
                    <a:pt x="148" y="1398"/>
                  </a:lnTo>
                  <a:lnTo>
                    <a:pt x="134" y="1408"/>
                  </a:lnTo>
                  <a:lnTo>
                    <a:pt x="120" y="1416"/>
                  </a:lnTo>
                  <a:lnTo>
                    <a:pt x="104" y="1420"/>
                  </a:lnTo>
                  <a:lnTo>
                    <a:pt x="88" y="1420"/>
                  </a:lnTo>
                  <a:lnTo>
                    <a:pt x="88" y="1420"/>
                  </a:lnTo>
                  <a:close/>
                  <a:moveTo>
                    <a:pt x="88" y="1420"/>
                  </a:moveTo>
                  <a:lnTo>
                    <a:pt x="88" y="142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4" name="Freeform 63">
              <a:extLst>
                <a:ext uri="{FF2B5EF4-FFF2-40B4-BE49-F238E27FC236}">
                  <a16:creationId xmlns:a16="http://schemas.microsoft.com/office/drawing/2014/main" id="{57E765D8-1C40-498C-8600-EBCE3DA7A395}"/>
                </a:ext>
              </a:extLst>
            </p:cNvPr>
            <p:cNvSpPr>
              <a:spLocks/>
            </p:cNvSpPr>
            <p:nvPr/>
          </p:nvSpPr>
          <p:spPr bwMode="auto">
            <a:xfrm>
              <a:off x="-4171950" y="2943225"/>
              <a:ext cx="2546350" cy="2254250"/>
            </a:xfrm>
            <a:custGeom>
              <a:avLst/>
              <a:gdLst>
                <a:gd name="T0" fmla="*/ 88 w 1604"/>
                <a:gd name="T1" fmla="*/ 1420 h 1420"/>
                <a:gd name="T2" fmla="*/ 88 w 1604"/>
                <a:gd name="T3" fmla="*/ 1420 h 1420"/>
                <a:gd name="T4" fmla="*/ 70 w 1604"/>
                <a:gd name="T5" fmla="*/ 1418 h 1420"/>
                <a:gd name="T6" fmla="*/ 52 w 1604"/>
                <a:gd name="T7" fmla="*/ 1412 h 1420"/>
                <a:gd name="T8" fmla="*/ 36 w 1604"/>
                <a:gd name="T9" fmla="*/ 1404 h 1420"/>
                <a:gd name="T10" fmla="*/ 22 w 1604"/>
                <a:gd name="T11" fmla="*/ 1390 h 1420"/>
                <a:gd name="T12" fmla="*/ 22 w 1604"/>
                <a:gd name="T13" fmla="*/ 1390 h 1420"/>
                <a:gd name="T14" fmla="*/ 10 w 1604"/>
                <a:gd name="T15" fmla="*/ 1376 h 1420"/>
                <a:gd name="T16" fmla="*/ 4 w 1604"/>
                <a:gd name="T17" fmla="*/ 1358 h 1420"/>
                <a:gd name="T18" fmla="*/ 0 w 1604"/>
                <a:gd name="T19" fmla="*/ 1342 h 1420"/>
                <a:gd name="T20" fmla="*/ 0 w 1604"/>
                <a:gd name="T21" fmla="*/ 1324 h 1420"/>
                <a:gd name="T22" fmla="*/ 2 w 1604"/>
                <a:gd name="T23" fmla="*/ 1308 h 1420"/>
                <a:gd name="T24" fmla="*/ 8 w 1604"/>
                <a:gd name="T25" fmla="*/ 1292 h 1420"/>
                <a:gd name="T26" fmla="*/ 18 w 1604"/>
                <a:gd name="T27" fmla="*/ 1276 h 1420"/>
                <a:gd name="T28" fmla="*/ 30 w 1604"/>
                <a:gd name="T29" fmla="*/ 1264 h 1420"/>
                <a:gd name="T30" fmla="*/ 1456 w 1604"/>
                <a:gd name="T31" fmla="*/ 22 h 1420"/>
                <a:gd name="T32" fmla="*/ 1456 w 1604"/>
                <a:gd name="T33" fmla="*/ 22 h 1420"/>
                <a:gd name="T34" fmla="*/ 1470 w 1604"/>
                <a:gd name="T35" fmla="*/ 12 h 1420"/>
                <a:gd name="T36" fmla="*/ 1486 w 1604"/>
                <a:gd name="T37" fmla="*/ 4 h 1420"/>
                <a:gd name="T38" fmla="*/ 1504 w 1604"/>
                <a:gd name="T39" fmla="*/ 0 h 1420"/>
                <a:gd name="T40" fmla="*/ 1520 w 1604"/>
                <a:gd name="T41" fmla="*/ 0 h 1420"/>
                <a:gd name="T42" fmla="*/ 1538 w 1604"/>
                <a:gd name="T43" fmla="*/ 2 h 1420"/>
                <a:gd name="T44" fmla="*/ 1554 w 1604"/>
                <a:gd name="T45" fmla="*/ 8 h 1420"/>
                <a:gd name="T46" fmla="*/ 1570 w 1604"/>
                <a:gd name="T47" fmla="*/ 18 h 1420"/>
                <a:gd name="T48" fmla="*/ 1582 w 1604"/>
                <a:gd name="T49" fmla="*/ 30 h 1420"/>
                <a:gd name="T50" fmla="*/ 1582 w 1604"/>
                <a:gd name="T51" fmla="*/ 30 h 1420"/>
                <a:gd name="T52" fmla="*/ 1592 w 1604"/>
                <a:gd name="T53" fmla="*/ 46 h 1420"/>
                <a:gd name="T54" fmla="*/ 1600 w 1604"/>
                <a:gd name="T55" fmla="*/ 62 h 1420"/>
                <a:gd name="T56" fmla="*/ 1604 w 1604"/>
                <a:gd name="T57" fmla="*/ 78 h 1420"/>
                <a:gd name="T58" fmla="*/ 1604 w 1604"/>
                <a:gd name="T59" fmla="*/ 96 h 1420"/>
                <a:gd name="T60" fmla="*/ 1602 w 1604"/>
                <a:gd name="T61" fmla="*/ 112 h 1420"/>
                <a:gd name="T62" fmla="*/ 1596 w 1604"/>
                <a:gd name="T63" fmla="*/ 128 h 1420"/>
                <a:gd name="T64" fmla="*/ 1586 w 1604"/>
                <a:gd name="T65" fmla="*/ 144 h 1420"/>
                <a:gd name="T66" fmla="*/ 1574 w 1604"/>
                <a:gd name="T67" fmla="*/ 156 h 1420"/>
                <a:gd name="T68" fmla="*/ 148 w 1604"/>
                <a:gd name="T69" fmla="*/ 1398 h 1420"/>
                <a:gd name="T70" fmla="*/ 148 w 1604"/>
                <a:gd name="T71" fmla="*/ 1398 h 1420"/>
                <a:gd name="T72" fmla="*/ 134 w 1604"/>
                <a:gd name="T73" fmla="*/ 1408 h 1420"/>
                <a:gd name="T74" fmla="*/ 120 w 1604"/>
                <a:gd name="T75" fmla="*/ 1416 h 1420"/>
                <a:gd name="T76" fmla="*/ 104 w 1604"/>
                <a:gd name="T77" fmla="*/ 1420 h 1420"/>
                <a:gd name="T78" fmla="*/ 88 w 1604"/>
                <a:gd name="T79" fmla="*/ 1420 h 1420"/>
                <a:gd name="T80" fmla="*/ 88 w 1604"/>
                <a:gd name="T81" fmla="*/ 1420 h 1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4" h="1420">
                  <a:moveTo>
                    <a:pt x="88" y="1420"/>
                  </a:moveTo>
                  <a:lnTo>
                    <a:pt x="88" y="1420"/>
                  </a:lnTo>
                  <a:lnTo>
                    <a:pt x="70" y="1418"/>
                  </a:lnTo>
                  <a:lnTo>
                    <a:pt x="52" y="1412"/>
                  </a:lnTo>
                  <a:lnTo>
                    <a:pt x="36" y="1404"/>
                  </a:lnTo>
                  <a:lnTo>
                    <a:pt x="22" y="1390"/>
                  </a:lnTo>
                  <a:lnTo>
                    <a:pt x="22" y="1390"/>
                  </a:lnTo>
                  <a:lnTo>
                    <a:pt x="10" y="1376"/>
                  </a:lnTo>
                  <a:lnTo>
                    <a:pt x="4" y="1358"/>
                  </a:lnTo>
                  <a:lnTo>
                    <a:pt x="0" y="1342"/>
                  </a:lnTo>
                  <a:lnTo>
                    <a:pt x="0" y="1324"/>
                  </a:lnTo>
                  <a:lnTo>
                    <a:pt x="2" y="1308"/>
                  </a:lnTo>
                  <a:lnTo>
                    <a:pt x="8" y="1292"/>
                  </a:lnTo>
                  <a:lnTo>
                    <a:pt x="18" y="1276"/>
                  </a:lnTo>
                  <a:lnTo>
                    <a:pt x="30" y="1264"/>
                  </a:lnTo>
                  <a:lnTo>
                    <a:pt x="1456" y="22"/>
                  </a:lnTo>
                  <a:lnTo>
                    <a:pt x="1456" y="22"/>
                  </a:lnTo>
                  <a:lnTo>
                    <a:pt x="1470" y="12"/>
                  </a:lnTo>
                  <a:lnTo>
                    <a:pt x="1486" y="4"/>
                  </a:lnTo>
                  <a:lnTo>
                    <a:pt x="1504" y="0"/>
                  </a:lnTo>
                  <a:lnTo>
                    <a:pt x="1520" y="0"/>
                  </a:lnTo>
                  <a:lnTo>
                    <a:pt x="1538" y="2"/>
                  </a:lnTo>
                  <a:lnTo>
                    <a:pt x="1554" y="8"/>
                  </a:lnTo>
                  <a:lnTo>
                    <a:pt x="1570" y="18"/>
                  </a:lnTo>
                  <a:lnTo>
                    <a:pt x="1582" y="30"/>
                  </a:lnTo>
                  <a:lnTo>
                    <a:pt x="1582" y="30"/>
                  </a:lnTo>
                  <a:lnTo>
                    <a:pt x="1592" y="46"/>
                  </a:lnTo>
                  <a:lnTo>
                    <a:pt x="1600" y="62"/>
                  </a:lnTo>
                  <a:lnTo>
                    <a:pt x="1604" y="78"/>
                  </a:lnTo>
                  <a:lnTo>
                    <a:pt x="1604" y="96"/>
                  </a:lnTo>
                  <a:lnTo>
                    <a:pt x="1602" y="112"/>
                  </a:lnTo>
                  <a:lnTo>
                    <a:pt x="1596" y="128"/>
                  </a:lnTo>
                  <a:lnTo>
                    <a:pt x="1586" y="144"/>
                  </a:lnTo>
                  <a:lnTo>
                    <a:pt x="1574" y="156"/>
                  </a:lnTo>
                  <a:lnTo>
                    <a:pt x="148" y="1398"/>
                  </a:lnTo>
                  <a:lnTo>
                    <a:pt x="148" y="1398"/>
                  </a:lnTo>
                  <a:lnTo>
                    <a:pt x="134" y="1408"/>
                  </a:lnTo>
                  <a:lnTo>
                    <a:pt x="120" y="1416"/>
                  </a:lnTo>
                  <a:lnTo>
                    <a:pt x="104" y="1420"/>
                  </a:lnTo>
                  <a:lnTo>
                    <a:pt x="88" y="1420"/>
                  </a:lnTo>
                  <a:lnTo>
                    <a:pt x="88" y="14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5" name="Line 64">
              <a:extLst>
                <a:ext uri="{FF2B5EF4-FFF2-40B4-BE49-F238E27FC236}">
                  <a16:creationId xmlns:a16="http://schemas.microsoft.com/office/drawing/2014/main" id="{859A464C-6542-4B27-AE70-DFF302339686}"/>
                </a:ext>
              </a:extLst>
            </p:cNvPr>
            <p:cNvSpPr>
              <a:spLocks noChangeShapeType="1"/>
            </p:cNvSpPr>
            <p:nvPr/>
          </p:nvSpPr>
          <p:spPr bwMode="auto">
            <a:xfrm>
              <a:off x="-4032250" y="519747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6" name="Freeform 65">
              <a:extLst>
                <a:ext uri="{FF2B5EF4-FFF2-40B4-BE49-F238E27FC236}">
                  <a16:creationId xmlns:a16="http://schemas.microsoft.com/office/drawing/2014/main" id="{080742D6-F7FE-416B-BFC0-32653BB65D99}"/>
                </a:ext>
              </a:extLst>
            </p:cNvPr>
            <p:cNvSpPr>
              <a:spLocks noEditPoints="1"/>
            </p:cNvSpPr>
            <p:nvPr/>
          </p:nvSpPr>
          <p:spPr bwMode="auto">
            <a:xfrm>
              <a:off x="-4616450" y="2339975"/>
              <a:ext cx="2098675" cy="2352675"/>
            </a:xfrm>
            <a:custGeom>
              <a:avLst/>
              <a:gdLst>
                <a:gd name="T0" fmla="*/ 1232 w 1322"/>
                <a:gd name="T1" fmla="*/ 1482 h 1482"/>
                <a:gd name="T2" fmla="*/ 1232 w 1322"/>
                <a:gd name="T3" fmla="*/ 1482 h 1482"/>
                <a:gd name="T4" fmla="*/ 1214 w 1322"/>
                <a:gd name="T5" fmla="*/ 1480 h 1482"/>
                <a:gd name="T6" fmla="*/ 1196 w 1322"/>
                <a:gd name="T7" fmla="*/ 1474 h 1482"/>
                <a:gd name="T8" fmla="*/ 1180 w 1322"/>
                <a:gd name="T9" fmla="*/ 1464 h 1482"/>
                <a:gd name="T10" fmla="*/ 1166 w 1322"/>
                <a:gd name="T11" fmla="*/ 1450 h 1482"/>
                <a:gd name="T12" fmla="*/ 22 w 1322"/>
                <a:gd name="T13" fmla="*/ 148 h 1482"/>
                <a:gd name="T14" fmla="*/ 22 w 1322"/>
                <a:gd name="T15" fmla="*/ 148 h 1482"/>
                <a:gd name="T16" fmla="*/ 12 w 1322"/>
                <a:gd name="T17" fmla="*/ 134 h 1482"/>
                <a:gd name="T18" fmla="*/ 4 w 1322"/>
                <a:gd name="T19" fmla="*/ 118 h 1482"/>
                <a:gd name="T20" fmla="*/ 0 w 1322"/>
                <a:gd name="T21" fmla="*/ 100 h 1482"/>
                <a:gd name="T22" fmla="*/ 0 w 1322"/>
                <a:gd name="T23" fmla="*/ 84 h 1482"/>
                <a:gd name="T24" fmla="*/ 2 w 1322"/>
                <a:gd name="T25" fmla="*/ 66 h 1482"/>
                <a:gd name="T26" fmla="*/ 8 w 1322"/>
                <a:gd name="T27" fmla="*/ 50 h 1482"/>
                <a:gd name="T28" fmla="*/ 18 w 1322"/>
                <a:gd name="T29" fmla="*/ 36 h 1482"/>
                <a:gd name="T30" fmla="*/ 30 w 1322"/>
                <a:gd name="T31" fmla="*/ 22 h 1482"/>
                <a:gd name="T32" fmla="*/ 30 w 1322"/>
                <a:gd name="T33" fmla="*/ 22 h 1482"/>
                <a:gd name="T34" fmla="*/ 46 w 1322"/>
                <a:gd name="T35" fmla="*/ 12 h 1482"/>
                <a:gd name="T36" fmla="*/ 62 w 1322"/>
                <a:gd name="T37" fmla="*/ 4 h 1482"/>
                <a:gd name="T38" fmla="*/ 78 w 1322"/>
                <a:gd name="T39" fmla="*/ 0 h 1482"/>
                <a:gd name="T40" fmla="*/ 96 w 1322"/>
                <a:gd name="T41" fmla="*/ 0 h 1482"/>
                <a:gd name="T42" fmla="*/ 112 w 1322"/>
                <a:gd name="T43" fmla="*/ 2 h 1482"/>
                <a:gd name="T44" fmla="*/ 128 w 1322"/>
                <a:gd name="T45" fmla="*/ 8 h 1482"/>
                <a:gd name="T46" fmla="*/ 144 w 1322"/>
                <a:gd name="T47" fmla="*/ 18 h 1482"/>
                <a:gd name="T48" fmla="*/ 156 w 1322"/>
                <a:gd name="T49" fmla="*/ 30 h 1482"/>
                <a:gd name="T50" fmla="*/ 1300 w 1322"/>
                <a:gd name="T51" fmla="*/ 1332 h 1482"/>
                <a:gd name="T52" fmla="*/ 1300 w 1322"/>
                <a:gd name="T53" fmla="*/ 1332 h 1482"/>
                <a:gd name="T54" fmla="*/ 1310 w 1322"/>
                <a:gd name="T55" fmla="*/ 1348 h 1482"/>
                <a:gd name="T56" fmla="*/ 1318 w 1322"/>
                <a:gd name="T57" fmla="*/ 1364 h 1482"/>
                <a:gd name="T58" fmla="*/ 1322 w 1322"/>
                <a:gd name="T59" fmla="*/ 1380 h 1482"/>
                <a:gd name="T60" fmla="*/ 1322 w 1322"/>
                <a:gd name="T61" fmla="*/ 1398 h 1482"/>
                <a:gd name="T62" fmla="*/ 1320 w 1322"/>
                <a:gd name="T63" fmla="*/ 1414 h 1482"/>
                <a:gd name="T64" fmla="*/ 1314 w 1322"/>
                <a:gd name="T65" fmla="*/ 1430 h 1482"/>
                <a:gd name="T66" fmla="*/ 1304 w 1322"/>
                <a:gd name="T67" fmla="*/ 1446 h 1482"/>
                <a:gd name="T68" fmla="*/ 1292 w 1322"/>
                <a:gd name="T69" fmla="*/ 1458 h 1482"/>
                <a:gd name="T70" fmla="*/ 1292 w 1322"/>
                <a:gd name="T71" fmla="*/ 1458 h 1482"/>
                <a:gd name="T72" fmla="*/ 1278 w 1322"/>
                <a:gd name="T73" fmla="*/ 1468 h 1482"/>
                <a:gd name="T74" fmla="*/ 1264 w 1322"/>
                <a:gd name="T75" fmla="*/ 1476 h 1482"/>
                <a:gd name="T76" fmla="*/ 1248 w 1322"/>
                <a:gd name="T77" fmla="*/ 1480 h 1482"/>
                <a:gd name="T78" fmla="*/ 1232 w 1322"/>
                <a:gd name="T79" fmla="*/ 1482 h 1482"/>
                <a:gd name="T80" fmla="*/ 1232 w 1322"/>
                <a:gd name="T81" fmla="*/ 1482 h 1482"/>
                <a:gd name="T82" fmla="*/ 1232 w 1322"/>
                <a:gd name="T83" fmla="*/ 1482 h 1482"/>
                <a:gd name="T84" fmla="*/ 1232 w 1322"/>
                <a:gd name="T85" fmla="*/ 1482 h 1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22" h="1482">
                  <a:moveTo>
                    <a:pt x="1232" y="1482"/>
                  </a:moveTo>
                  <a:lnTo>
                    <a:pt x="1232" y="1482"/>
                  </a:lnTo>
                  <a:lnTo>
                    <a:pt x="1214" y="1480"/>
                  </a:lnTo>
                  <a:lnTo>
                    <a:pt x="1196" y="1474"/>
                  </a:lnTo>
                  <a:lnTo>
                    <a:pt x="1180" y="1464"/>
                  </a:lnTo>
                  <a:lnTo>
                    <a:pt x="1166" y="1450"/>
                  </a:lnTo>
                  <a:lnTo>
                    <a:pt x="22" y="148"/>
                  </a:lnTo>
                  <a:lnTo>
                    <a:pt x="22" y="148"/>
                  </a:lnTo>
                  <a:lnTo>
                    <a:pt x="12" y="134"/>
                  </a:lnTo>
                  <a:lnTo>
                    <a:pt x="4" y="118"/>
                  </a:lnTo>
                  <a:lnTo>
                    <a:pt x="0" y="100"/>
                  </a:lnTo>
                  <a:lnTo>
                    <a:pt x="0" y="84"/>
                  </a:lnTo>
                  <a:lnTo>
                    <a:pt x="2" y="66"/>
                  </a:lnTo>
                  <a:lnTo>
                    <a:pt x="8" y="50"/>
                  </a:lnTo>
                  <a:lnTo>
                    <a:pt x="18" y="36"/>
                  </a:lnTo>
                  <a:lnTo>
                    <a:pt x="30" y="22"/>
                  </a:lnTo>
                  <a:lnTo>
                    <a:pt x="30" y="22"/>
                  </a:lnTo>
                  <a:lnTo>
                    <a:pt x="46" y="12"/>
                  </a:lnTo>
                  <a:lnTo>
                    <a:pt x="62" y="4"/>
                  </a:lnTo>
                  <a:lnTo>
                    <a:pt x="78" y="0"/>
                  </a:lnTo>
                  <a:lnTo>
                    <a:pt x="96" y="0"/>
                  </a:lnTo>
                  <a:lnTo>
                    <a:pt x="112" y="2"/>
                  </a:lnTo>
                  <a:lnTo>
                    <a:pt x="128" y="8"/>
                  </a:lnTo>
                  <a:lnTo>
                    <a:pt x="144" y="18"/>
                  </a:lnTo>
                  <a:lnTo>
                    <a:pt x="156" y="30"/>
                  </a:lnTo>
                  <a:lnTo>
                    <a:pt x="1300" y="1332"/>
                  </a:lnTo>
                  <a:lnTo>
                    <a:pt x="1300" y="1332"/>
                  </a:lnTo>
                  <a:lnTo>
                    <a:pt x="1310" y="1348"/>
                  </a:lnTo>
                  <a:lnTo>
                    <a:pt x="1318" y="1364"/>
                  </a:lnTo>
                  <a:lnTo>
                    <a:pt x="1322" y="1380"/>
                  </a:lnTo>
                  <a:lnTo>
                    <a:pt x="1322" y="1398"/>
                  </a:lnTo>
                  <a:lnTo>
                    <a:pt x="1320" y="1414"/>
                  </a:lnTo>
                  <a:lnTo>
                    <a:pt x="1314" y="1430"/>
                  </a:lnTo>
                  <a:lnTo>
                    <a:pt x="1304" y="1446"/>
                  </a:lnTo>
                  <a:lnTo>
                    <a:pt x="1292" y="1458"/>
                  </a:lnTo>
                  <a:lnTo>
                    <a:pt x="1292" y="1458"/>
                  </a:lnTo>
                  <a:lnTo>
                    <a:pt x="1278" y="1468"/>
                  </a:lnTo>
                  <a:lnTo>
                    <a:pt x="1264" y="1476"/>
                  </a:lnTo>
                  <a:lnTo>
                    <a:pt x="1248" y="1480"/>
                  </a:lnTo>
                  <a:lnTo>
                    <a:pt x="1232" y="1482"/>
                  </a:lnTo>
                  <a:lnTo>
                    <a:pt x="1232" y="1482"/>
                  </a:lnTo>
                  <a:close/>
                  <a:moveTo>
                    <a:pt x="1232" y="1482"/>
                  </a:moveTo>
                  <a:lnTo>
                    <a:pt x="1232" y="148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7" name="Freeform 66">
              <a:extLst>
                <a:ext uri="{FF2B5EF4-FFF2-40B4-BE49-F238E27FC236}">
                  <a16:creationId xmlns:a16="http://schemas.microsoft.com/office/drawing/2014/main" id="{BEB24F27-894E-4D42-B254-6F14A0A8EF2C}"/>
                </a:ext>
              </a:extLst>
            </p:cNvPr>
            <p:cNvSpPr>
              <a:spLocks/>
            </p:cNvSpPr>
            <p:nvPr/>
          </p:nvSpPr>
          <p:spPr bwMode="auto">
            <a:xfrm>
              <a:off x="-4616450" y="2339975"/>
              <a:ext cx="2098675" cy="2352675"/>
            </a:xfrm>
            <a:custGeom>
              <a:avLst/>
              <a:gdLst>
                <a:gd name="T0" fmla="*/ 1232 w 1322"/>
                <a:gd name="T1" fmla="*/ 1482 h 1482"/>
                <a:gd name="T2" fmla="*/ 1232 w 1322"/>
                <a:gd name="T3" fmla="*/ 1482 h 1482"/>
                <a:gd name="T4" fmla="*/ 1214 w 1322"/>
                <a:gd name="T5" fmla="*/ 1480 h 1482"/>
                <a:gd name="T6" fmla="*/ 1196 w 1322"/>
                <a:gd name="T7" fmla="*/ 1474 h 1482"/>
                <a:gd name="T8" fmla="*/ 1180 w 1322"/>
                <a:gd name="T9" fmla="*/ 1464 h 1482"/>
                <a:gd name="T10" fmla="*/ 1166 w 1322"/>
                <a:gd name="T11" fmla="*/ 1450 h 1482"/>
                <a:gd name="T12" fmla="*/ 22 w 1322"/>
                <a:gd name="T13" fmla="*/ 148 h 1482"/>
                <a:gd name="T14" fmla="*/ 22 w 1322"/>
                <a:gd name="T15" fmla="*/ 148 h 1482"/>
                <a:gd name="T16" fmla="*/ 12 w 1322"/>
                <a:gd name="T17" fmla="*/ 134 h 1482"/>
                <a:gd name="T18" fmla="*/ 4 w 1322"/>
                <a:gd name="T19" fmla="*/ 118 h 1482"/>
                <a:gd name="T20" fmla="*/ 0 w 1322"/>
                <a:gd name="T21" fmla="*/ 100 h 1482"/>
                <a:gd name="T22" fmla="*/ 0 w 1322"/>
                <a:gd name="T23" fmla="*/ 84 h 1482"/>
                <a:gd name="T24" fmla="*/ 2 w 1322"/>
                <a:gd name="T25" fmla="*/ 66 h 1482"/>
                <a:gd name="T26" fmla="*/ 8 w 1322"/>
                <a:gd name="T27" fmla="*/ 50 h 1482"/>
                <a:gd name="T28" fmla="*/ 18 w 1322"/>
                <a:gd name="T29" fmla="*/ 36 h 1482"/>
                <a:gd name="T30" fmla="*/ 30 w 1322"/>
                <a:gd name="T31" fmla="*/ 22 h 1482"/>
                <a:gd name="T32" fmla="*/ 30 w 1322"/>
                <a:gd name="T33" fmla="*/ 22 h 1482"/>
                <a:gd name="T34" fmla="*/ 46 w 1322"/>
                <a:gd name="T35" fmla="*/ 12 h 1482"/>
                <a:gd name="T36" fmla="*/ 62 w 1322"/>
                <a:gd name="T37" fmla="*/ 4 h 1482"/>
                <a:gd name="T38" fmla="*/ 78 w 1322"/>
                <a:gd name="T39" fmla="*/ 0 h 1482"/>
                <a:gd name="T40" fmla="*/ 96 w 1322"/>
                <a:gd name="T41" fmla="*/ 0 h 1482"/>
                <a:gd name="T42" fmla="*/ 112 w 1322"/>
                <a:gd name="T43" fmla="*/ 2 h 1482"/>
                <a:gd name="T44" fmla="*/ 128 w 1322"/>
                <a:gd name="T45" fmla="*/ 8 h 1482"/>
                <a:gd name="T46" fmla="*/ 144 w 1322"/>
                <a:gd name="T47" fmla="*/ 18 h 1482"/>
                <a:gd name="T48" fmla="*/ 156 w 1322"/>
                <a:gd name="T49" fmla="*/ 30 h 1482"/>
                <a:gd name="T50" fmla="*/ 1300 w 1322"/>
                <a:gd name="T51" fmla="*/ 1332 h 1482"/>
                <a:gd name="T52" fmla="*/ 1300 w 1322"/>
                <a:gd name="T53" fmla="*/ 1332 h 1482"/>
                <a:gd name="T54" fmla="*/ 1310 w 1322"/>
                <a:gd name="T55" fmla="*/ 1348 h 1482"/>
                <a:gd name="T56" fmla="*/ 1318 w 1322"/>
                <a:gd name="T57" fmla="*/ 1364 h 1482"/>
                <a:gd name="T58" fmla="*/ 1322 w 1322"/>
                <a:gd name="T59" fmla="*/ 1380 h 1482"/>
                <a:gd name="T60" fmla="*/ 1322 w 1322"/>
                <a:gd name="T61" fmla="*/ 1398 h 1482"/>
                <a:gd name="T62" fmla="*/ 1320 w 1322"/>
                <a:gd name="T63" fmla="*/ 1414 h 1482"/>
                <a:gd name="T64" fmla="*/ 1314 w 1322"/>
                <a:gd name="T65" fmla="*/ 1430 h 1482"/>
                <a:gd name="T66" fmla="*/ 1304 w 1322"/>
                <a:gd name="T67" fmla="*/ 1446 h 1482"/>
                <a:gd name="T68" fmla="*/ 1292 w 1322"/>
                <a:gd name="T69" fmla="*/ 1458 h 1482"/>
                <a:gd name="T70" fmla="*/ 1292 w 1322"/>
                <a:gd name="T71" fmla="*/ 1458 h 1482"/>
                <a:gd name="T72" fmla="*/ 1278 w 1322"/>
                <a:gd name="T73" fmla="*/ 1468 h 1482"/>
                <a:gd name="T74" fmla="*/ 1264 w 1322"/>
                <a:gd name="T75" fmla="*/ 1476 h 1482"/>
                <a:gd name="T76" fmla="*/ 1248 w 1322"/>
                <a:gd name="T77" fmla="*/ 1480 h 1482"/>
                <a:gd name="T78" fmla="*/ 1232 w 1322"/>
                <a:gd name="T79" fmla="*/ 1482 h 1482"/>
                <a:gd name="T80" fmla="*/ 1232 w 1322"/>
                <a:gd name="T81" fmla="*/ 1482 h 1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22" h="1482">
                  <a:moveTo>
                    <a:pt x="1232" y="1482"/>
                  </a:moveTo>
                  <a:lnTo>
                    <a:pt x="1232" y="1482"/>
                  </a:lnTo>
                  <a:lnTo>
                    <a:pt x="1214" y="1480"/>
                  </a:lnTo>
                  <a:lnTo>
                    <a:pt x="1196" y="1474"/>
                  </a:lnTo>
                  <a:lnTo>
                    <a:pt x="1180" y="1464"/>
                  </a:lnTo>
                  <a:lnTo>
                    <a:pt x="1166" y="1450"/>
                  </a:lnTo>
                  <a:lnTo>
                    <a:pt x="22" y="148"/>
                  </a:lnTo>
                  <a:lnTo>
                    <a:pt x="22" y="148"/>
                  </a:lnTo>
                  <a:lnTo>
                    <a:pt x="12" y="134"/>
                  </a:lnTo>
                  <a:lnTo>
                    <a:pt x="4" y="118"/>
                  </a:lnTo>
                  <a:lnTo>
                    <a:pt x="0" y="100"/>
                  </a:lnTo>
                  <a:lnTo>
                    <a:pt x="0" y="84"/>
                  </a:lnTo>
                  <a:lnTo>
                    <a:pt x="2" y="66"/>
                  </a:lnTo>
                  <a:lnTo>
                    <a:pt x="8" y="50"/>
                  </a:lnTo>
                  <a:lnTo>
                    <a:pt x="18" y="36"/>
                  </a:lnTo>
                  <a:lnTo>
                    <a:pt x="30" y="22"/>
                  </a:lnTo>
                  <a:lnTo>
                    <a:pt x="30" y="22"/>
                  </a:lnTo>
                  <a:lnTo>
                    <a:pt x="46" y="12"/>
                  </a:lnTo>
                  <a:lnTo>
                    <a:pt x="62" y="4"/>
                  </a:lnTo>
                  <a:lnTo>
                    <a:pt x="78" y="0"/>
                  </a:lnTo>
                  <a:lnTo>
                    <a:pt x="96" y="0"/>
                  </a:lnTo>
                  <a:lnTo>
                    <a:pt x="112" y="2"/>
                  </a:lnTo>
                  <a:lnTo>
                    <a:pt x="128" y="8"/>
                  </a:lnTo>
                  <a:lnTo>
                    <a:pt x="144" y="18"/>
                  </a:lnTo>
                  <a:lnTo>
                    <a:pt x="156" y="30"/>
                  </a:lnTo>
                  <a:lnTo>
                    <a:pt x="1300" y="1332"/>
                  </a:lnTo>
                  <a:lnTo>
                    <a:pt x="1300" y="1332"/>
                  </a:lnTo>
                  <a:lnTo>
                    <a:pt x="1310" y="1348"/>
                  </a:lnTo>
                  <a:lnTo>
                    <a:pt x="1318" y="1364"/>
                  </a:lnTo>
                  <a:lnTo>
                    <a:pt x="1322" y="1380"/>
                  </a:lnTo>
                  <a:lnTo>
                    <a:pt x="1322" y="1398"/>
                  </a:lnTo>
                  <a:lnTo>
                    <a:pt x="1320" y="1414"/>
                  </a:lnTo>
                  <a:lnTo>
                    <a:pt x="1314" y="1430"/>
                  </a:lnTo>
                  <a:lnTo>
                    <a:pt x="1304" y="1446"/>
                  </a:lnTo>
                  <a:lnTo>
                    <a:pt x="1292" y="1458"/>
                  </a:lnTo>
                  <a:lnTo>
                    <a:pt x="1292" y="1458"/>
                  </a:lnTo>
                  <a:lnTo>
                    <a:pt x="1278" y="1468"/>
                  </a:lnTo>
                  <a:lnTo>
                    <a:pt x="1264" y="1476"/>
                  </a:lnTo>
                  <a:lnTo>
                    <a:pt x="1248" y="1480"/>
                  </a:lnTo>
                  <a:lnTo>
                    <a:pt x="1232" y="1482"/>
                  </a:lnTo>
                  <a:lnTo>
                    <a:pt x="1232" y="14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8" name="Line 67">
              <a:extLst>
                <a:ext uri="{FF2B5EF4-FFF2-40B4-BE49-F238E27FC236}">
                  <a16:creationId xmlns:a16="http://schemas.microsoft.com/office/drawing/2014/main" id="{DAF2139B-4CD4-488E-814B-7C2659402E9A}"/>
                </a:ext>
              </a:extLst>
            </p:cNvPr>
            <p:cNvSpPr>
              <a:spLocks noChangeShapeType="1"/>
            </p:cNvSpPr>
            <p:nvPr/>
          </p:nvSpPr>
          <p:spPr bwMode="auto">
            <a:xfrm>
              <a:off x="-2660650" y="46926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9" name="Freeform 68">
              <a:extLst>
                <a:ext uri="{FF2B5EF4-FFF2-40B4-BE49-F238E27FC236}">
                  <a16:creationId xmlns:a16="http://schemas.microsoft.com/office/drawing/2014/main" id="{0EDB2BBC-759F-4BB2-BCE9-9EA9ADBA3B15}"/>
                </a:ext>
              </a:extLst>
            </p:cNvPr>
            <p:cNvSpPr>
              <a:spLocks noEditPoints="1"/>
            </p:cNvSpPr>
            <p:nvPr/>
          </p:nvSpPr>
          <p:spPr bwMode="auto">
            <a:xfrm>
              <a:off x="-1898650" y="4111625"/>
              <a:ext cx="1187450" cy="285750"/>
            </a:xfrm>
            <a:custGeom>
              <a:avLst/>
              <a:gdLst>
                <a:gd name="T0" fmla="*/ 660 w 748"/>
                <a:gd name="T1" fmla="*/ 180 h 180"/>
                <a:gd name="T2" fmla="*/ 88 w 748"/>
                <a:gd name="T3" fmla="*/ 180 h 180"/>
                <a:gd name="T4" fmla="*/ 88 w 748"/>
                <a:gd name="T5" fmla="*/ 180 h 180"/>
                <a:gd name="T6" fmla="*/ 70 w 748"/>
                <a:gd name="T7" fmla="*/ 178 h 180"/>
                <a:gd name="T8" fmla="*/ 54 w 748"/>
                <a:gd name="T9" fmla="*/ 172 h 180"/>
                <a:gd name="T10" fmla="*/ 38 w 748"/>
                <a:gd name="T11" fmla="*/ 164 h 180"/>
                <a:gd name="T12" fmla="*/ 26 w 748"/>
                <a:gd name="T13" fmla="*/ 154 h 180"/>
                <a:gd name="T14" fmla="*/ 14 w 748"/>
                <a:gd name="T15" fmla="*/ 140 h 180"/>
                <a:gd name="T16" fmla="*/ 6 w 748"/>
                <a:gd name="T17" fmla="*/ 124 h 180"/>
                <a:gd name="T18" fmla="*/ 0 w 748"/>
                <a:gd name="T19" fmla="*/ 108 h 180"/>
                <a:gd name="T20" fmla="*/ 0 w 748"/>
                <a:gd name="T21" fmla="*/ 90 h 180"/>
                <a:gd name="T22" fmla="*/ 0 w 748"/>
                <a:gd name="T23" fmla="*/ 90 h 180"/>
                <a:gd name="T24" fmla="*/ 0 w 748"/>
                <a:gd name="T25" fmla="*/ 72 h 180"/>
                <a:gd name="T26" fmla="*/ 6 w 748"/>
                <a:gd name="T27" fmla="*/ 56 h 180"/>
                <a:gd name="T28" fmla="*/ 14 w 748"/>
                <a:gd name="T29" fmla="*/ 40 h 180"/>
                <a:gd name="T30" fmla="*/ 26 w 748"/>
                <a:gd name="T31" fmla="*/ 26 h 180"/>
                <a:gd name="T32" fmla="*/ 38 w 748"/>
                <a:gd name="T33" fmla="*/ 16 h 180"/>
                <a:gd name="T34" fmla="*/ 54 w 748"/>
                <a:gd name="T35" fmla="*/ 8 h 180"/>
                <a:gd name="T36" fmla="*/ 70 w 748"/>
                <a:gd name="T37" fmla="*/ 2 h 180"/>
                <a:gd name="T38" fmla="*/ 88 w 748"/>
                <a:gd name="T39" fmla="*/ 0 h 180"/>
                <a:gd name="T40" fmla="*/ 660 w 748"/>
                <a:gd name="T41" fmla="*/ 0 h 180"/>
                <a:gd name="T42" fmla="*/ 660 w 748"/>
                <a:gd name="T43" fmla="*/ 0 h 180"/>
                <a:gd name="T44" fmla="*/ 678 w 748"/>
                <a:gd name="T45" fmla="*/ 2 h 180"/>
                <a:gd name="T46" fmla="*/ 694 w 748"/>
                <a:gd name="T47" fmla="*/ 8 h 180"/>
                <a:gd name="T48" fmla="*/ 710 w 748"/>
                <a:gd name="T49" fmla="*/ 16 h 180"/>
                <a:gd name="T50" fmla="*/ 722 w 748"/>
                <a:gd name="T51" fmla="*/ 26 h 180"/>
                <a:gd name="T52" fmla="*/ 734 w 748"/>
                <a:gd name="T53" fmla="*/ 40 h 180"/>
                <a:gd name="T54" fmla="*/ 742 w 748"/>
                <a:gd name="T55" fmla="*/ 56 h 180"/>
                <a:gd name="T56" fmla="*/ 748 w 748"/>
                <a:gd name="T57" fmla="*/ 72 h 180"/>
                <a:gd name="T58" fmla="*/ 748 w 748"/>
                <a:gd name="T59" fmla="*/ 90 h 180"/>
                <a:gd name="T60" fmla="*/ 748 w 748"/>
                <a:gd name="T61" fmla="*/ 90 h 180"/>
                <a:gd name="T62" fmla="*/ 748 w 748"/>
                <a:gd name="T63" fmla="*/ 108 h 180"/>
                <a:gd name="T64" fmla="*/ 742 w 748"/>
                <a:gd name="T65" fmla="*/ 124 h 180"/>
                <a:gd name="T66" fmla="*/ 734 w 748"/>
                <a:gd name="T67" fmla="*/ 140 h 180"/>
                <a:gd name="T68" fmla="*/ 722 w 748"/>
                <a:gd name="T69" fmla="*/ 154 h 180"/>
                <a:gd name="T70" fmla="*/ 710 w 748"/>
                <a:gd name="T71" fmla="*/ 164 h 180"/>
                <a:gd name="T72" fmla="*/ 694 w 748"/>
                <a:gd name="T73" fmla="*/ 172 h 180"/>
                <a:gd name="T74" fmla="*/ 678 w 748"/>
                <a:gd name="T75" fmla="*/ 178 h 180"/>
                <a:gd name="T76" fmla="*/ 660 w 748"/>
                <a:gd name="T77" fmla="*/ 180 h 180"/>
                <a:gd name="T78" fmla="*/ 660 w 748"/>
                <a:gd name="T79" fmla="*/ 180 h 180"/>
                <a:gd name="T80" fmla="*/ 660 w 748"/>
                <a:gd name="T81" fmla="*/ 180 h 180"/>
                <a:gd name="T82" fmla="*/ 660 w 748"/>
                <a:gd name="T83"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48" h="180">
                  <a:moveTo>
                    <a:pt x="660" y="180"/>
                  </a:moveTo>
                  <a:lnTo>
                    <a:pt x="88" y="180"/>
                  </a:lnTo>
                  <a:lnTo>
                    <a:pt x="88" y="180"/>
                  </a:lnTo>
                  <a:lnTo>
                    <a:pt x="70" y="178"/>
                  </a:lnTo>
                  <a:lnTo>
                    <a:pt x="54" y="172"/>
                  </a:lnTo>
                  <a:lnTo>
                    <a:pt x="38" y="164"/>
                  </a:lnTo>
                  <a:lnTo>
                    <a:pt x="26" y="154"/>
                  </a:lnTo>
                  <a:lnTo>
                    <a:pt x="14" y="140"/>
                  </a:lnTo>
                  <a:lnTo>
                    <a:pt x="6" y="124"/>
                  </a:lnTo>
                  <a:lnTo>
                    <a:pt x="0" y="108"/>
                  </a:lnTo>
                  <a:lnTo>
                    <a:pt x="0" y="90"/>
                  </a:lnTo>
                  <a:lnTo>
                    <a:pt x="0" y="90"/>
                  </a:lnTo>
                  <a:lnTo>
                    <a:pt x="0" y="72"/>
                  </a:lnTo>
                  <a:lnTo>
                    <a:pt x="6" y="56"/>
                  </a:lnTo>
                  <a:lnTo>
                    <a:pt x="14" y="40"/>
                  </a:lnTo>
                  <a:lnTo>
                    <a:pt x="26" y="26"/>
                  </a:lnTo>
                  <a:lnTo>
                    <a:pt x="38" y="16"/>
                  </a:lnTo>
                  <a:lnTo>
                    <a:pt x="54" y="8"/>
                  </a:lnTo>
                  <a:lnTo>
                    <a:pt x="70" y="2"/>
                  </a:lnTo>
                  <a:lnTo>
                    <a:pt x="88" y="0"/>
                  </a:lnTo>
                  <a:lnTo>
                    <a:pt x="660" y="0"/>
                  </a:lnTo>
                  <a:lnTo>
                    <a:pt x="660" y="0"/>
                  </a:lnTo>
                  <a:lnTo>
                    <a:pt x="678" y="2"/>
                  </a:lnTo>
                  <a:lnTo>
                    <a:pt x="694" y="8"/>
                  </a:lnTo>
                  <a:lnTo>
                    <a:pt x="710" y="16"/>
                  </a:lnTo>
                  <a:lnTo>
                    <a:pt x="722" y="26"/>
                  </a:lnTo>
                  <a:lnTo>
                    <a:pt x="734" y="40"/>
                  </a:lnTo>
                  <a:lnTo>
                    <a:pt x="742" y="56"/>
                  </a:lnTo>
                  <a:lnTo>
                    <a:pt x="748" y="72"/>
                  </a:lnTo>
                  <a:lnTo>
                    <a:pt x="748" y="90"/>
                  </a:lnTo>
                  <a:lnTo>
                    <a:pt x="748" y="90"/>
                  </a:lnTo>
                  <a:lnTo>
                    <a:pt x="748" y="108"/>
                  </a:lnTo>
                  <a:lnTo>
                    <a:pt x="742" y="124"/>
                  </a:lnTo>
                  <a:lnTo>
                    <a:pt x="734" y="140"/>
                  </a:lnTo>
                  <a:lnTo>
                    <a:pt x="722" y="154"/>
                  </a:lnTo>
                  <a:lnTo>
                    <a:pt x="710" y="164"/>
                  </a:lnTo>
                  <a:lnTo>
                    <a:pt x="694" y="172"/>
                  </a:lnTo>
                  <a:lnTo>
                    <a:pt x="678" y="178"/>
                  </a:lnTo>
                  <a:lnTo>
                    <a:pt x="660" y="180"/>
                  </a:lnTo>
                  <a:lnTo>
                    <a:pt x="660" y="180"/>
                  </a:lnTo>
                  <a:close/>
                  <a:moveTo>
                    <a:pt x="660" y="180"/>
                  </a:moveTo>
                  <a:lnTo>
                    <a:pt x="660" y="18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0" name="Line 70">
              <a:extLst>
                <a:ext uri="{FF2B5EF4-FFF2-40B4-BE49-F238E27FC236}">
                  <a16:creationId xmlns:a16="http://schemas.microsoft.com/office/drawing/2014/main" id="{6689DE3F-CA6E-4817-AA8B-FD41939E9A70}"/>
                </a:ext>
              </a:extLst>
            </p:cNvPr>
            <p:cNvSpPr>
              <a:spLocks noChangeShapeType="1"/>
            </p:cNvSpPr>
            <p:nvPr/>
          </p:nvSpPr>
          <p:spPr bwMode="auto">
            <a:xfrm>
              <a:off x="-584200" y="439737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1" name="Freeform 71">
              <a:extLst>
                <a:ext uri="{FF2B5EF4-FFF2-40B4-BE49-F238E27FC236}">
                  <a16:creationId xmlns:a16="http://schemas.microsoft.com/office/drawing/2014/main" id="{E9E2FD1D-C826-4A9D-95A4-7B2079BCC803}"/>
                </a:ext>
              </a:extLst>
            </p:cNvPr>
            <p:cNvSpPr>
              <a:spLocks noEditPoints="1"/>
            </p:cNvSpPr>
            <p:nvPr/>
          </p:nvSpPr>
          <p:spPr bwMode="auto">
            <a:xfrm>
              <a:off x="-3860800" y="3324225"/>
              <a:ext cx="1857375" cy="1860550"/>
            </a:xfrm>
            <a:custGeom>
              <a:avLst/>
              <a:gdLst>
                <a:gd name="T0" fmla="*/ 1170 w 1170"/>
                <a:gd name="T1" fmla="*/ 616 h 1172"/>
                <a:gd name="T2" fmla="*/ 1160 w 1170"/>
                <a:gd name="T3" fmla="*/ 704 h 1172"/>
                <a:gd name="T4" fmla="*/ 1136 w 1170"/>
                <a:gd name="T5" fmla="*/ 788 h 1172"/>
                <a:gd name="T6" fmla="*/ 1100 w 1170"/>
                <a:gd name="T7" fmla="*/ 866 h 1172"/>
                <a:gd name="T8" fmla="*/ 1054 w 1170"/>
                <a:gd name="T9" fmla="*/ 936 h 1172"/>
                <a:gd name="T10" fmla="*/ 1000 w 1170"/>
                <a:gd name="T11" fmla="*/ 1000 h 1172"/>
                <a:gd name="T12" fmla="*/ 936 w 1170"/>
                <a:gd name="T13" fmla="*/ 1056 h 1172"/>
                <a:gd name="T14" fmla="*/ 864 w 1170"/>
                <a:gd name="T15" fmla="*/ 1102 h 1172"/>
                <a:gd name="T16" fmla="*/ 786 w 1170"/>
                <a:gd name="T17" fmla="*/ 1136 h 1172"/>
                <a:gd name="T18" fmla="*/ 704 w 1170"/>
                <a:gd name="T19" fmla="*/ 1160 h 1172"/>
                <a:gd name="T20" fmla="*/ 616 w 1170"/>
                <a:gd name="T21" fmla="*/ 1172 h 1172"/>
                <a:gd name="T22" fmla="*/ 554 w 1170"/>
                <a:gd name="T23" fmla="*/ 1172 h 1172"/>
                <a:gd name="T24" fmla="*/ 466 w 1170"/>
                <a:gd name="T25" fmla="*/ 1160 h 1172"/>
                <a:gd name="T26" fmla="*/ 384 w 1170"/>
                <a:gd name="T27" fmla="*/ 1136 h 1172"/>
                <a:gd name="T28" fmla="*/ 306 w 1170"/>
                <a:gd name="T29" fmla="*/ 1102 h 1172"/>
                <a:gd name="T30" fmla="*/ 234 w 1170"/>
                <a:gd name="T31" fmla="*/ 1056 h 1172"/>
                <a:gd name="T32" fmla="*/ 170 w 1170"/>
                <a:gd name="T33" fmla="*/ 1000 h 1172"/>
                <a:gd name="T34" fmla="*/ 116 w 1170"/>
                <a:gd name="T35" fmla="*/ 936 h 1172"/>
                <a:gd name="T36" fmla="*/ 70 w 1170"/>
                <a:gd name="T37" fmla="*/ 866 h 1172"/>
                <a:gd name="T38" fmla="*/ 34 w 1170"/>
                <a:gd name="T39" fmla="*/ 788 h 1172"/>
                <a:gd name="T40" fmla="*/ 10 w 1170"/>
                <a:gd name="T41" fmla="*/ 704 h 1172"/>
                <a:gd name="T42" fmla="*/ 0 w 1170"/>
                <a:gd name="T43" fmla="*/ 616 h 1172"/>
                <a:gd name="T44" fmla="*/ 0 w 1170"/>
                <a:gd name="T45" fmla="*/ 556 h 1172"/>
                <a:gd name="T46" fmla="*/ 10 w 1170"/>
                <a:gd name="T47" fmla="*/ 468 h 1172"/>
                <a:gd name="T48" fmla="*/ 34 w 1170"/>
                <a:gd name="T49" fmla="*/ 384 h 1172"/>
                <a:gd name="T50" fmla="*/ 70 w 1170"/>
                <a:gd name="T51" fmla="*/ 306 h 1172"/>
                <a:gd name="T52" fmla="*/ 116 w 1170"/>
                <a:gd name="T53" fmla="*/ 236 h 1172"/>
                <a:gd name="T54" fmla="*/ 170 w 1170"/>
                <a:gd name="T55" fmla="*/ 172 h 1172"/>
                <a:gd name="T56" fmla="*/ 234 w 1170"/>
                <a:gd name="T57" fmla="*/ 116 h 1172"/>
                <a:gd name="T58" fmla="*/ 306 w 1170"/>
                <a:gd name="T59" fmla="*/ 70 h 1172"/>
                <a:gd name="T60" fmla="*/ 384 w 1170"/>
                <a:gd name="T61" fmla="*/ 36 h 1172"/>
                <a:gd name="T62" fmla="*/ 466 w 1170"/>
                <a:gd name="T63" fmla="*/ 12 h 1172"/>
                <a:gd name="T64" fmla="*/ 554 w 1170"/>
                <a:gd name="T65" fmla="*/ 0 h 1172"/>
                <a:gd name="T66" fmla="*/ 616 w 1170"/>
                <a:gd name="T67" fmla="*/ 0 h 1172"/>
                <a:gd name="T68" fmla="*/ 704 w 1170"/>
                <a:gd name="T69" fmla="*/ 12 h 1172"/>
                <a:gd name="T70" fmla="*/ 786 w 1170"/>
                <a:gd name="T71" fmla="*/ 36 h 1172"/>
                <a:gd name="T72" fmla="*/ 864 w 1170"/>
                <a:gd name="T73" fmla="*/ 70 h 1172"/>
                <a:gd name="T74" fmla="*/ 936 w 1170"/>
                <a:gd name="T75" fmla="*/ 116 h 1172"/>
                <a:gd name="T76" fmla="*/ 1000 w 1170"/>
                <a:gd name="T77" fmla="*/ 172 h 1172"/>
                <a:gd name="T78" fmla="*/ 1054 w 1170"/>
                <a:gd name="T79" fmla="*/ 236 h 1172"/>
                <a:gd name="T80" fmla="*/ 1100 w 1170"/>
                <a:gd name="T81" fmla="*/ 306 h 1172"/>
                <a:gd name="T82" fmla="*/ 1136 w 1170"/>
                <a:gd name="T83" fmla="*/ 384 h 1172"/>
                <a:gd name="T84" fmla="*/ 1160 w 1170"/>
                <a:gd name="T85" fmla="*/ 468 h 1172"/>
                <a:gd name="T86" fmla="*/ 1170 w 1170"/>
                <a:gd name="T87" fmla="*/ 556 h 1172"/>
                <a:gd name="T88" fmla="*/ 1170 w 1170"/>
                <a:gd name="T89" fmla="*/ 586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70" h="1172">
                  <a:moveTo>
                    <a:pt x="1170" y="586"/>
                  </a:moveTo>
                  <a:lnTo>
                    <a:pt x="1170" y="586"/>
                  </a:lnTo>
                  <a:lnTo>
                    <a:pt x="1170" y="616"/>
                  </a:lnTo>
                  <a:lnTo>
                    <a:pt x="1168" y="646"/>
                  </a:lnTo>
                  <a:lnTo>
                    <a:pt x="1164" y="676"/>
                  </a:lnTo>
                  <a:lnTo>
                    <a:pt x="1160" y="704"/>
                  </a:lnTo>
                  <a:lnTo>
                    <a:pt x="1152" y="732"/>
                  </a:lnTo>
                  <a:lnTo>
                    <a:pt x="1144" y="760"/>
                  </a:lnTo>
                  <a:lnTo>
                    <a:pt x="1136" y="788"/>
                  </a:lnTo>
                  <a:lnTo>
                    <a:pt x="1124" y="814"/>
                  </a:lnTo>
                  <a:lnTo>
                    <a:pt x="1114" y="840"/>
                  </a:lnTo>
                  <a:lnTo>
                    <a:pt x="1100" y="866"/>
                  </a:lnTo>
                  <a:lnTo>
                    <a:pt x="1086" y="890"/>
                  </a:lnTo>
                  <a:lnTo>
                    <a:pt x="1070" y="914"/>
                  </a:lnTo>
                  <a:lnTo>
                    <a:pt x="1054" y="936"/>
                  </a:lnTo>
                  <a:lnTo>
                    <a:pt x="1038" y="958"/>
                  </a:lnTo>
                  <a:lnTo>
                    <a:pt x="1018" y="980"/>
                  </a:lnTo>
                  <a:lnTo>
                    <a:pt x="1000" y="1000"/>
                  </a:lnTo>
                  <a:lnTo>
                    <a:pt x="980" y="1020"/>
                  </a:lnTo>
                  <a:lnTo>
                    <a:pt x="958" y="1038"/>
                  </a:lnTo>
                  <a:lnTo>
                    <a:pt x="936" y="1056"/>
                  </a:lnTo>
                  <a:lnTo>
                    <a:pt x="912" y="1072"/>
                  </a:lnTo>
                  <a:lnTo>
                    <a:pt x="888" y="1088"/>
                  </a:lnTo>
                  <a:lnTo>
                    <a:pt x="864" y="1102"/>
                  </a:lnTo>
                  <a:lnTo>
                    <a:pt x="840" y="1114"/>
                  </a:lnTo>
                  <a:lnTo>
                    <a:pt x="814" y="1126"/>
                  </a:lnTo>
                  <a:lnTo>
                    <a:pt x="786" y="1136"/>
                  </a:lnTo>
                  <a:lnTo>
                    <a:pt x="760" y="1146"/>
                  </a:lnTo>
                  <a:lnTo>
                    <a:pt x="732" y="1154"/>
                  </a:lnTo>
                  <a:lnTo>
                    <a:pt x="704" y="1160"/>
                  </a:lnTo>
                  <a:lnTo>
                    <a:pt x="674" y="1166"/>
                  </a:lnTo>
                  <a:lnTo>
                    <a:pt x="644" y="1170"/>
                  </a:lnTo>
                  <a:lnTo>
                    <a:pt x="616" y="1172"/>
                  </a:lnTo>
                  <a:lnTo>
                    <a:pt x="586" y="1172"/>
                  </a:lnTo>
                  <a:lnTo>
                    <a:pt x="586" y="1172"/>
                  </a:lnTo>
                  <a:lnTo>
                    <a:pt x="554" y="1172"/>
                  </a:lnTo>
                  <a:lnTo>
                    <a:pt x="526" y="1170"/>
                  </a:lnTo>
                  <a:lnTo>
                    <a:pt x="496" y="1166"/>
                  </a:lnTo>
                  <a:lnTo>
                    <a:pt x="466" y="1160"/>
                  </a:lnTo>
                  <a:lnTo>
                    <a:pt x="438" y="1154"/>
                  </a:lnTo>
                  <a:lnTo>
                    <a:pt x="410" y="1146"/>
                  </a:lnTo>
                  <a:lnTo>
                    <a:pt x="384" y="1136"/>
                  </a:lnTo>
                  <a:lnTo>
                    <a:pt x="356" y="1126"/>
                  </a:lnTo>
                  <a:lnTo>
                    <a:pt x="330" y="1114"/>
                  </a:lnTo>
                  <a:lnTo>
                    <a:pt x="306" y="1102"/>
                  </a:lnTo>
                  <a:lnTo>
                    <a:pt x="282" y="1088"/>
                  </a:lnTo>
                  <a:lnTo>
                    <a:pt x="258" y="1072"/>
                  </a:lnTo>
                  <a:lnTo>
                    <a:pt x="234" y="1056"/>
                  </a:lnTo>
                  <a:lnTo>
                    <a:pt x="212" y="1038"/>
                  </a:lnTo>
                  <a:lnTo>
                    <a:pt x="192" y="1020"/>
                  </a:lnTo>
                  <a:lnTo>
                    <a:pt x="170" y="1000"/>
                  </a:lnTo>
                  <a:lnTo>
                    <a:pt x="152" y="980"/>
                  </a:lnTo>
                  <a:lnTo>
                    <a:pt x="132" y="958"/>
                  </a:lnTo>
                  <a:lnTo>
                    <a:pt x="116" y="936"/>
                  </a:lnTo>
                  <a:lnTo>
                    <a:pt x="100" y="914"/>
                  </a:lnTo>
                  <a:lnTo>
                    <a:pt x="84" y="890"/>
                  </a:lnTo>
                  <a:lnTo>
                    <a:pt x="70" y="866"/>
                  </a:lnTo>
                  <a:lnTo>
                    <a:pt x="56" y="840"/>
                  </a:lnTo>
                  <a:lnTo>
                    <a:pt x="46" y="814"/>
                  </a:lnTo>
                  <a:lnTo>
                    <a:pt x="34" y="788"/>
                  </a:lnTo>
                  <a:lnTo>
                    <a:pt x="26" y="760"/>
                  </a:lnTo>
                  <a:lnTo>
                    <a:pt x="18" y="732"/>
                  </a:lnTo>
                  <a:lnTo>
                    <a:pt x="10" y="704"/>
                  </a:lnTo>
                  <a:lnTo>
                    <a:pt x="6" y="676"/>
                  </a:lnTo>
                  <a:lnTo>
                    <a:pt x="2" y="646"/>
                  </a:lnTo>
                  <a:lnTo>
                    <a:pt x="0" y="616"/>
                  </a:lnTo>
                  <a:lnTo>
                    <a:pt x="0" y="586"/>
                  </a:lnTo>
                  <a:lnTo>
                    <a:pt x="0" y="586"/>
                  </a:lnTo>
                  <a:lnTo>
                    <a:pt x="0" y="556"/>
                  </a:lnTo>
                  <a:lnTo>
                    <a:pt x="2" y="526"/>
                  </a:lnTo>
                  <a:lnTo>
                    <a:pt x="6" y="496"/>
                  </a:lnTo>
                  <a:lnTo>
                    <a:pt x="10" y="468"/>
                  </a:lnTo>
                  <a:lnTo>
                    <a:pt x="18" y="440"/>
                  </a:lnTo>
                  <a:lnTo>
                    <a:pt x="26" y="412"/>
                  </a:lnTo>
                  <a:lnTo>
                    <a:pt x="34" y="384"/>
                  </a:lnTo>
                  <a:lnTo>
                    <a:pt x="46" y="358"/>
                  </a:lnTo>
                  <a:lnTo>
                    <a:pt x="56" y="332"/>
                  </a:lnTo>
                  <a:lnTo>
                    <a:pt x="70" y="306"/>
                  </a:lnTo>
                  <a:lnTo>
                    <a:pt x="84" y="282"/>
                  </a:lnTo>
                  <a:lnTo>
                    <a:pt x="100" y="258"/>
                  </a:lnTo>
                  <a:lnTo>
                    <a:pt x="116" y="236"/>
                  </a:lnTo>
                  <a:lnTo>
                    <a:pt x="132" y="214"/>
                  </a:lnTo>
                  <a:lnTo>
                    <a:pt x="152" y="192"/>
                  </a:lnTo>
                  <a:lnTo>
                    <a:pt x="170" y="172"/>
                  </a:lnTo>
                  <a:lnTo>
                    <a:pt x="192" y="152"/>
                  </a:lnTo>
                  <a:lnTo>
                    <a:pt x="212" y="134"/>
                  </a:lnTo>
                  <a:lnTo>
                    <a:pt x="234" y="116"/>
                  </a:lnTo>
                  <a:lnTo>
                    <a:pt x="258" y="100"/>
                  </a:lnTo>
                  <a:lnTo>
                    <a:pt x="282" y="84"/>
                  </a:lnTo>
                  <a:lnTo>
                    <a:pt x="306" y="70"/>
                  </a:lnTo>
                  <a:lnTo>
                    <a:pt x="330" y="58"/>
                  </a:lnTo>
                  <a:lnTo>
                    <a:pt x="356" y="46"/>
                  </a:lnTo>
                  <a:lnTo>
                    <a:pt x="384" y="36"/>
                  </a:lnTo>
                  <a:lnTo>
                    <a:pt x="410" y="26"/>
                  </a:lnTo>
                  <a:lnTo>
                    <a:pt x="438" y="18"/>
                  </a:lnTo>
                  <a:lnTo>
                    <a:pt x="466" y="12"/>
                  </a:lnTo>
                  <a:lnTo>
                    <a:pt x="496" y="6"/>
                  </a:lnTo>
                  <a:lnTo>
                    <a:pt x="526" y="4"/>
                  </a:lnTo>
                  <a:lnTo>
                    <a:pt x="554" y="0"/>
                  </a:lnTo>
                  <a:lnTo>
                    <a:pt x="586" y="0"/>
                  </a:lnTo>
                  <a:lnTo>
                    <a:pt x="586" y="0"/>
                  </a:lnTo>
                  <a:lnTo>
                    <a:pt x="616" y="0"/>
                  </a:lnTo>
                  <a:lnTo>
                    <a:pt x="644" y="4"/>
                  </a:lnTo>
                  <a:lnTo>
                    <a:pt x="674" y="6"/>
                  </a:lnTo>
                  <a:lnTo>
                    <a:pt x="704" y="12"/>
                  </a:lnTo>
                  <a:lnTo>
                    <a:pt x="732" y="18"/>
                  </a:lnTo>
                  <a:lnTo>
                    <a:pt x="760" y="26"/>
                  </a:lnTo>
                  <a:lnTo>
                    <a:pt x="786" y="36"/>
                  </a:lnTo>
                  <a:lnTo>
                    <a:pt x="814" y="46"/>
                  </a:lnTo>
                  <a:lnTo>
                    <a:pt x="840" y="58"/>
                  </a:lnTo>
                  <a:lnTo>
                    <a:pt x="864" y="70"/>
                  </a:lnTo>
                  <a:lnTo>
                    <a:pt x="888" y="84"/>
                  </a:lnTo>
                  <a:lnTo>
                    <a:pt x="912" y="100"/>
                  </a:lnTo>
                  <a:lnTo>
                    <a:pt x="936" y="116"/>
                  </a:lnTo>
                  <a:lnTo>
                    <a:pt x="958" y="134"/>
                  </a:lnTo>
                  <a:lnTo>
                    <a:pt x="980" y="152"/>
                  </a:lnTo>
                  <a:lnTo>
                    <a:pt x="1000" y="172"/>
                  </a:lnTo>
                  <a:lnTo>
                    <a:pt x="1018" y="192"/>
                  </a:lnTo>
                  <a:lnTo>
                    <a:pt x="1038" y="214"/>
                  </a:lnTo>
                  <a:lnTo>
                    <a:pt x="1054" y="236"/>
                  </a:lnTo>
                  <a:lnTo>
                    <a:pt x="1070" y="258"/>
                  </a:lnTo>
                  <a:lnTo>
                    <a:pt x="1086" y="282"/>
                  </a:lnTo>
                  <a:lnTo>
                    <a:pt x="1100" y="306"/>
                  </a:lnTo>
                  <a:lnTo>
                    <a:pt x="1114" y="332"/>
                  </a:lnTo>
                  <a:lnTo>
                    <a:pt x="1124" y="358"/>
                  </a:lnTo>
                  <a:lnTo>
                    <a:pt x="1136" y="384"/>
                  </a:lnTo>
                  <a:lnTo>
                    <a:pt x="1144" y="412"/>
                  </a:lnTo>
                  <a:lnTo>
                    <a:pt x="1152" y="440"/>
                  </a:lnTo>
                  <a:lnTo>
                    <a:pt x="1160" y="468"/>
                  </a:lnTo>
                  <a:lnTo>
                    <a:pt x="1164" y="496"/>
                  </a:lnTo>
                  <a:lnTo>
                    <a:pt x="1168" y="526"/>
                  </a:lnTo>
                  <a:lnTo>
                    <a:pt x="1170" y="556"/>
                  </a:lnTo>
                  <a:lnTo>
                    <a:pt x="1170" y="586"/>
                  </a:lnTo>
                  <a:lnTo>
                    <a:pt x="1170" y="586"/>
                  </a:lnTo>
                  <a:close/>
                  <a:moveTo>
                    <a:pt x="1170" y="586"/>
                  </a:moveTo>
                  <a:lnTo>
                    <a:pt x="1170" y="586"/>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2" name="Freeform 72">
              <a:extLst>
                <a:ext uri="{FF2B5EF4-FFF2-40B4-BE49-F238E27FC236}">
                  <a16:creationId xmlns:a16="http://schemas.microsoft.com/office/drawing/2014/main" id="{59D35CD7-AA6A-462A-9933-AEF44FE19AA0}"/>
                </a:ext>
              </a:extLst>
            </p:cNvPr>
            <p:cNvSpPr>
              <a:spLocks/>
            </p:cNvSpPr>
            <p:nvPr/>
          </p:nvSpPr>
          <p:spPr bwMode="auto">
            <a:xfrm>
              <a:off x="-3860800" y="3324225"/>
              <a:ext cx="1857375" cy="1860550"/>
            </a:xfrm>
            <a:custGeom>
              <a:avLst/>
              <a:gdLst>
                <a:gd name="T0" fmla="*/ 1170 w 1170"/>
                <a:gd name="T1" fmla="*/ 616 h 1172"/>
                <a:gd name="T2" fmla="*/ 1160 w 1170"/>
                <a:gd name="T3" fmla="*/ 704 h 1172"/>
                <a:gd name="T4" fmla="*/ 1136 w 1170"/>
                <a:gd name="T5" fmla="*/ 788 h 1172"/>
                <a:gd name="T6" fmla="*/ 1100 w 1170"/>
                <a:gd name="T7" fmla="*/ 866 h 1172"/>
                <a:gd name="T8" fmla="*/ 1054 w 1170"/>
                <a:gd name="T9" fmla="*/ 936 h 1172"/>
                <a:gd name="T10" fmla="*/ 1000 w 1170"/>
                <a:gd name="T11" fmla="*/ 1000 h 1172"/>
                <a:gd name="T12" fmla="*/ 936 w 1170"/>
                <a:gd name="T13" fmla="*/ 1056 h 1172"/>
                <a:gd name="T14" fmla="*/ 864 w 1170"/>
                <a:gd name="T15" fmla="*/ 1102 h 1172"/>
                <a:gd name="T16" fmla="*/ 786 w 1170"/>
                <a:gd name="T17" fmla="*/ 1136 h 1172"/>
                <a:gd name="T18" fmla="*/ 704 w 1170"/>
                <a:gd name="T19" fmla="*/ 1160 h 1172"/>
                <a:gd name="T20" fmla="*/ 616 w 1170"/>
                <a:gd name="T21" fmla="*/ 1172 h 1172"/>
                <a:gd name="T22" fmla="*/ 554 w 1170"/>
                <a:gd name="T23" fmla="*/ 1172 h 1172"/>
                <a:gd name="T24" fmla="*/ 466 w 1170"/>
                <a:gd name="T25" fmla="*/ 1160 h 1172"/>
                <a:gd name="T26" fmla="*/ 384 w 1170"/>
                <a:gd name="T27" fmla="*/ 1136 h 1172"/>
                <a:gd name="T28" fmla="*/ 306 w 1170"/>
                <a:gd name="T29" fmla="*/ 1102 h 1172"/>
                <a:gd name="T30" fmla="*/ 234 w 1170"/>
                <a:gd name="T31" fmla="*/ 1056 h 1172"/>
                <a:gd name="T32" fmla="*/ 170 w 1170"/>
                <a:gd name="T33" fmla="*/ 1000 h 1172"/>
                <a:gd name="T34" fmla="*/ 116 w 1170"/>
                <a:gd name="T35" fmla="*/ 936 h 1172"/>
                <a:gd name="T36" fmla="*/ 70 w 1170"/>
                <a:gd name="T37" fmla="*/ 866 h 1172"/>
                <a:gd name="T38" fmla="*/ 34 w 1170"/>
                <a:gd name="T39" fmla="*/ 788 h 1172"/>
                <a:gd name="T40" fmla="*/ 10 w 1170"/>
                <a:gd name="T41" fmla="*/ 704 h 1172"/>
                <a:gd name="T42" fmla="*/ 0 w 1170"/>
                <a:gd name="T43" fmla="*/ 616 h 1172"/>
                <a:gd name="T44" fmla="*/ 0 w 1170"/>
                <a:gd name="T45" fmla="*/ 556 h 1172"/>
                <a:gd name="T46" fmla="*/ 10 w 1170"/>
                <a:gd name="T47" fmla="*/ 468 h 1172"/>
                <a:gd name="T48" fmla="*/ 34 w 1170"/>
                <a:gd name="T49" fmla="*/ 384 h 1172"/>
                <a:gd name="T50" fmla="*/ 70 w 1170"/>
                <a:gd name="T51" fmla="*/ 306 h 1172"/>
                <a:gd name="T52" fmla="*/ 116 w 1170"/>
                <a:gd name="T53" fmla="*/ 236 h 1172"/>
                <a:gd name="T54" fmla="*/ 170 w 1170"/>
                <a:gd name="T55" fmla="*/ 172 h 1172"/>
                <a:gd name="T56" fmla="*/ 234 w 1170"/>
                <a:gd name="T57" fmla="*/ 116 h 1172"/>
                <a:gd name="T58" fmla="*/ 306 w 1170"/>
                <a:gd name="T59" fmla="*/ 70 h 1172"/>
                <a:gd name="T60" fmla="*/ 384 w 1170"/>
                <a:gd name="T61" fmla="*/ 36 h 1172"/>
                <a:gd name="T62" fmla="*/ 466 w 1170"/>
                <a:gd name="T63" fmla="*/ 12 h 1172"/>
                <a:gd name="T64" fmla="*/ 554 w 1170"/>
                <a:gd name="T65" fmla="*/ 0 h 1172"/>
                <a:gd name="T66" fmla="*/ 616 w 1170"/>
                <a:gd name="T67" fmla="*/ 0 h 1172"/>
                <a:gd name="T68" fmla="*/ 704 w 1170"/>
                <a:gd name="T69" fmla="*/ 12 h 1172"/>
                <a:gd name="T70" fmla="*/ 786 w 1170"/>
                <a:gd name="T71" fmla="*/ 36 h 1172"/>
                <a:gd name="T72" fmla="*/ 864 w 1170"/>
                <a:gd name="T73" fmla="*/ 70 h 1172"/>
                <a:gd name="T74" fmla="*/ 936 w 1170"/>
                <a:gd name="T75" fmla="*/ 116 h 1172"/>
                <a:gd name="T76" fmla="*/ 1000 w 1170"/>
                <a:gd name="T77" fmla="*/ 172 h 1172"/>
                <a:gd name="T78" fmla="*/ 1054 w 1170"/>
                <a:gd name="T79" fmla="*/ 236 h 1172"/>
                <a:gd name="T80" fmla="*/ 1100 w 1170"/>
                <a:gd name="T81" fmla="*/ 306 h 1172"/>
                <a:gd name="T82" fmla="*/ 1136 w 1170"/>
                <a:gd name="T83" fmla="*/ 384 h 1172"/>
                <a:gd name="T84" fmla="*/ 1160 w 1170"/>
                <a:gd name="T85" fmla="*/ 468 h 1172"/>
                <a:gd name="T86" fmla="*/ 1170 w 1170"/>
                <a:gd name="T87" fmla="*/ 556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70" h="1172">
                  <a:moveTo>
                    <a:pt x="1170" y="586"/>
                  </a:moveTo>
                  <a:lnTo>
                    <a:pt x="1170" y="586"/>
                  </a:lnTo>
                  <a:lnTo>
                    <a:pt x="1170" y="616"/>
                  </a:lnTo>
                  <a:lnTo>
                    <a:pt x="1168" y="646"/>
                  </a:lnTo>
                  <a:lnTo>
                    <a:pt x="1164" y="676"/>
                  </a:lnTo>
                  <a:lnTo>
                    <a:pt x="1160" y="704"/>
                  </a:lnTo>
                  <a:lnTo>
                    <a:pt x="1152" y="732"/>
                  </a:lnTo>
                  <a:lnTo>
                    <a:pt x="1144" y="760"/>
                  </a:lnTo>
                  <a:lnTo>
                    <a:pt x="1136" y="788"/>
                  </a:lnTo>
                  <a:lnTo>
                    <a:pt x="1124" y="814"/>
                  </a:lnTo>
                  <a:lnTo>
                    <a:pt x="1114" y="840"/>
                  </a:lnTo>
                  <a:lnTo>
                    <a:pt x="1100" y="866"/>
                  </a:lnTo>
                  <a:lnTo>
                    <a:pt x="1086" y="890"/>
                  </a:lnTo>
                  <a:lnTo>
                    <a:pt x="1070" y="914"/>
                  </a:lnTo>
                  <a:lnTo>
                    <a:pt x="1054" y="936"/>
                  </a:lnTo>
                  <a:lnTo>
                    <a:pt x="1038" y="958"/>
                  </a:lnTo>
                  <a:lnTo>
                    <a:pt x="1018" y="980"/>
                  </a:lnTo>
                  <a:lnTo>
                    <a:pt x="1000" y="1000"/>
                  </a:lnTo>
                  <a:lnTo>
                    <a:pt x="980" y="1020"/>
                  </a:lnTo>
                  <a:lnTo>
                    <a:pt x="958" y="1038"/>
                  </a:lnTo>
                  <a:lnTo>
                    <a:pt x="936" y="1056"/>
                  </a:lnTo>
                  <a:lnTo>
                    <a:pt x="912" y="1072"/>
                  </a:lnTo>
                  <a:lnTo>
                    <a:pt x="888" y="1088"/>
                  </a:lnTo>
                  <a:lnTo>
                    <a:pt x="864" y="1102"/>
                  </a:lnTo>
                  <a:lnTo>
                    <a:pt x="840" y="1114"/>
                  </a:lnTo>
                  <a:lnTo>
                    <a:pt x="814" y="1126"/>
                  </a:lnTo>
                  <a:lnTo>
                    <a:pt x="786" y="1136"/>
                  </a:lnTo>
                  <a:lnTo>
                    <a:pt x="760" y="1146"/>
                  </a:lnTo>
                  <a:lnTo>
                    <a:pt x="732" y="1154"/>
                  </a:lnTo>
                  <a:lnTo>
                    <a:pt x="704" y="1160"/>
                  </a:lnTo>
                  <a:lnTo>
                    <a:pt x="674" y="1166"/>
                  </a:lnTo>
                  <a:lnTo>
                    <a:pt x="644" y="1170"/>
                  </a:lnTo>
                  <a:lnTo>
                    <a:pt x="616" y="1172"/>
                  </a:lnTo>
                  <a:lnTo>
                    <a:pt x="586" y="1172"/>
                  </a:lnTo>
                  <a:lnTo>
                    <a:pt x="586" y="1172"/>
                  </a:lnTo>
                  <a:lnTo>
                    <a:pt x="554" y="1172"/>
                  </a:lnTo>
                  <a:lnTo>
                    <a:pt x="526" y="1170"/>
                  </a:lnTo>
                  <a:lnTo>
                    <a:pt x="496" y="1166"/>
                  </a:lnTo>
                  <a:lnTo>
                    <a:pt x="466" y="1160"/>
                  </a:lnTo>
                  <a:lnTo>
                    <a:pt x="438" y="1154"/>
                  </a:lnTo>
                  <a:lnTo>
                    <a:pt x="410" y="1146"/>
                  </a:lnTo>
                  <a:lnTo>
                    <a:pt x="384" y="1136"/>
                  </a:lnTo>
                  <a:lnTo>
                    <a:pt x="356" y="1126"/>
                  </a:lnTo>
                  <a:lnTo>
                    <a:pt x="330" y="1114"/>
                  </a:lnTo>
                  <a:lnTo>
                    <a:pt x="306" y="1102"/>
                  </a:lnTo>
                  <a:lnTo>
                    <a:pt x="282" y="1088"/>
                  </a:lnTo>
                  <a:lnTo>
                    <a:pt x="258" y="1072"/>
                  </a:lnTo>
                  <a:lnTo>
                    <a:pt x="234" y="1056"/>
                  </a:lnTo>
                  <a:lnTo>
                    <a:pt x="212" y="1038"/>
                  </a:lnTo>
                  <a:lnTo>
                    <a:pt x="192" y="1020"/>
                  </a:lnTo>
                  <a:lnTo>
                    <a:pt x="170" y="1000"/>
                  </a:lnTo>
                  <a:lnTo>
                    <a:pt x="152" y="980"/>
                  </a:lnTo>
                  <a:lnTo>
                    <a:pt x="132" y="958"/>
                  </a:lnTo>
                  <a:lnTo>
                    <a:pt x="116" y="936"/>
                  </a:lnTo>
                  <a:lnTo>
                    <a:pt x="100" y="914"/>
                  </a:lnTo>
                  <a:lnTo>
                    <a:pt x="84" y="890"/>
                  </a:lnTo>
                  <a:lnTo>
                    <a:pt x="70" y="866"/>
                  </a:lnTo>
                  <a:lnTo>
                    <a:pt x="56" y="840"/>
                  </a:lnTo>
                  <a:lnTo>
                    <a:pt x="46" y="814"/>
                  </a:lnTo>
                  <a:lnTo>
                    <a:pt x="34" y="788"/>
                  </a:lnTo>
                  <a:lnTo>
                    <a:pt x="26" y="760"/>
                  </a:lnTo>
                  <a:lnTo>
                    <a:pt x="18" y="732"/>
                  </a:lnTo>
                  <a:lnTo>
                    <a:pt x="10" y="704"/>
                  </a:lnTo>
                  <a:lnTo>
                    <a:pt x="6" y="676"/>
                  </a:lnTo>
                  <a:lnTo>
                    <a:pt x="2" y="646"/>
                  </a:lnTo>
                  <a:lnTo>
                    <a:pt x="0" y="616"/>
                  </a:lnTo>
                  <a:lnTo>
                    <a:pt x="0" y="586"/>
                  </a:lnTo>
                  <a:lnTo>
                    <a:pt x="0" y="586"/>
                  </a:lnTo>
                  <a:lnTo>
                    <a:pt x="0" y="556"/>
                  </a:lnTo>
                  <a:lnTo>
                    <a:pt x="2" y="526"/>
                  </a:lnTo>
                  <a:lnTo>
                    <a:pt x="6" y="496"/>
                  </a:lnTo>
                  <a:lnTo>
                    <a:pt x="10" y="468"/>
                  </a:lnTo>
                  <a:lnTo>
                    <a:pt x="18" y="440"/>
                  </a:lnTo>
                  <a:lnTo>
                    <a:pt x="26" y="412"/>
                  </a:lnTo>
                  <a:lnTo>
                    <a:pt x="34" y="384"/>
                  </a:lnTo>
                  <a:lnTo>
                    <a:pt x="46" y="358"/>
                  </a:lnTo>
                  <a:lnTo>
                    <a:pt x="56" y="332"/>
                  </a:lnTo>
                  <a:lnTo>
                    <a:pt x="70" y="306"/>
                  </a:lnTo>
                  <a:lnTo>
                    <a:pt x="84" y="282"/>
                  </a:lnTo>
                  <a:lnTo>
                    <a:pt x="100" y="258"/>
                  </a:lnTo>
                  <a:lnTo>
                    <a:pt x="116" y="236"/>
                  </a:lnTo>
                  <a:lnTo>
                    <a:pt x="132" y="214"/>
                  </a:lnTo>
                  <a:lnTo>
                    <a:pt x="152" y="192"/>
                  </a:lnTo>
                  <a:lnTo>
                    <a:pt x="170" y="172"/>
                  </a:lnTo>
                  <a:lnTo>
                    <a:pt x="192" y="152"/>
                  </a:lnTo>
                  <a:lnTo>
                    <a:pt x="212" y="134"/>
                  </a:lnTo>
                  <a:lnTo>
                    <a:pt x="234" y="116"/>
                  </a:lnTo>
                  <a:lnTo>
                    <a:pt x="258" y="100"/>
                  </a:lnTo>
                  <a:lnTo>
                    <a:pt x="282" y="84"/>
                  </a:lnTo>
                  <a:lnTo>
                    <a:pt x="306" y="70"/>
                  </a:lnTo>
                  <a:lnTo>
                    <a:pt x="330" y="58"/>
                  </a:lnTo>
                  <a:lnTo>
                    <a:pt x="356" y="46"/>
                  </a:lnTo>
                  <a:lnTo>
                    <a:pt x="384" y="36"/>
                  </a:lnTo>
                  <a:lnTo>
                    <a:pt x="410" y="26"/>
                  </a:lnTo>
                  <a:lnTo>
                    <a:pt x="438" y="18"/>
                  </a:lnTo>
                  <a:lnTo>
                    <a:pt x="466" y="12"/>
                  </a:lnTo>
                  <a:lnTo>
                    <a:pt x="496" y="6"/>
                  </a:lnTo>
                  <a:lnTo>
                    <a:pt x="526" y="4"/>
                  </a:lnTo>
                  <a:lnTo>
                    <a:pt x="554" y="0"/>
                  </a:lnTo>
                  <a:lnTo>
                    <a:pt x="586" y="0"/>
                  </a:lnTo>
                  <a:lnTo>
                    <a:pt x="586" y="0"/>
                  </a:lnTo>
                  <a:lnTo>
                    <a:pt x="616" y="0"/>
                  </a:lnTo>
                  <a:lnTo>
                    <a:pt x="644" y="4"/>
                  </a:lnTo>
                  <a:lnTo>
                    <a:pt x="674" y="6"/>
                  </a:lnTo>
                  <a:lnTo>
                    <a:pt x="704" y="12"/>
                  </a:lnTo>
                  <a:lnTo>
                    <a:pt x="732" y="18"/>
                  </a:lnTo>
                  <a:lnTo>
                    <a:pt x="760" y="26"/>
                  </a:lnTo>
                  <a:lnTo>
                    <a:pt x="786" y="36"/>
                  </a:lnTo>
                  <a:lnTo>
                    <a:pt x="814" y="46"/>
                  </a:lnTo>
                  <a:lnTo>
                    <a:pt x="840" y="58"/>
                  </a:lnTo>
                  <a:lnTo>
                    <a:pt x="864" y="70"/>
                  </a:lnTo>
                  <a:lnTo>
                    <a:pt x="888" y="84"/>
                  </a:lnTo>
                  <a:lnTo>
                    <a:pt x="912" y="100"/>
                  </a:lnTo>
                  <a:lnTo>
                    <a:pt x="936" y="116"/>
                  </a:lnTo>
                  <a:lnTo>
                    <a:pt x="958" y="134"/>
                  </a:lnTo>
                  <a:lnTo>
                    <a:pt x="980" y="152"/>
                  </a:lnTo>
                  <a:lnTo>
                    <a:pt x="1000" y="172"/>
                  </a:lnTo>
                  <a:lnTo>
                    <a:pt x="1018" y="192"/>
                  </a:lnTo>
                  <a:lnTo>
                    <a:pt x="1038" y="214"/>
                  </a:lnTo>
                  <a:lnTo>
                    <a:pt x="1054" y="236"/>
                  </a:lnTo>
                  <a:lnTo>
                    <a:pt x="1070" y="258"/>
                  </a:lnTo>
                  <a:lnTo>
                    <a:pt x="1086" y="282"/>
                  </a:lnTo>
                  <a:lnTo>
                    <a:pt x="1100" y="306"/>
                  </a:lnTo>
                  <a:lnTo>
                    <a:pt x="1114" y="332"/>
                  </a:lnTo>
                  <a:lnTo>
                    <a:pt x="1124" y="358"/>
                  </a:lnTo>
                  <a:lnTo>
                    <a:pt x="1136" y="384"/>
                  </a:lnTo>
                  <a:lnTo>
                    <a:pt x="1144" y="412"/>
                  </a:lnTo>
                  <a:lnTo>
                    <a:pt x="1152" y="440"/>
                  </a:lnTo>
                  <a:lnTo>
                    <a:pt x="1160" y="468"/>
                  </a:lnTo>
                  <a:lnTo>
                    <a:pt x="1164" y="496"/>
                  </a:lnTo>
                  <a:lnTo>
                    <a:pt x="1168" y="526"/>
                  </a:lnTo>
                  <a:lnTo>
                    <a:pt x="1170" y="556"/>
                  </a:lnTo>
                  <a:lnTo>
                    <a:pt x="1170" y="586"/>
                  </a:lnTo>
                  <a:lnTo>
                    <a:pt x="1170" y="5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3" name="Line 73">
              <a:extLst>
                <a:ext uri="{FF2B5EF4-FFF2-40B4-BE49-F238E27FC236}">
                  <a16:creationId xmlns:a16="http://schemas.microsoft.com/office/drawing/2014/main" id="{B84E9939-C36B-41B6-8844-23C374E16D93}"/>
                </a:ext>
              </a:extLst>
            </p:cNvPr>
            <p:cNvSpPr>
              <a:spLocks noChangeShapeType="1"/>
            </p:cNvSpPr>
            <p:nvPr/>
          </p:nvSpPr>
          <p:spPr bwMode="auto">
            <a:xfrm>
              <a:off x="-2003425" y="42545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4" name="Freeform 74">
              <a:extLst>
                <a:ext uri="{FF2B5EF4-FFF2-40B4-BE49-F238E27FC236}">
                  <a16:creationId xmlns:a16="http://schemas.microsoft.com/office/drawing/2014/main" id="{01E33C6B-BC75-4A14-9DBF-7DADFC6C3D6F}"/>
                </a:ext>
              </a:extLst>
            </p:cNvPr>
            <p:cNvSpPr>
              <a:spLocks noEditPoints="1"/>
            </p:cNvSpPr>
            <p:nvPr/>
          </p:nvSpPr>
          <p:spPr bwMode="auto">
            <a:xfrm>
              <a:off x="-4003675" y="3181350"/>
              <a:ext cx="2143125" cy="2146300"/>
            </a:xfrm>
            <a:custGeom>
              <a:avLst/>
              <a:gdLst>
                <a:gd name="T0" fmla="*/ 606 w 1350"/>
                <a:gd name="T1" fmla="*/ 1348 h 1352"/>
                <a:gd name="T2" fmla="*/ 474 w 1350"/>
                <a:gd name="T3" fmla="*/ 1322 h 1352"/>
                <a:gd name="T4" fmla="*/ 354 w 1350"/>
                <a:gd name="T5" fmla="*/ 1270 h 1352"/>
                <a:gd name="T6" fmla="*/ 246 w 1350"/>
                <a:gd name="T7" fmla="*/ 1198 h 1352"/>
                <a:gd name="T8" fmla="*/ 154 w 1350"/>
                <a:gd name="T9" fmla="*/ 1106 h 1352"/>
                <a:gd name="T10" fmla="*/ 82 w 1350"/>
                <a:gd name="T11" fmla="*/ 998 h 1352"/>
                <a:gd name="T12" fmla="*/ 30 w 1350"/>
                <a:gd name="T13" fmla="*/ 876 h 1352"/>
                <a:gd name="T14" fmla="*/ 2 w 1350"/>
                <a:gd name="T15" fmla="*/ 746 h 1352"/>
                <a:gd name="T16" fmla="*/ 0 w 1350"/>
                <a:gd name="T17" fmla="*/ 642 h 1352"/>
                <a:gd name="T18" fmla="*/ 20 w 1350"/>
                <a:gd name="T19" fmla="*/ 508 h 1352"/>
                <a:gd name="T20" fmla="*/ 66 w 1350"/>
                <a:gd name="T21" fmla="*/ 384 h 1352"/>
                <a:gd name="T22" fmla="*/ 134 w 1350"/>
                <a:gd name="T23" fmla="*/ 272 h 1352"/>
                <a:gd name="T24" fmla="*/ 222 w 1350"/>
                <a:gd name="T25" fmla="*/ 176 h 1352"/>
                <a:gd name="T26" fmla="*/ 326 w 1350"/>
                <a:gd name="T27" fmla="*/ 98 h 1352"/>
                <a:gd name="T28" fmla="*/ 442 w 1350"/>
                <a:gd name="T29" fmla="*/ 42 h 1352"/>
                <a:gd name="T30" fmla="*/ 572 w 1350"/>
                <a:gd name="T31" fmla="*/ 8 h 1352"/>
                <a:gd name="T32" fmla="*/ 676 w 1350"/>
                <a:gd name="T33" fmla="*/ 0 h 1352"/>
                <a:gd name="T34" fmla="*/ 810 w 1350"/>
                <a:gd name="T35" fmla="*/ 14 h 1352"/>
                <a:gd name="T36" fmla="*/ 938 w 1350"/>
                <a:gd name="T37" fmla="*/ 54 h 1352"/>
                <a:gd name="T38" fmla="*/ 1052 w 1350"/>
                <a:gd name="T39" fmla="*/ 116 h 1352"/>
                <a:gd name="T40" fmla="*/ 1152 w 1350"/>
                <a:gd name="T41" fmla="*/ 198 h 1352"/>
                <a:gd name="T42" fmla="*/ 1236 w 1350"/>
                <a:gd name="T43" fmla="*/ 298 h 1352"/>
                <a:gd name="T44" fmla="*/ 1298 w 1350"/>
                <a:gd name="T45" fmla="*/ 414 h 1352"/>
                <a:gd name="T46" fmla="*/ 1336 w 1350"/>
                <a:gd name="T47" fmla="*/ 540 h 1352"/>
                <a:gd name="T48" fmla="*/ 1350 w 1350"/>
                <a:gd name="T49" fmla="*/ 676 h 1352"/>
                <a:gd name="T50" fmla="*/ 1342 w 1350"/>
                <a:gd name="T51" fmla="*/ 778 h 1352"/>
                <a:gd name="T52" fmla="*/ 1310 w 1350"/>
                <a:gd name="T53" fmla="*/ 908 h 1352"/>
                <a:gd name="T54" fmla="*/ 1252 w 1350"/>
                <a:gd name="T55" fmla="*/ 1026 h 1352"/>
                <a:gd name="T56" fmla="*/ 1174 w 1350"/>
                <a:gd name="T57" fmla="*/ 1130 h 1352"/>
                <a:gd name="T58" fmla="*/ 1078 w 1350"/>
                <a:gd name="T59" fmla="*/ 1218 h 1352"/>
                <a:gd name="T60" fmla="*/ 968 w 1350"/>
                <a:gd name="T61" fmla="*/ 1284 h 1352"/>
                <a:gd name="T62" fmla="*/ 844 w 1350"/>
                <a:gd name="T63" fmla="*/ 1330 h 1352"/>
                <a:gd name="T64" fmla="*/ 710 w 1350"/>
                <a:gd name="T65" fmla="*/ 1350 h 1352"/>
                <a:gd name="T66" fmla="*/ 676 w 1350"/>
                <a:gd name="T67" fmla="*/ 180 h 1352"/>
                <a:gd name="T68" fmla="*/ 576 w 1350"/>
                <a:gd name="T69" fmla="*/ 190 h 1352"/>
                <a:gd name="T70" fmla="*/ 482 w 1350"/>
                <a:gd name="T71" fmla="*/ 218 h 1352"/>
                <a:gd name="T72" fmla="*/ 324 w 1350"/>
                <a:gd name="T73" fmla="*/ 326 h 1352"/>
                <a:gd name="T74" fmla="*/ 218 w 1350"/>
                <a:gd name="T75" fmla="*/ 484 h 1352"/>
                <a:gd name="T76" fmla="*/ 188 w 1350"/>
                <a:gd name="T77" fmla="*/ 576 h 1352"/>
                <a:gd name="T78" fmla="*/ 178 w 1350"/>
                <a:gd name="T79" fmla="*/ 676 h 1352"/>
                <a:gd name="T80" fmla="*/ 184 w 1350"/>
                <a:gd name="T81" fmla="*/ 752 h 1352"/>
                <a:gd name="T82" fmla="*/ 208 w 1350"/>
                <a:gd name="T83" fmla="*/ 846 h 1352"/>
                <a:gd name="T84" fmla="*/ 292 w 1350"/>
                <a:gd name="T85" fmla="*/ 992 h 1352"/>
                <a:gd name="T86" fmla="*/ 438 w 1350"/>
                <a:gd name="T87" fmla="*/ 1112 h 1352"/>
                <a:gd name="T88" fmla="*/ 552 w 1350"/>
                <a:gd name="T89" fmla="*/ 1156 h 1352"/>
                <a:gd name="T90" fmla="*/ 650 w 1350"/>
                <a:gd name="T91" fmla="*/ 1172 h 1352"/>
                <a:gd name="T92" fmla="*/ 726 w 1350"/>
                <a:gd name="T93" fmla="*/ 1170 h 1352"/>
                <a:gd name="T94" fmla="*/ 822 w 1350"/>
                <a:gd name="T95" fmla="*/ 1150 h 1352"/>
                <a:gd name="T96" fmla="*/ 952 w 1350"/>
                <a:gd name="T97" fmla="*/ 1088 h 1352"/>
                <a:gd name="T98" fmla="*/ 1086 w 1350"/>
                <a:gd name="T99" fmla="*/ 954 h 1352"/>
                <a:gd name="T100" fmla="*/ 1150 w 1350"/>
                <a:gd name="T101" fmla="*/ 824 h 1352"/>
                <a:gd name="T102" fmla="*/ 1168 w 1350"/>
                <a:gd name="T103" fmla="*/ 726 h 1352"/>
                <a:gd name="T104" fmla="*/ 1170 w 1350"/>
                <a:gd name="T105" fmla="*/ 650 h 1352"/>
                <a:gd name="T106" fmla="*/ 1156 w 1350"/>
                <a:gd name="T107" fmla="*/ 552 h 1352"/>
                <a:gd name="T108" fmla="*/ 1112 w 1350"/>
                <a:gd name="T109" fmla="*/ 440 h 1352"/>
                <a:gd name="T110" fmla="*/ 990 w 1350"/>
                <a:gd name="T111" fmla="*/ 294 h 1352"/>
                <a:gd name="T112" fmla="*/ 846 w 1350"/>
                <a:gd name="T113" fmla="*/ 210 h 1352"/>
                <a:gd name="T114" fmla="*/ 750 w 1350"/>
                <a:gd name="T115" fmla="*/ 186 h 1352"/>
                <a:gd name="T116" fmla="*/ 676 w 1350"/>
                <a:gd name="T117" fmla="*/ 180 h 1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50" h="1352">
                  <a:moveTo>
                    <a:pt x="676" y="1352"/>
                  </a:moveTo>
                  <a:lnTo>
                    <a:pt x="676" y="1352"/>
                  </a:lnTo>
                  <a:lnTo>
                    <a:pt x="640" y="1350"/>
                  </a:lnTo>
                  <a:lnTo>
                    <a:pt x="606" y="1348"/>
                  </a:lnTo>
                  <a:lnTo>
                    <a:pt x="572" y="1344"/>
                  </a:lnTo>
                  <a:lnTo>
                    <a:pt x="540" y="1338"/>
                  </a:lnTo>
                  <a:lnTo>
                    <a:pt x="506" y="1330"/>
                  </a:lnTo>
                  <a:lnTo>
                    <a:pt x="474" y="1322"/>
                  </a:lnTo>
                  <a:lnTo>
                    <a:pt x="442" y="1310"/>
                  </a:lnTo>
                  <a:lnTo>
                    <a:pt x="412" y="1298"/>
                  </a:lnTo>
                  <a:lnTo>
                    <a:pt x="382" y="1284"/>
                  </a:lnTo>
                  <a:lnTo>
                    <a:pt x="354" y="1270"/>
                  </a:lnTo>
                  <a:lnTo>
                    <a:pt x="326" y="1254"/>
                  </a:lnTo>
                  <a:lnTo>
                    <a:pt x="298" y="1236"/>
                  </a:lnTo>
                  <a:lnTo>
                    <a:pt x="272" y="1218"/>
                  </a:lnTo>
                  <a:lnTo>
                    <a:pt x="246" y="1198"/>
                  </a:lnTo>
                  <a:lnTo>
                    <a:pt x="222" y="1176"/>
                  </a:lnTo>
                  <a:lnTo>
                    <a:pt x="198" y="1154"/>
                  </a:lnTo>
                  <a:lnTo>
                    <a:pt x="176" y="1130"/>
                  </a:lnTo>
                  <a:lnTo>
                    <a:pt x="154" y="1106"/>
                  </a:lnTo>
                  <a:lnTo>
                    <a:pt x="134" y="1080"/>
                  </a:lnTo>
                  <a:lnTo>
                    <a:pt x="116" y="1054"/>
                  </a:lnTo>
                  <a:lnTo>
                    <a:pt x="98" y="1026"/>
                  </a:lnTo>
                  <a:lnTo>
                    <a:pt x="82" y="998"/>
                  </a:lnTo>
                  <a:lnTo>
                    <a:pt x="66" y="968"/>
                  </a:lnTo>
                  <a:lnTo>
                    <a:pt x="52" y="938"/>
                  </a:lnTo>
                  <a:lnTo>
                    <a:pt x="40" y="908"/>
                  </a:lnTo>
                  <a:lnTo>
                    <a:pt x="30" y="876"/>
                  </a:lnTo>
                  <a:lnTo>
                    <a:pt x="20" y="844"/>
                  </a:lnTo>
                  <a:lnTo>
                    <a:pt x="14" y="812"/>
                  </a:lnTo>
                  <a:lnTo>
                    <a:pt x="8" y="778"/>
                  </a:lnTo>
                  <a:lnTo>
                    <a:pt x="2" y="746"/>
                  </a:lnTo>
                  <a:lnTo>
                    <a:pt x="0" y="710"/>
                  </a:lnTo>
                  <a:lnTo>
                    <a:pt x="0" y="676"/>
                  </a:lnTo>
                  <a:lnTo>
                    <a:pt x="0" y="676"/>
                  </a:lnTo>
                  <a:lnTo>
                    <a:pt x="0" y="642"/>
                  </a:lnTo>
                  <a:lnTo>
                    <a:pt x="2" y="608"/>
                  </a:lnTo>
                  <a:lnTo>
                    <a:pt x="8" y="574"/>
                  </a:lnTo>
                  <a:lnTo>
                    <a:pt x="14" y="540"/>
                  </a:lnTo>
                  <a:lnTo>
                    <a:pt x="20" y="508"/>
                  </a:lnTo>
                  <a:lnTo>
                    <a:pt x="30" y="476"/>
                  </a:lnTo>
                  <a:lnTo>
                    <a:pt x="40" y="444"/>
                  </a:lnTo>
                  <a:lnTo>
                    <a:pt x="52" y="414"/>
                  </a:lnTo>
                  <a:lnTo>
                    <a:pt x="66" y="384"/>
                  </a:lnTo>
                  <a:lnTo>
                    <a:pt x="82" y="354"/>
                  </a:lnTo>
                  <a:lnTo>
                    <a:pt x="98" y="326"/>
                  </a:lnTo>
                  <a:lnTo>
                    <a:pt x="116" y="298"/>
                  </a:lnTo>
                  <a:lnTo>
                    <a:pt x="134" y="272"/>
                  </a:lnTo>
                  <a:lnTo>
                    <a:pt x="154" y="246"/>
                  </a:lnTo>
                  <a:lnTo>
                    <a:pt x="176" y="222"/>
                  </a:lnTo>
                  <a:lnTo>
                    <a:pt x="198" y="198"/>
                  </a:lnTo>
                  <a:lnTo>
                    <a:pt x="222" y="176"/>
                  </a:lnTo>
                  <a:lnTo>
                    <a:pt x="246" y="154"/>
                  </a:lnTo>
                  <a:lnTo>
                    <a:pt x="272" y="134"/>
                  </a:lnTo>
                  <a:lnTo>
                    <a:pt x="298" y="116"/>
                  </a:lnTo>
                  <a:lnTo>
                    <a:pt x="326" y="98"/>
                  </a:lnTo>
                  <a:lnTo>
                    <a:pt x="354" y="82"/>
                  </a:lnTo>
                  <a:lnTo>
                    <a:pt x="382" y="68"/>
                  </a:lnTo>
                  <a:lnTo>
                    <a:pt x="412" y="54"/>
                  </a:lnTo>
                  <a:lnTo>
                    <a:pt x="442" y="42"/>
                  </a:lnTo>
                  <a:lnTo>
                    <a:pt x="474" y="30"/>
                  </a:lnTo>
                  <a:lnTo>
                    <a:pt x="506" y="22"/>
                  </a:lnTo>
                  <a:lnTo>
                    <a:pt x="540" y="14"/>
                  </a:lnTo>
                  <a:lnTo>
                    <a:pt x="572" y="8"/>
                  </a:lnTo>
                  <a:lnTo>
                    <a:pt x="606" y="4"/>
                  </a:lnTo>
                  <a:lnTo>
                    <a:pt x="640" y="2"/>
                  </a:lnTo>
                  <a:lnTo>
                    <a:pt x="676" y="0"/>
                  </a:lnTo>
                  <a:lnTo>
                    <a:pt x="676" y="0"/>
                  </a:lnTo>
                  <a:lnTo>
                    <a:pt x="710" y="2"/>
                  </a:lnTo>
                  <a:lnTo>
                    <a:pt x="744" y="4"/>
                  </a:lnTo>
                  <a:lnTo>
                    <a:pt x="778" y="8"/>
                  </a:lnTo>
                  <a:lnTo>
                    <a:pt x="810" y="14"/>
                  </a:lnTo>
                  <a:lnTo>
                    <a:pt x="844" y="22"/>
                  </a:lnTo>
                  <a:lnTo>
                    <a:pt x="876" y="30"/>
                  </a:lnTo>
                  <a:lnTo>
                    <a:pt x="908" y="42"/>
                  </a:lnTo>
                  <a:lnTo>
                    <a:pt x="938" y="54"/>
                  </a:lnTo>
                  <a:lnTo>
                    <a:pt x="968" y="68"/>
                  </a:lnTo>
                  <a:lnTo>
                    <a:pt x="996" y="82"/>
                  </a:lnTo>
                  <a:lnTo>
                    <a:pt x="1026" y="98"/>
                  </a:lnTo>
                  <a:lnTo>
                    <a:pt x="1052" y="116"/>
                  </a:lnTo>
                  <a:lnTo>
                    <a:pt x="1078" y="134"/>
                  </a:lnTo>
                  <a:lnTo>
                    <a:pt x="1104" y="154"/>
                  </a:lnTo>
                  <a:lnTo>
                    <a:pt x="1128" y="176"/>
                  </a:lnTo>
                  <a:lnTo>
                    <a:pt x="1152" y="198"/>
                  </a:lnTo>
                  <a:lnTo>
                    <a:pt x="1174" y="222"/>
                  </a:lnTo>
                  <a:lnTo>
                    <a:pt x="1196" y="246"/>
                  </a:lnTo>
                  <a:lnTo>
                    <a:pt x="1216" y="272"/>
                  </a:lnTo>
                  <a:lnTo>
                    <a:pt x="1236" y="298"/>
                  </a:lnTo>
                  <a:lnTo>
                    <a:pt x="1252" y="326"/>
                  </a:lnTo>
                  <a:lnTo>
                    <a:pt x="1268" y="354"/>
                  </a:lnTo>
                  <a:lnTo>
                    <a:pt x="1284" y="384"/>
                  </a:lnTo>
                  <a:lnTo>
                    <a:pt x="1298" y="414"/>
                  </a:lnTo>
                  <a:lnTo>
                    <a:pt x="1310" y="444"/>
                  </a:lnTo>
                  <a:lnTo>
                    <a:pt x="1320" y="476"/>
                  </a:lnTo>
                  <a:lnTo>
                    <a:pt x="1330" y="508"/>
                  </a:lnTo>
                  <a:lnTo>
                    <a:pt x="1336" y="540"/>
                  </a:lnTo>
                  <a:lnTo>
                    <a:pt x="1342" y="574"/>
                  </a:lnTo>
                  <a:lnTo>
                    <a:pt x="1348" y="608"/>
                  </a:lnTo>
                  <a:lnTo>
                    <a:pt x="1350" y="642"/>
                  </a:lnTo>
                  <a:lnTo>
                    <a:pt x="1350" y="676"/>
                  </a:lnTo>
                  <a:lnTo>
                    <a:pt x="1350" y="676"/>
                  </a:lnTo>
                  <a:lnTo>
                    <a:pt x="1350" y="710"/>
                  </a:lnTo>
                  <a:lnTo>
                    <a:pt x="1348" y="746"/>
                  </a:lnTo>
                  <a:lnTo>
                    <a:pt x="1342" y="778"/>
                  </a:lnTo>
                  <a:lnTo>
                    <a:pt x="1336" y="812"/>
                  </a:lnTo>
                  <a:lnTo>
                    <a:pt x="1330" y="844"/>
                  </a:lnTo>
                  <a:lnTo>
                    <a:pt x="1320" y="876"/>
                  </a:lnTo>
                  <a:lnTo>
                    <a:pt x="1310" y="908"/>
                  </a:lnTo>
                  <a:lnTo>
                    <a:pt x="1298" y="938"/>
                  </a:lnTo>
                  <a:lnTo>
                    <a:pt x="1284" y="968"/>
                  </a:lnTo>
                  <a:lnTo>
                    <a:pt x="1268" y="998"/>
                  </a:lnTo>
                  <a:lnTo>
                    <a:pt x="1252" y="1026"/>
                  </a:lnTo>
                  <a:lnTo>
                    <a:pt x="1236" y="1054"/>
                  </a:lnTo>
                  <a:lnTo>
                    <a:pt x="1216" y="1080"/>
                  </a:lnTo>
                  <a:lnTo>
                    <a:pt x="1196" y="1106"/>
                  </a:lnTo>
                  <a:lnTo>
                    <a:pt x="1174" y="1130"/>
                  </a:lnTo>
                  <a:lnTo>
                    <a:pt x="1152" y="1154"/>
                  </a:lnTo>
                  <a:lnTo>
                    <a:pt x="1128" y="1176"/>
                  </a:lnTo>
                  <a:lnTo>
                    <a:pt x="1104" y="1198"/>
                  </a:lnTo>
                  <a:lnTo>
                    <a:pt x="1078" y="1218"/>
                  </a:lnTo>
                  <a:lnTo>
                    <a:pt x="1052" y="1236"/>
                  </a:lnTo>
                  <a:lnTo>
                    <a:pt x="1026" y="1254"/>
                  </a:lnTo>
                  <a:lnTo>
                    <a:pt x="996" y="1270"/>
                  </a:lnTo>
                  <a:lnTo>
                    <a:pt x="968" y="1284"/>
                  </a:lnTo>
                  <a:lnTo>
                    <a:pt x="938" y="1298"/>
                  </a:lnTo>
                  <a:lnTo>
                    <a:pt x="908" y="1310"/>
                  </a:lnTo>
                  <a:lnTo>
                    <a:pt x="876" y="1322"/>
                  </a:lnTo>
                  <a:lnTo>
                    <a:pt x="844" y="1330"/>
                  </a:lnTo>
                  <a:lnTo>
                    <a:pt x="810" y="1338"/>
                  </a:lnTo>
                  <a:lnTo>
                    <a:pt x="778" y="1344"/>
                  </a:lnTo>
                  <a:lnTo>
                    <a:pt x="744" y="1348"/>
                  </a:lnTo>
                  <a:lnTo>
                    <a:pt x="710" y="1350"/>
                  </a:lnTo>
                  <a:lnTo>
                    <a:pt x="676" y="1352"/>
                  </a:lnTo>
                  <a:lnTo>
                    <a:pt x="676" y="1352"/>
                  </a:lnTo>
                  <a:close/>
                  <a:moveTo>
                    <a:pt x="676" y="180"/>
                  </a:moveTo>
                  <a:lnTo>
                    <a:pt x="676" y="180"/>
                  </a:lnTo>
                  <a:lnTo>
                    <a:pt x="650" y="180"/>
                  </a:lnTo>
                  <a:lnTo>
                    <a:pt x="624" y="182"/>
                  </a:lnTo>
                  <a:lnTo>
                    <a:pt x="600" y="186"/>
                  </a:lnTo>
                  <a:lnTo>
                    <a:pt x="576" y="190"/>
                  </a:lnTo>
                  <a:lnTo>
                    <a:pt x="552" y="196"/>
                  </a:lnTo>
                  <a:lnTo>
                    <a:pt x="528" y="202"/>
                  </a:lnTo>
                  <a:lnTo>
                    <a:pt x="504" y="210"/>
                  </a:lnTo>
                  <a:lnTo>
                    <a:pt x="482" y="218"/>
                  </a:lnTo>
                  <a:lnTo>
                    <a:pt x="438" y="240"/>
                  </a:lnTo>
                  <a:lnTo>
                    <a:pt x="398" y="264"/>
                  </a:lnTo>
                  <a:lnTo>
                    <a:pt x="360" y="294"/>
                  </a:lnTo>
                  <a:lnTo>
                    <a:pt x="324" y="326"/>
                  </a:lnTo>
                  <a:lnTo>
                    <a:pt x="292" y="360"/>
                  </a:lnTo>
                  <a:lnTo>
                    <a:pt x="264" y="398"/>
                  </a:lnTo>
                  <a:lnTo>
                    <a:pt x="238" y="440"/>
                  </a:lnTo>
                  <a:lnTo>
                    <a:pt x="218" y="484"/>
                  </a:lnTo>
                  <a:lnTo>
                    <a:pt x="208" y="506"/>
                  </a:lnTo>
                  <a:lnTo>
                    <a:pt x="200" y="528"/>
                  </a:lnTo>
                  <a:lnTo>
                    <a:pt x="194" y="552"/>
                  </a:lnTo>
                  <a:lnTo>
                    <a:pt x="188" y="576"/>
                  </a:lnTo>
                  <a:lnTo>
                    <a:pt x="184" y="600"/>
                  </a:lnTo>
                  <a:lnTo>
                    <a:pt x="182" y="626"/>
                  </a:lnTo>
                  <a:lnTo>
                    <a:pt x="180" y="650"/>
                  </a:lnTo>
                  <a:lnTo>
                    <a:pt x="178" y="676"/>
                  </a:lnTo>
                  <a:lnTo>
                    <a:pt x="178" y="676"/>
                  </a:lnTo>
                  <a:lnTo>
                    <a:pt x="180" y="702"/>
                  </a:lnTo>
                  <a:lnTo>
                    <a:pt x="182" y="726"/>
                  </a:lnTo>
                  <a:lnTo>
                    <a:pt x="184" y="752"/>
                  </a:lnTo>
                  <a:lnTo>
                    <a:pt x="188" y="776"/>
                  </a:lnTo>
                  <a:lnTo>
                    <a:pt x="194" y="800"/>
                  </a:lnTo>
                  <a:lnTo>
                    <a:pt x="200" y="824"/>
                  </a:lnTo>
                  <a:lnTo>
                    <a:pt x="208" y="846"/>
                  </a:lnTo>
                  <a:lnTo>
                    <a:pt x="218" y="870"/>
                  </a:lnTo>
                  <a:lnTo>
                    <a:pt x="238" y="912"/>
                  </a:lnTo>
                  <a:lnTo>
                    <a:pt x="264" y="954"/>
                  </a:lnTo>
                  <a:lnTo>
                    <a:pt x="292" y="992"/>
                  </a:lnTo>
                  <a:lnTo>
                    <a:pt x="324" y="1026"/>
                  </a:lnTo>
                  <a:lnTo>
                    <a:pt x="360" y="1058"/>
                  </a:lnTo>
                  <a:lnTo>
                    <a:pt x="398" y="1088"/>
                  </a:lnTo>
                  <a:lnTo>
                    <a:pt x="438" y="1112"/>
                  </a:lnTo>
                  <a:lnTo>
                    <a:pt x="482" y="1134"/>
                  </a:lnTo>
                  <a:lnTo>
                    <a:pt x="504" y="1142"/>
                  </a:lnTo>
                  <a:lnTo>
                    <a:pt x="528" y="1150"/>
                  </a:lnTo>
                  <a:lnTo>
                    <a:pt x="552" y="1156"/>
                  </a:lnTo>
                  <a:lnTo>
                    <a:pt x="576" y="1162"/>
                  </a:lnTo>
                  <a:lnTo>
                    <a:pt x="600" y="1166"/>
                  </a:lnTo>
                  <a:lnTo>
                    <a:pt x="624" y="1170"/>
                  </a:lnTo>
                  <a:lnTo>
                    <a:pt x="650" y="1172"/>
                  </a:lnTo>
                  <a:lnTo>
                    <a:pt x="676" y="1172"/>
                  </a:lnTo>
                  <a:lnTo>
                    <a:pt x="676" y="1172"/>
                  </a:lnTo>
                  <a:lnTo>
                    <a:pt x="700" y="1172"/>
                  </a:lnTo>
                  <a:lnTo>
                    <a:pt x="726" y="1170"/>
                  </a:lnTo>
                  <a:lnTo>
                    <a:pt x="750" y="1166"/>
                  </a:lnTo>
                  <a:lnTo>
                    <a:pt x="774" y="1162"/>
                  </a:lnTo>
                  <a:lnTo>
                    <a:pt x="798" y="1156"/>
                  </a:lnTo>
                  <a:lnTo>
                    <a:pt x="822" y="1150"/>
                  </a:lnTo>
                  <a:lnTo>
                    <a:pt x="846" y="1142"/>
                  </a:lnTo>
                  <a:lnTo>
                    <a:pt x="868" y="1134"/>
                  </a:lnTo>
                  <a:lnTo>
                    <a:pt x="912" y="1112"/>
                  </a:lnTo>
                  <a:lnTo>
                    <a:pt x="952" y="1088"/>
                  </a:lnTo>
                  <a:lnTo>
                    <a:pt x="990" y="1058"/>
                  </a:lnTo>
                  <a:lnTo>
                    <a:pt x="1026" y="1026"/>
                  </a:lnTo>
                  <a:lnTo>
                    <a:pt x="1058" y="992"/>
                  </a:lnTo>
                  <a:lnTo>
                    <a:pt x="1086" y="954"/>
                  </a:lnTo>
                  <a:lnTo>
                    <a:pt x="1112" y="912"/>
                  </a:lnTo>
                  <a:lnTo>
                    <a:pt x="1132" y="870"/>
                  </a:lnTo>
                  <a:lnTo>
                    <a:pt x="1142" y="846"/>
                  </a:lnTo>
                  <a:lnTo>
                    <a:pt x="1150" y="824"/>
                  </a:lnTo>
                  <a:lnTo>
                    <a:pt x="1156" y="800"/>
                  </a:lnTo>
                  <a:lnTo>
                    <a:pt x="1162" y="776"/>
                  </a:lnTo>
                  <a:lnTo>
                    <a:pt x="1166" y="752"/>
                  </a:lnTo>
                  <a:lnTo>
                    <a:pt x="1168" y="726"/>
                  </a:lnTo>
                  <a:lnTo>
                    <a:pt x="1170" y="702"/>
                  </a:lnTo>
                  <a:lnTo>
                    <a:pt x="1172" y="676"/>
                  </a:lnTo>
                  <a:lnTo>
                    <a:pt x="1172" y="676"/>
                  </a:lnTo>
                  <a:lnTo>
                    <a:pt x="1170" y="650"/>
                  </a:lnTo>
                  <a:lnTo>
                    <a:pt x="1168" y="626"/>
                  </a:lnTo>
                  <a:lnTo>
                    <a:pt x="1166" y="600"/>
                  </a:lnTo>
                  <a:lnTo>
                    <a:pt x="1162" y="576"/>
                  </a:lnTo>
                  <a:lnTo>
                    <a:pt x="1156" y="552"/>
                  </a:lnTo>
                  <a:lnTo>
                    <a:pt x="1150" y="528"/>
                  </a:lnTo>
                  <a:lnTo>
                    <a:pt x="1142" y="506"/>
                  </a:lnTo>
                  <a:lnTo>
                    <a:pt x="1132" y="484"/>
                  </a:lnTo>
                  <a:lnTo>
                    <a:pt x="1112" y="440"/>
                  </a:lnTo>
                  <a:lnTo>
                    <a:pt x="1086" y="398"/>
                  </a:lnTo>
                  <a:lnTo>
                    <a:pt x="1058" y="360"/>
                  </a:lnTo>
                  <a:lnTo>
                    <a:pt x="1026" y="326"/>
                  </a:lnTo>
                  <a:lnTo>
                    <a:pt x="990" y="294"/>
                  </a:lnTo>
                  <a:lnTo>
                    <a:pt x="952" y="264"/>
                  </a:lnTo>
                  <a:lnTo>
                    <a:pt x="912" y="240"/>
                  </a:lnTo>
                  <a:lnTo>
                    <a:pt x="868" y="218"/>
                  </a:lnTo>
                  <a:lnTo>
                    <a:pt x="846" y="210"/>
                  </a:lnTo>
                  <a:lnTo>
                    <a:pt x="822" y="202"/>
                  </a:lnTo>
                  <a:lnTo>
                    <a:pt x="798" y="196"/>
                  </a:lnTo>
                  <a:lnTo>
                    <a:pt x="774" y="190"/>
                  </a:lnTo>
                  <a:lnTo>
                    <a:pt x="750" y="186"/>
                  </a:lnTo>
                  <a:lnTo>
                    <a:pt x="726" y="182"/>
                  </a:lnTo>
                  <a:lnTo>
                    <a:pt x="700" y="180"/>
                  </a:lnTo>
                  <a:lnTo>
                    <a:pt x="676" y="180"/>
                  </a:lnTo>
                  <a:lnTo>
                    <a:pt x="676" y="180"/>
                  </a:lnTo>
                  <a:close/>
                  <a:moveTo>
                    <a:pt x="676" y="180"/>
                  </a:moveTo>
                  <a:lnTo>
                    <a:pt x="676" y="18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5" name="Freeform 75">
              <a:extLst>
                <a:ext uri="{FF2B5EF4-FFF2-40B4-BE49-F238E27FC236}">
                  <a16:creationId xmlns:a16="http://schemas.microsoft.com/office/drawing/2014/main" id="{7EEC1304-5EDF-498C-8690-13F234FC9E65}"/>
                </a:ext>
              </a:extLst>
            </p:cNvPr>
            <p:cNvSpPr>
              <a:spLocks/>
            </p:cNvSpPr>
            <p:nvPr/>
          </p:nvSpPr>
          <p:spPr bwMode="auto">
            <a:xfrm>
              <a:off x="-4003675" y="3181350"/>
              <a:ext cx="2143125" cy="2146300"/>
            </a:xfrm>
            <a:custGeom>
              <a:avLst/>
              <a:gdLst>
                <a:gd name="T0" fmla="*/ 640 w 1350"/>
                <a:gd name="T1" fmla="*/ 1350 h 1352"/>
                <a:gd name="T2" fmla="*/ 540 w 1350"/>
                <a:gd name="T3" fmla="*/ 1338 h 1352"/>
                <a:gd name="T4" fmla="*/ 442 w 1350"/>
                <a:gd name="T5" fmla="*/ 1310 h 1352"/>
                <a:gd name="T6" fmla="*/ 354 w 1350"/>
                <a:gd name="T7" fmla="*/ 1270 h 1352"/>
                <a:gd name="T8" fmla="*/ 272 w 1350"/>
                <a:gd name="T9" fmla="*/ 1218 h 1352"/>
                <a:gd name="T10" fmla="*/ 198 w 1350"/>
                <a:gd name="T11" fmla="*/ 1154 h 1352"/>
                <a:gd name="T12" fmla="*/ 134 w 1350"/>
                <a:gd name="T13" fmla="*/ 1080 h 1352"/>
                <a:gd name="T14" fmla="*/ 82 w 1350"/>
                <a:gd name="T15" fmla="*/ 998 h 1352"/>
                <a:gd name="T16" fmla="*/ 40 w 1350"/>
                <a:gd name="T17" fmla="*/ 908 h 1352"/>
                <a:gd name="T18" fmla="*/ 14 w 1350"/>
                <a:gd name="T19" fmla="*/ 812 h 1352"/>
                <a:gd name="T20" fmla="*/ 0 w 1350"/>
                <a:gd name="T21" fmla="*/ 710 h 1352"/>
                <a:gd name="T22" fmla="*/ 0 w 1350"/>
                <a:gd name="T23" fmla="*/ 642 h 1352"/>
                <a:gd name="T24" fmla="*/ 14 w 1350"/>
                <a:gd name="T25" fmla="*/ 540 h 1352"/>
                <a:gd name="T26" fmla="*/ 40 w 1350"/>
                <a:gd name="T27" fmla="*/ 444 h 1352"/>
                <a:gd name="T28" fmla="*/ 82 w 1350"/>
                <a:gd name="T29" fmla="*/ 354 h 1352"/>
                <a:gd name="T30" fmla="*/ 134 w 1350"/>
                <a:gd name="T31" fmla="*/ 272 h 1352"/>
                <a:gd name="T32" fmla="*/ 198 w 1350"/>
                <a:gd name="T33" fmla="*/ 198 h 1352"/>
                <a:gd name="T34" fmla="*/ 272 w 1350"/>
                <a:gd name="T35" fmla="*/ 134 h 1352"/>
                <a:gd name="T36" fmla="*/ 354 w 1350"/>
                <a:gd name="T37" fmla="*/ 82 h 1352"/>
                <a:gd name="T38" fmla="*/ 442 w 1350"/>
                <a:gd name="T39" fmla="*/ 42 h 1352"/>
                <a:gd name="T40" fmla="*/ 540 w 1350"/>
                <a:gd name="T41" fmla="*/ 14 h 1352"/>
                <a:gd name="T42" fmla="*/ 640 w 1350"/>
                <a:gd name="T43" fmla="*/ 2 h 1352"/>
                <a:gd name="T44" fmla="*/ 710 w 1350"/>
                <a:gd name="T45" fmla="*/ 2 h 1352"/>
                <a:gd name="T46" fmla="*/ 810 w 1350"/>
                <a:gd name="T47" fmla="*/ 14 h 1352"/>
                <a:gd name="T48" fmla="*/ 908 w 1350"/>
                <a:gd name="T49" fmla="*/ 42 h 1352"/>
                <a:gd name="T50" fmla="*/ 996 w 1350"/>
                <a:gd name="T51" fmla="*/ 82 h 1352"/>
                <a:gd name="T52" fmla="*/ 1078 w 1350"/>
                <a:gd name="T53" fmla="*/ 134 h 1352"/>
                <a:gd name="T54" fmla="*/ 1152 w 1350"/>
                <a:gd name="T55" fmla="*/ 198 h 1352"/>
                <a:gd name="T56" fmla="*/ 1216 w 1350"/>
                <a:gd name="T57" fmla="*/ 272 h 1352"/>
                <a:gd name="T58" fmla="*/ 1268 w 1350"/>
                <a:gd name="T59" fmla="*/ 354 h 1352"/>
                <a:gd name="T60" fmla="*/ 1310 w 1350"/>
                <a:gd name="T61" fmla="*/ 444 h 1352"/>
                <a:gd name="T62" fmla="*/ 1336 w 1350"/>
                <a:gd name="T63" fmla="*/ 540 h 1352"/>
                <a:gd name="T64" fmla="*/ 1350 w 1350"/>
                <a:gd name="T65" fmla="*/ 642 h 1352"/>
                <a:gd name="T66" fmla="*/ 1350 w 1350"/>
                <a:gd name="T67" fmla="*/ 710 h 1352"/>
                <a:gd name="T68" fmla="*/ 1336 w 1350"/>
                <a:gd name="T69" fmla="*/ 812 h 1352"/>
                <a:gd name="T70" fmla="*/ 1310 w 1350"/>
                <a:gd name="T71" fmla="*/ 908 h 1352"/>
                <a:gd name="T72" fmla="*/ 1268 w 1350"/>
                <a:gd name="T73" fmla="*/ 998 h 1352"/>
                <a:gd name="T74" fmla="*/ 1216 w 1350"/>
                <a:gd name="T75" fmla="*/ 1080 h 1352"/>
                <a:gd name="T76" fmla="*/ 1152 w 1350"/>
                <a:gd name="T77" fmla="*/ 1154 h 1352"/>
                <a:gd name="T78" fmla="*/ 1078 w 1350"/>
                <a:gd name="T79" fmla="*/ 1218 h 1352"/>
                <a:gd name="T80" fmla="*/ 996 w 1350"/>
                <a:gd name="T81" fmla="*/ 1270 h 1352"/>
                <a:gd name="T82" fmla="*/ 908 w 1350"/>
                <a:gd name="T83" fmla="*/ 1310 h 1352"/>
                <a:gd name="T84" fmla="*/ 810 w 1350"/>
                <a:gd name="T85" fmla="*/ 1338 h 1352"/>
                <a:gd name="T86" fmla="*/ 710 w 1350"/>
                <a:gd name="T87" fmla="*/ 1350 h 1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50" h="1352">
                  <a:moveTo>
                    <a:pt x="676" y="1352"/>
                  </a:moveTo>
                  <a:lnTo>
                    <a:pt x="676" y="1352"/>
                  </a:lnTo>
                  <a:lnTo>
                    <a:pt x="640" y="1350"/>
                  </a:lnTo>
                  <a:lnTo>
                    <a:pt x="606" y="1348"/>
                  </a:lnTo>
                  <a:lnTo>
                    <a:pt x="572" y="1344"/>
                  </a:lnTo>
                  <a:lnTo>
                    <a:pt x="540" y="1338"/>
                  </a:lnTo>
                  <a:lnTo>
                    <a:pt x="506" y="1330"/>
                  </a:lnTo>
                  <a:lnTo>
                    <a:pt x="474" y="1322"/>
                  </a:lnTo>
                  <a:lnTo>
                    <a:pt x="442" y="1310"/>
                  </a:lnTo>
                  <a:lnTo>
                    <a:pt x="412" y="1298"/>
                  </a:lnTo>
                  <a:lnTo>
                    <a:pt x="382" y="1284"/>
                  </a:lnTo>
                  <a:lnTo>
                    <a:pt x="354" y="1270"/>
                  </a:lnTo>
                  <a:lnTo>
                    <a:pt x="326" y="1254"/>
                  </a:lnTo>
                  <a:lnTo>
                    <a:pt x="298" y="1236"/>
                  </a:lnTo>
                  <a:lnTo>
                    <a:pt x="272" y="1218"/>
                  </a:lnTo>
                  <a:lnTo>
                    <a:pt x="246" y="1198"/>
                  </a:lnTo>
                  <a:lnTo>
                    <a:pt x="222" y="1176"/>
                  </a:lnTo>
                  <a:lnTo>
                    <a:pt x="198" y="1154"/>
                  </a:lnTo>
                  <a:lnTo>
                    <a:pt x="176" y="1130"/>
                  </a:lnTo>
                  <a:lnTo>
                    <a:pt x="154" y="1106"/>
                  </a:lnTo>
                  <a:lnTo>
                    <a:pt x="134" y="1080"/>
                  </a:lnTo>
                  <a:lnTo>
                    <a:pt x="116" y="1054"/>
                  </a:lnTo>
                  <a:lnTo>
                    <a:pt x="98" y="1026"/>
                  </a:lnTo>
                  <a:lnTo>
                    <a:pt x="82" y="998"/>
                  </a:lnTo>
                  <a:lnTo>
                    <a:pt x="66" y="968"/>
                  </a:lnTo>
                  <a:lnTo>
                    <a:pt x="52" y="938"/>
                  </a:lnTo>
                  <a:lnTo>
                    <a:pt x="40" y="908"/>
                  </a:lnTo>
                  <a:lnTo>
                    <a:pt x="30" y="876"/>
                  </a:lnTo>
                  <a:lnTo>
                    <a:pt x="20" y="844"/>
                  </a:lnTo>
                  <a:lnTo>
                    <a:pt x="14" y="812"/>
                  </a:lnTo>
                  <a:lnTo>
                    <a:pt x="8" y="778"/>
                  </a:lnTo>
                  <a:lnTo>
                    <a:pt x="2" y="746"/>
                  </a:lnTo>
                  <a:lnTo>
                    <a:pt x="0" y="710"/>
                  </a:lnTo>
                  <a:lnTo>
                    <a:pt x="0" y="676"/>
                  </a:lnTo>
                  <a:lnTo>
                    <a:pt x="0" y="676"/>
                  </a:lnTo>
                  <a:lnTo>
                    <a:pt x="0" y="642"/>
                  </a:lnTo>
                  <a:lnTo>
                    <a:pt x="2" y="608"/>
                  </a:lnTo>
                  <a:lnTo>
                    <a:pt x="8" y="574"/>
                  </a:lnTo>
                  <a:lnTo>
                    <a:pt x="14" y="540"/>
                  </a:lnTo>
                  <a:lnTo>
                    <a:pt x="20" y="508"/>
                  </a:lnTo>
                  <a:lnTo>
                    <a:pt x="30" y="476"/>
                  </a:lnTo>
                  <a:lnTo>
                    <a:pt x="40" y="444"/>
                  </a:lnTo>
                  <a:lnTo>
                    <a:pt x="52" y="414"/>
                  </a:lnTo>
                  <a:lnTo>
                    <a:pt x="66" y="384"/>
                  </a:lnTo>
                  <a:lnTo>
                    <a:pt x="82" y="354"/>
                  </a:lnTo>
                  <a:lnTo>
                    <a:pt x="98" y="326"/>
                  </a:lnTo>
                  <a:lnTo>
                    <a:pt x="116" y="298"/>
                  </a:lnTo>
                  <a:lnTo>
                    <a:pt x="134" y="272"/>
                  </a:lnTo>
                  <a:lnTo>
                    <a:pt x="154" y="246"/>
                  </a:lnTo>
                  <a:lnTo>
                    <a:pt x="176" y="222"/>
                  </a:lnTo>
                  <a:lnTo>
                    <a:pt x="198" y="198"/>
                  </a:lnTo>
                  <a:lnTo>
                    <a:pt x="222" y="176"/>
                  </a:lnTo>
                  <a:lnTo>
                    <a:pt x="246" y="154"/>
                  </a:lnTo>
                  <a:lnTo>
                    <a:pt x="272" y="134"/>
                  </a:lnTo>
                  <a:lnTo>
                    <a:pt x="298" y="116"/>
                  </a:lnTo>
                  <a:lnTo>
                    <a:pt x="326" y="98"/>
                  </a:lnTo>
                  <a:lnTo>
                    <a:pt x="354" y="82"/>
                  </a:lnTo>
                  <a:lnTo>
                    <a:pt x="382" y="68"/>
                  </a:lnTo>
                  <a:lnTo>
                    <a:pt x="412" y="54"/>
                  </a:lnTo>
                  <a:lnTo>
                    <a:pt x="442" y="42"/>
                  </a:lnTo>
                  <a:lnTo>
                    <a:pt x="474" y="30"/>
                  </a:lnTo>
                  <a:lnTo>
                    <a:pt x="506" y="22"/>
                  </a:lnTo>
                  <a:lnTo>
                    <a:pt x="540" y="14"/>
                  </a:lnTo>
                  <a:lnTo>
                    <a:pt x="572" y="8"/>
                  </a:lnTo>
                  <a:lnTo>
                    <a:pt x="606" y="4"/>
                  </a:lnTo>
                  <a:lnTo>
                    <a:pt x="640" y="2"/>
                  </a:lnTo>
                  <a:lnTo>
                    <a:pt x="676" y="0"/>
                  </a:lnTo>
                  <a:lnTo>
                    <a:pt x="676" y="0"/>
                  </a:lnTo>
                  <a:lnTo>
                    <a:pt x="710" y="2"/>
                  </a:lnTo>
                  <a:lnTo>
                    <a:pt x="744" y="4"/>
                  </a:lnTo>
                  <a:lnTo>
                    <a:pt x="778" y="8"/>
                  </a:lnTo>
                  <a:lnTo>
                    <a:pt x="810" y="14"/>
                  </a:lnTo>
                  <a:lnTo>
                    <a:pt x="844" y="22"/>
                  </a:lnTo>
                  <a:lnTo>
                    <a:pt x="876" y="30"/>
                  </a:lnTo>
                  <a:lnTo>
                    <a:pt x="908" y="42"/>
                  </a:lnTo>
                  <a:lnTo>
                    <a:pt x="938" y="54"/>
                  </a:lnTo>
                  <a:lnTo>
                    <a:pt x="968" y="68"/>
                  </a:lnTo>
                  <a:lnTo>
                    <a:pt x="996" y="82"/>
                  </a:lnTo>
                  <a:lnTo>
                    <a:pt x="1026" y="98"/>
                  </a:lnTo>
                  <a:lnTo>
                    <a:pt x="1052" y="116"/>
                  </a:lnTo>
                  <a:lnTo>
                    <a:pt x="1078" y="134"/>
                  </a:lnTo>
                  <a:lnTo>
                    <a:pt x="1104" y="154"/>
                  </a:lnTo>
                  <a:lnTo>
                    <a:pt x="1128" y="176"/>
                  </a:lnTo>
                  <a:lnTo>
                    <a:pt x="1152" y="198"/>
                  </a:lnTo>
                  <a:lnTo>
                    <a:pt x="1174" y="222"/>
                  </a:lnTo>
                  <a:lnTo>
                    <a:pt x="1196" y="246"/>
                  </a:lnTo>
                  <a:lnTo>
                    <a:pt x="1216" y="272"/>
                  </a:lnTo>
                  <a:lnTo>
                    <a:pt x="1236" y="298"/>
                  </a:lnTo>
                  <a:lnTo>
                    <a:pt x="1252" y="326"/>
                  </a:lnTo>
                  <a:lnTo>
                    <a:pt x="1268" y="354"/>
                  </a:lnTo>
                  <a:lnTo>
                    <a:pt x="1284" y="384"/>
                  </a:lnTo>
                  <a:lnTo>
                    <a:pt x="1298" y="414"/>
                  </a:lnTo>
                  <a:lnTo>
                    <a:pt x="1310" y="444"/>
                  </a:lnTo>
                  <a:lnTo>
                    <a:pt x="1320" y="476"/>
                  </a:lnTo>
                  <a:lnTo>
                    <a:pt x="1330" y="508"/>
                  </a:lnTo>
                  <a:lnTo>
                    <a:pt x="1336" y="540"/>
                  </a:lnTo>
                  <a:lnTo>
                    <a:pt x="1342" y="574"/>
                  </a:lnTo>
                  <a:lnTo>
                    <a:pt x="1348" y="608"/>
                  </a:lnTo>
                  <a:lnTo>
                    <a:pt x="1350" y="642"/>
                  </a:lnTo>
                  <a:lnTo>
                    <a:pt x="1350" y="676"/>
                  </a:lnTo>
                  <a:lnTo>
                    <a:pt x="1350" y="676"/>
                  </a:lnTo>
                  <a:lnTo>
                    <a:pt x="1350" y="710"/>
                  </a:lnTo>
                  <a:lnTo>
                    <a:pt x="1348" y="746"/>
                  </a:lnTo>
                  <a:lnTo>
                    <a:pt x="1342" y="778"/>
                  </a:lnTo>
                  <a:lnTo>
                    <a:pt x="1336" y="812"/>
                  </a:lnTo>
                  <a:lnTo>
                    <a:pt x="1330" y="844"/>
                  </a:lnTo>
                  <a:lnTo>
                    <a:pt x="1320" y="876"/>
                  </a:lnTo>
                  <a:lnTo>
                    <a:pt x="1310" y="908"/>
                  </a:lnTo>
                  <a:lnTo>
                    <a:pt x="1298" y="938"/>
                  </a:lnTo>
                  <a:lnTo>
                    <a:pt x="1284" y="968"/>
                  </a:lnTo>
                  <a:lnTo>
                    <a:pt x="1268" y="998"/>
                  </a:lnTo>
                  <a:lnTo>
                    <a:pt x="1252" y="1026"/>
                  </a:lnTo>
                  <a:lnTo>
                    <a:pt x="1236" y="1054"/>
                  </a:lnTo>
                  <a:lnTo>
                    <a:pt x="1216" y="1080"/>
                  </a:lnTo>
                  <a:lnTo>
                    <a:pt x="1196" y="1106"/>
                  </a:lnTo>
                  <a:lnTo>
                    <a:pt x="1174" y="1130"/>
                  </a:lnTo>
                  <a:lnTo>
                    <a:pt x="1152" y="1154"/>
                  </a:lnTo>
                  <a:lnTo>
                    <a:pt x="1128" y="1176"/>
                  </a:lnTo>
                  <a:lnTo>
                    <a:pt x="1104" y="1198"/>
                  </a:lnTo>
                  <a:lnTo>
                    <a:pt x="1078" y="1218"/>
                  </a:lnTo>
                  <a:lnTo>
                    <a:pt x="1052" y="1236"/>
                  </a:lnTo>
                  <a:lnTo>
                    <a:pt x="1026" y="1254"/>
                  </a:lnTo>
                  <a:lnTo>
                    <a:pt x="996" y="1270"/>
                  </a:lnTo>
                  <a:lnTo>
                    <a:pt x="968" y="1284"/>
                  </a:lnTo>
                  <a:lnTo>
                    <a:pt x="938" y="1298"/>
                  </a:lnTo>
                  <a:lnTo>
                    <a:pt x="908" y="1310"/>
                  </a:lnTo>
                  <a:lnTo>
                    <a:pt x="876" y="1322"/>
                  </a:lnTo>
                  <a:lnTo>
                    <a:pt x="844" y="1330"/>
                  </a:lnTo>
                  <a:lnTo>
                    <a:pt x="810" y="1338"/>
                  </a:lnTo>
                  <a:lnTo>
                    <a:pt x="778" y="1344"/>
                  </a:lnTo>
                  <a:lnTo>
                    <a:pt x="744" y="1348"/>
                  </a:lnTo>
                  <a:lnTo>
                    <a:pt x="710" y="1350"/>
                  </a:lnTo>
                  <a:lnTo>
                    <a:pt x="676" y="1352"/>
                  </a:lnTo>
                  <a:lnTo>
                    <a:pt x="676" y="13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6" name="Freeform 76">
              <a:extLst>
                <a:ext uri="{FF2B5EF4-FFF2-40B4-BE49-F238E27FC236}">
                  <a16:creationId xmlns:a16="http://schemas.microsoft.com/office/drawing/2014/main" id="{26405938-5A7B-46D9-A65D-DC17A3A87552}"/>
                </a:ext>
              </a:extLst>
            </p:cNvPr>
            <p:cNvSpPr>
              <a:spLocks/>
            </p:cNvSpPr>
            <p:nvPr/>
          </p:nvSpPr>
          <p:spPr bwMode="auto">
            <a:xfrm>
              <a:off x="-3721100" y="3467100"/>
              <a:ext cx="1577975" cy="1574800"/>
            </a:xfrm>
            <a:custGeom>
              <a:avLst/>
              <a:gdLst>
                <a:gd name="T0" fmla="*/ 498 w 994"/>
                <a:gd name="T1" fmla="*/ 0 h 992"/>
                <a:gd name="T2" fmla="*/ 446 w 994"/>
                <a:gd name="T3" fmla="*/ 2 h 992"/>
                <a:gd name="T4" fmla="*/ 398 w 994"/>
                <a:gd name="T5" fmla="*/ 10 h 992"/>
                <a:gd name="T6" fmla="*/ 350 w 994"/>
                <a:gd name="T7" fmla="*/ 22 h 992"/>
                <a:gd name="T8" fmla="*/ 304 w 994"/>
                <a:gd name="T9" fmla="*/ 38 h 992"/>
                <a:gd name="T10" fmla="*/ 220 w 994"/>
                <a:gd name="T11" fmla="*/ 84 h 992"/>
                <a:gd name="T12" fmla="*/ 146 w 994"/>
                <a:gd name="T13" fmla="*/ 146 h 992"/>
                <a:gd name="T14" fmla="*/ 86 w 994"/>
                <a:gd name="T15" fmla="*/ 218 h 992"/>
                <a:gd name="T16" fmla="*/ 40 w 994"/>
                <a:gd name="T17" fmla="*/ 304 h 992"/>
                <a:gd name="T18" fmla="*/ 22 w 994"/>
                <a:gd name="T19" fmla="*/ 348 h 992"/>
                <a:gd name="T20" fmla="*/ 10 w 994"/>
                <a:gd name="T21" fmla="*/ 396 h 992"/>
                <a:gd name="T22" fmla="*/ 4 w 994"/>
                <a:gd name="T23" fmla="*/ 446 h 992"/>
                <a:gd name="T24" fmla="*/ 0 w 994"/>
                <a:gd name="T25" fmla="*/ 496 h 992"/>
                <a:gd name="T26" fmla="*/ 2 w 994"/>
                <a:gd name="T27" fmla="*/ 522 h 992"/>
                <a:gd name="T28" fmla="*/ 6 w 994"/>
                <a:gd name="T29" fmla="*/ 572 h 992"/>
                <a:gd name="T30" fmla="*/ 16 w 994"/>
                <a:gd name="T31" fmla="*/ 620 h 992"/>
                <a:gd name="T32" fmla="*/ 30 w 994"/>
                <a:gd name="T33" fmla="*/ 666 h 992"/>
                <a:gd name="T34" fmla="*/ 60 w 994"/>
                <a:gd name="T35" fmla="*/ 732 h 992"/>
                <a:gd name="T36" fmla="*/ 114 w 994"/>
                <a:gd name="T37" fmla="*/ 812 h 992"/>
                <a:gd name="T38" fmla="*/ 182 w 994"/>
                <a:gd name="T39" fmla="*/ 878 h 992"/>
                <a:gd name="T40" fmla="*/ 260 w 994"/>
                <a:gd name="T41" fmla="*/ 932 h 992"/>
                <a:gd name="T42" fmla="*/ 326 w 994"/>
                <a:gd name="T43" fmla="*/ 962 h 992"/>
                <a:gd name="T44" fmla="*/ 374 w 994"/>
                <a:gd name="T45" fmla="*/ 976 h 992"/>
                <a:gd name="T46" fmla="*/ 422 w 994"/>
                <a:gd name="T47" fmla="*/ 986 h 992"/>
                <a:gd name="T48" fmla="*/ 472 w 994"/>
                <a:gd name="T49" fmla="*/ 992 h 992"/>
                <a:gd name="T50" fmla="*/ 498 w 994"/>
                <a:gd name="T51" fmla="*/ 992 h 992"/>
                <a:gd name="T52" fmla="*/ 548 w 994"/>
                <a:gd name="T53" fmla="*/ 990 h 992"/>
                <a:gd name="T54" fmla="*/ 596 w 994"/>
                <a:gd name="T55" fmla="*/ 982 h 992"/>
                <a:gd name="T56" fmla="*/ 644 w 994"/>
                <a:gd name="T57" fmla="*/ 970 h 992"/>
                <a:gd name="T58" fmla="*/ 690 w 994"/>
                <a:gd name="T59" fmla="*/ 954 h 992"/>
                <a:gd name="T60" fmla="*/ 774 w 994"/>
                <a:gd name="T61" fmla="*/ 908 h 992"/>
                <a:gd name="T62" fmla="*/ 848 w 994"/>
                <a:gd name="T63" fmla="*/ 846 h 992"/>
                <a:gd name="T64" fmla="*/ 908 w 994"/>
                <a:gd name="T65" fmla="*/ 774 h 992"/>
                <a:gd name="T66" fmla="*/ 954 w 994"/>
                <a:gd name="T67" fmla="*/ 690 h 992"/>
                <a:gd name="T68" fmla="*/ 972 w 994"/>
                <a:gd name="T69" fmla="*/ 644 h 992"/>
                <a:gd name="T70" fmla="*/ 984 w 994"/>
                <a:gd name="T71" fmla="*/ 596 h 992"/>
                <a:gd name="T72" fmla="*/ 990 w 994"/>
                <a:gd name="T73" fmla="*/ 546 h 992"/>
                <a:gd name="T74" fmla="*/ 994 w 994"/>
                <a:gd name="T75" fmla="*/ 496 h 992"/>
                <a:gd name="T76" fmla="*/ 992 w 994"/>
                <a:gd name="T77" fmla="*/ 470 h 992"/>
                <a:gd name="T78" fmla="*/ 988 w 994"/>
                <a:gd name="T79" fmla="*/ 420 h 992"/>
                <a:gd name="T80" fmla="*/ 978 w 994"/>
                <a:gd name="T81" fmla="*/ 372 h 992"/>
                <a:gd name="T82" fmla="*/ 964 w 994"/>
                <a:gd name="T83" fmla="*/ 326 h 992"/>
                <a:gd name="T84" fmla="*/ 934 w 994"/>
                <a:gd name="T85" fmla="*/ 260 h 992"/>
                <a:gd name="T86" fmla="*/ 880 w 994"/>
                <a:gd name="T87" fmla="*/ 180 h 992"/>
                <a:gd name="T88" fmla="*/ 812 w 994"/>
                <a:gd name="T89" fmla="*/ 114 h 992"/>
                <a:gd name="T90" fmla="*/ 734 w 994"/>
                <a:gd name="T91" fmla="*/ 60 h 992"/>
                <a:gd name="T92" fmla="*/ 668 w 994"/>
                <a:gd name="T93" fmla="*/ 30 h 992"/>
                <a:gd name="T94" fmla="*/ 620 w 994"/>
                <a:gd name="T95" fmla="*/ 16 h 992"/>
                <a:gd name="T96" fmla="*/ 572 w 994"/>
                <a:gd name="T97" fmla="*/ 6 h 992"/>
                <a:gd name="T98" fmla="*/ 522 w 994"/>
                <a:gd name="T99" fmla="*/ 0 h 992"/>
                <a:gd name="T100" fmla="*/ 498 w 994"/>
                <a:gd name="T101" fmla="*/ 0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94" h="992">
                  <a:moveTo>
                    <a:pt x="498" y="0"/>
                  </a:moveTo>
                  <a:lnTo>
                    <a:pt x="498" y="0"/>
                  </a:lnTo>
                  <a:lnTo>
                    <a:pt x="472" y="0"/>
                  </a:lnTo>
                  <a:lnTo>
                    <a:pt x="446" y="2"/>
                  </a:lnTo>
                  <a:lnTo>
                    <a:pt x="422" y="6"/>
                  </a:lnTo>
                  <a:lnTo>
                    <a:pt x="398" y="10"/>
                  </a:lnTo>
                  <a:lnTo>
                    <a:pt x="374" y="16"/>
                  </a:lnTo>
                  <a:lnTo>
                    <a:pt x="350" y="22"/>
                  </a:lnTo>
                  <a:lnTo>
                    <a:pt x="326" y="30"/>
                  </a:lnTo>
                  <a:lnTo>
                    <a:pt x="304" y="38"/>
                  </a:lnTo>
                  <a:lnTo>
                    <a:pt x="260" y="60"/>
                  </a:lnTo>
                  <a:lnTo>
                    <a:pt x="220" y="84"/>
                  </a:lnTo>
                  <a:lnTo>
                    <a:pt x="182" y="114"/>
                  </a:lnTo>
                  <a:lnTo>
                    <a:pt x="146" y="146"/>
                  </a:lnTo>
                  <a:lnTo>
                    <a:pt x="114" y="180"/>
                  </a:lnTo>
                  <a:lnTo>
                    <a:pt x="86" y="218"/>
                  </a:lnTo>
                  <a:lnTo>
                    <a:pt x="60" y="260"/>
                  </a:lnTo>
                  <a:lnTo>
                    <a:pt x="40" y="304"/>
                  </a:lnTo>
                  <a:lnTo>
                    <a:pt x="30" y="326"/>
                  </a:lnTo>
                  <a:lnTo>
                    <a:pt x="22" y="348"/>
                  </a:lnTo>
                  <a:lnTo>
                    <a:pt x="16" y="372"/>
                  </a:lnTo>
                  <a:lnTo>
                    <a:pt x="10" y="396"/>
                  </a:lnTo>
                  <a:lnTo>
                    <a:pt x="6" y="420"/>
                  </a:lnTo>
                  <a:lnTo>
                    <a:pt x="4" y="446"/>
                  </a:lnTo>
                  <a:lnTo>
                    <a:pt x="2" y="470"/>
                  </a:lnTo>
                  <a:lnTo>
                    <a:pt x="0" y="496"/>
                  </a:lnTo>
                  <a:lnTo>
                    <a:pt x="0" y="496"/>
                  </a:lnTo>
                  <a:lnTo>
                    <a:pt x="2" y="522"/>
                  </a:lnTo>
                  <a:lnTo>
                    <a:pt x="4" y="546"/>
                  </a:lnTo>
                  <a:lnTo>
                    <a:pt x="6" y="572"/>
                  </a:lnTo>
                  <a:lnTo>
                    <a:pt x="10" y="596"/>
                  </a:lnTo>
                  <a:lnTo>
                    <a:pt x="16" y="620"/>
                  </a:lnTo>
                  <a:lnTo>
                    <a:pt x="22" y="644"/>
                  </a:lnTo>
                  <a:lnTo>
                    <a:pt x="30" y="666"/>
                  </a:lnTo>
                  <a:lnTo>
                    <a:pt x="40" y="690"/>
                  </a:lnTo>
                  <a:lnTo>
                    <a:pt x="60" y="732"/>
                  </a:lnTo>
                  <a:lnTo>
                    <a:pt x="86" y="774"/>
                  </a:lnTo>
                  <a:lnTo>
                    <a:pt x="114" y="812"/>
                  </a:lnTo>
                  <a:lnTo>
                    <a:pt x="146" y="846"/>
                  </a:lnTo>
                  <a:lnTo>
                    <a:pt x="182" y="878"/>
                  </a:lnTo>
                  <a:lnTo>
                    <a:pt x="220" y="908"/>
                  </a:lnTo>
                  <a:lnTo>
                    <a:pt x="260" y="932"/>
                  </a:lnTo>
                  <a:lnTo>
                    <a:pt x="304" y="954"/>
                  </a:lnTo>
                  <a:lnTo>
                    <a:pt x="326" y="962"/>
                  </a:lnTo>
                  <a:lnTo>
                    <a:pt x="350" y="970"/>
                  </a:lnTo>
                  <a:lnTo>
                    <a:pt x="374" y="976"/>
                  </a:lnTo>
                  <a:lnTo>
                    <a:pt x="398" y="982"/>
                  </a:lnTo>
                  <a:lnTo>
                    <a:pt x="422" y="986"/>
                  </a:lnTo>
                  <a:lnTo>
                    <a:pt x="446" y="990"/>
                  </a:lnTo>
                  <a:lnTo>
                    <a:pt x="472" y="992"/>
                  </a:lnTo>
                  <a:lnTo>
                    <a:pt x="498" y="992"/>
                  </a:lnTo>
                  <a:lnTo>
                    <a:pt x="498" y="992"/>
                  </a:lnTo>
                  <a:lnTo>
                    <a:pt x="522" y="992"/>
                  </a:lnTo>
                  <a:lnTo>
                    <a:pt x="548" y="990"/>
                  </a:lnTo>
                  <a:lnTo>
                    <a:pt x="572" y="986"/>
                  </a:lnTo>
                  <a:lnTo>
                    <a:pt x="596" y="982"/>
                  </a:lnTo>
                  <a:lnTo>
                    <a:pt x="620" y="976"/>
                  </a:lnTo>
                  <a:lnTo>
                    <a:pt x="644" y="970"/>
                  </a:lnTo>
                  <a:lnTo>
                    <a:pt x="668" y="962"/>
                  </a:lnTo>
                  <a:lnTo>
                    <a:pt x="690" y="954"/>
                  </a:lnTo>
                  <a:lnTo>
                    <a:pt x="734" y="932"/>
                  </a:lnTo>
                  <a:lnTo>
                    <a:pt x="774" y="908"/>
                  </a:lnTo>
                  <a:lnTo>
                    <a:pt x="812" y="878"/>
                  </a:lnTo>
                  <a:lnTo>
                    <a:pt x="848" y="846"/>
                  </a:lnTo>
                  <a:lnTo>
                    <a:pt x="880" y="812"/>
                  </a:lnTo>
                  <a:lnTo>
                    <a:pt x="908" y="774"/>
                  </a:lnTo>
                  <a:lnTo>
                    <a:pt x="934" y="732"/>
                  </a:lnTo>
                  <a:lnTo>
                    <a:pt x="954" y="690"/>
                  </a:lnTo>
                  <a:lnTo>
                    <a:pt x="964" y="666"/>
                  </a:lnTo>
                  <a:lnTo>
                    <a:pt x="972" y="644"/>
                  </a:lnTo>
                  <a:lnTo>
                    <a:pt x="978" y="620"/>
                  </a:lnTo>
                  <a:lnTo>
                    <a:pt x="984" y="596"/>
                  </a:lnTo>
                  <a:lnTo>
                    <a:pt x="988" y="572"/>
                  </a:lnTo>
                  <a:lnTo>
                    <a:pt x="990" y="546"/>
                  </a:lnTo>
                  <a:lnTo>
                    <a:pt x="992" y="522"/>
                  </a:lnTo>
                  <a:lnTo>
                    <a:pt x="994" y="496"/>
                  </a:lnTo>
                  <a:lnTo>
                    <a:pt x="994" y="496"/>
                  </a:lnTo>
                  <a:lnTo>
                    <a:pt x="992" y="470"/>
                  </a:lnTo>
                  <a:lnTo>
                    <a:pt x="990" y="446"/>
                  </a:lnTo>
                  <a:lnTo>
                    <a:pt x="988" y="420"/>
                  </a:lnTo>
                  <a:lnTo>
                    <a:pt x="984" y="396"/>
                  </a:lnTo>
                  <a:lnTo>
                    <a:pt x="978" y="372"/>
                  </a:lnTo>
                  <a:lnTo>
                    <a:pt x="972" y="348"/>
                  </a:lnTo>
                  <a:lnTo>
                    <a:pt x="964" y="326"/>
                  </a:lnTo>
                  <a:lnTo>
                    <a:pt x="954" y="304"/>
                  </a:lnTo>
                  <a:lnTo>
                    <a:pt x="934" y="260"/>
                  </a:lnTo>
                  <a:lnTo>
                    <a:pt x="908" y="218"/>
                  </a:lnTo>
                  <a:lnTo>
                    <a:pt x="880" y="180"/>
                  </a:lnTo>
                  <a:lnTo>
                    <a:pt x="848" y="146"/>
                  </a:lnTo>
                  <a:lnTo>
                    <a:pt x="812" y="114"/>
                  </a:lnTo>
                  <a:lnTo>
                    <a:pt x="774" y="84"/>
                  </a:lnTo>
                  <a:lnTo>
                    <a:pt x="734" y="60"/>
                  </a:lnTo>
                  <a:lnTo>
                    <a:pt x="690" y="38"/>
                  </a:lnTo>
                  <a:lnTo>
                    <a:pt x="668" y="30"/>
                  </a:lnTo>
                  <a:lnTo>
                    <a:pt x="644" y="22"/>
                  </a:lnTo>
                  <a:lnTo>
                    <a:pt x="620" y="16"/>
                  </a:lnTo>
                  <a:lnTo>
                    <a:pt x="596" y="10"/>
                  </a:lnTo>
                  <a:lnTo>
                    <a:pt x="572" y="6"/>
                  </a:lnTo>
                  <a:lnTo>
                    <a:pt x="548" y="2"/>
                  </a:lnTo>
                  <a:lnTo>
                    <a:pt x="522" y="0"/>
                  </a:lnTo>
                  <a:lnTo>
                    <a:pt x="498" y="0"/>
                  </a:lnTo>
                  <a:lnTo>
                    <a:pt x="4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7" name="Line 77">
              <a:extLst>
                <a:ext uri="{FF2B5EF4-FFF2-40B4-BE49-F238E27FC236}">
                  <a16:creationId xmlns:a16="http://schemas.microsoft.com/office/drawing/2014/main" id="{09FDE419-0AE5-44B9-8B52-EFA0F6FE9177}"/>
                </a:ext>
              </a:extLst>
            </p:cNvPr>
            <p:cNvSpPr>
              <a:spLocks noChangeShapeType="1"/>
            </p:cNvSpPr>
            <p:nvPr/>
          </p:nvSpPr>
          <p:spPr bwMode="auto">
            <a:xfrm>
              <a:off x="-2930525"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8" name="Freeform 78">
              <a:extLst>
                <a:ext uri="{FF2B5EF4-FFF2-40B4-BE49-F238E27FC236}">
                  <a16:creationId xmlns:a16="http://schemas.microsoft.com/office/drawing/2014/main" id="{8E0C580B-1660-4883-BB2C-721EE087C029}"/>
                </a:ext>
              </a:extLst>
            </p:cNvPr>
            <p:cNvSpPr>
              <a:spLocks noEditPoints="1"/>
            </p:cNvSpPr>
            <p:nvPr/>
          </p:nvSpPr>
          <p:spPr bwMode="auto">
            <a:xfrm>
              <a:off x="-4860925" y="2095500"/>
              <a:ext cx="771525" cy="771525"/>
            </a:xfrm>
            <a:custGeom>
              <a:avLst/>
              <a:gdLst>
                <a:gd name="T0" fmla="*/ 486 w 486"/>
                <a:gd name="T1" fmla="*/ 244 h 486"/>
                <a:gd name="T2" fmla="*/ 482 w 486"/>
                <a:gd name="T3" fmla="*/ 292 h 486"/>
                <a:gd name="T4" fmla="*/ 468 w 486"/>
                <a:gd name="T5" fmla="*/ 338 h 486"/>
                <a:gd name="T6" fmla="*/ 446 w 486"/>
                <a:gd name="T7" fmla="*/ 380 h 486"/>
                <a:gd name="T8" fmla="*/ 416 w 486"/>
                <a:gd name="T9" fmla="*/ 416 h 486"/>
                <a:gd name="T10" fmla="*/ 380 w 486"/>
                <a:gd name="T11" fmla="*/ 444 h 486"/>
                <a:gd name="T12" fmla="*/ 338 w 486"/>
                <a:gd name="T13" fmla="*/ 468 h 486"/>
                <a:gd name="T14" fmla="*/ 292 w 486"/>
                <a:gd name="T15" fmla="*/ 482 h 486"/>
                <a:gd name="T16" fmla="*/ 244 w 486"/>
                <a:gd name="T17" fmla="*/ 486 h 486"/>
                <a:gd name="T18" fmla="*/ 218 w 486"/>
                <a:gd name="T19" fmla="*/ 486 h 486"/>
                <a:gd name="T20" fmla="*/ 172 w 486"/>
                <a:gd name="T21" fmla="*/ 476 h 486"/>
                <a:gd name="T22" fmla="*/ 128 w 486"/>
                <a:gd name="T23" fmla="*/ 458 h 486"/>
                <a:gd name="T24" fmla="*/ 88 w 486"/>
                <a:gd name="T25" fmla="*/ 430 h 486"/>
                <a:gd name="T26" fmla="*/ 56 w 486"/>
                <a:gd name="T27" fmla="*/ 398 h 486"/>
                <a:gd name="T28" fmla="*/ 30 w 486"/>
                <a:gd name="T29" fmla="*/ 360 h 486"/>
                <a:gd name="T30" fmla="*/ 12 w 486"/>
                <a:gd name="T31" fmla="*/ 316 h 486"/>
                <a:gd name="T32" fmla="*/ 2 w 486"/>
                <a:gd name="T33" fmla="*/ 268 h 486"/>
                <a:gd name="T34" fmla="*/ 0 w 486"/>
                <a:gd name="T35" fmla="*/ 244 h 486"/>
                <a:gd name="T36" fmla="*/ 6 w 486"/>
                <a:gd name="T37" fmla="*/ 194 h 486"/>
                <a:gd name="T38" fmla="*/ 20 w 486"/>
                <a:gd name="T39" fmla="*/ 148 h 486"/>
                <a:gd name="T40" fmla="*/ 42 w 486"/>
                <a:gd name="T41" fmla="*/ 106 h 486"/>
                <a:gd name="T42" fmla="*/ 72 w 486"/>
                <a:gd name="T43" fmla="*/ 70 h 486"/>
                <a:gd name="T44" fmla="*/ 108 w 486"/>
                <a:gd name="T45" fmla="*/ 42 h 486"/>
                <a:gd name="T46" fmla="*/ 148 w 486"/>
                <a:gd name="T47" fmla="*/ 18 h 486"/>
                <a:gd name="T48" fmla="*/ 194 w 486"/>
                <a:gd name="T49" fmla="*/ 4 h 486"/>
                <a:gd name="T50" fmla="*/ 244 w 486"/>
                <a:gd name="T51" fmla="*/ 0 h 486"/>
                <a:gd name="T52" fmla="*/ 268 w 486"/>
                <a:gd name="T53" fmla="*/ 0 h 486"/>
                <a:gd name="T54" fmla="*/ 316 w 486"/>
                <a:gd name="T55" fmla="*/ 10 h 486"/>
                <a:gd name="T56" fmla="*/ 360 w 486"/>
                <a:gd name="T57" fmla="*/ 28 h 486"/>
                <a:gd name="T58" fmla="*/ 398 w 486"/>
                <a:gd name="T59" fmla="*/ 56 h 486"/>
                <a:gd name="T60" fmla="*/ 432 w 486"/>
                <a:gd name="T61" fmla="*/ 88 h 486"/>
                <a:gd name="T62" fmla="*/ 458 w 486"/>
                <a:gd name="T63" fmla="*/ 128 h 486"/>
                <a:gd name="T64" fmla="*/ 476 w 486"/>
                <a:gd name="T65" fmla="*/ 170 h 486"/>
                <a:gd name="T66" fmla="*/ 486 w 486"/>
                <a:gd name="T67" fmla="*/ 218 h 486"/>
                <a:gd name="T68" fmla="*/ 486 w 486"/>
                <a:gd name="T69" fmla="*/ 244 h 486"/>
                <a:gd name="T70" fmla="*/ 486 w 486"/>
                <a:gd name="T71" fmla="*/ 24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6" h="486">
                  <a:moveTo>
                    <a:pt x="486" y="244"/>
                  </a:moveTo>
                  <a:lnTo>
                    <a:pt x="486" y="244"/>
                  </a:lnTo>
                  <a:lnTo>
                    <a:pt x="486" y="268"/>
                  </a:lnTo>
                  <a:lnTo>
                    <a:pt x="482" y="292"/>
                  </a:lnTo>
                  <a:lnTo>
                    <a:pt x="476" y="316"/>
                  </a:lnTo>
                  <a:lnTo>
                    <a:pt x="468" y="338"/>
                  </a:lnTo>
                  <a:lnTo>
                    <a:pt x="458" y="360"/>
                  </a:lnTo>
                  <a:lnTo>
                    <a:pt x="446" y="380"/>
                  </a:lnTo>
                  <a:lnTo>
                    <a:pt x="432" y="398"/>
                  </a:lnTo>
                  <a:lnTo>
                    <a:pt x="416" y="416"/>
                  </a:lnTo>
                  <a:lnTo>
                    <a:pt x="398" y="430"/>
                  </a:lnTo>
                  <a:lnTo>
                    <a:pt x="380" y="444"/>
                  </a:lnTo>
                  <a:lnTo>
                    <a:pt x="360" y="458"/>
                  </a:lnTo>
                  <a:lnTo>
                    <a:pt x="338" y="468"/>
                  </a:lnTo>
                  <a:lnTo>
                    <a:pt x="316" y="476"/>
                  </a:lnTo>
                  <a:lnTo>
                    <a:pt x="292" y="482"/>
                  </a:lnTo>
                  <a:lnTo>
                    <a:pt x="268" y="486"/>
                  </a:lnTo>
                  <a:lnTo>
                    <a:pt x="244" y="486"/>
                  </a:lnTo>
                  <a:lnTo>
                    <a:pt x="244" y="486"/>
                  </a:lnTo>
                  <a:lnTo>
                    <a:pt x="218" y="486"/>
                  </a:lnTo>
                  <a:lnTo>
                    <a:pt x="194" y="482"/>
                  </a:lnTo>
                  <a:lnTo>
                    <a:pt x="172" y="476"/>
                  </a:lnTo>
                  <a:lnTo>
                    <a:pt x="148" y="468"/>
                  </a:lnTo>
                  <a:lnTo>
                    <a:pt x="128" y="458"/>
                  </a:lnTo>
                  <a:lnTo>
                    <a:pt x="108" y="444"/>
                  </a:lnTo>
                  <a:lnTo>
                    <a:pt x="88" y="430"/>
                  </a:lnTo>
                  <a:lnTo>
                    <a:pt x="72" y="416"/>
                  </a:lnTo>
                  <a:lnTo>
                    <a:pt x="56" y="398"/>
                  </a:lnTo>
                  <a:lnTo>
                    <a:pt x="42" y="380"/>
                  </a:lnTo>
                  <a:lnTo>
                    <a:pt x="30" y="360"/>
                  </a:lnTo>
                  <a:lnTo>
                    <a:pt x="20" y="338"/>
                  </a:lnTo>
                  <a:lnTo>
                    <a:pt x="12" y="316"/>
                  </a:lnTo>
                  <a:lnTo>
                    <a:pt x="6" y="292"/>
                  </a:lnTo>
                  <a:lnTo>
                    <a:pt x="2" y="268"/>
                  </a:lnTo>
                  <a:lnTo>
                    <a:pt x="0" y="244"/>
                  </a:lnTo>
                  <a:lnTo>
                    <a:pt x="0" y="244"/>
                  </a:lnTo>
                  <a:lnTo>
                    <a:pt x="2" y="218"/>
                  </a:lnTo>
                  <a:lnTo>
                    <a:pt x="6" y="194"/>
                  </a:lnTo>
                  <a:lnTo>
                    <a:pt x="12" y="170"/>
                  </a:lnTo>
                  <a:lnTo>
                    <a:pt x="20" y="148"/>
                  </a:lnTo>
                  <a:lnTo>
                    <a:pt x="30" y="128"/>
                  </a:lnTo>
                  <a:lnTo>
                    <a:pt x="42" y="106"/>
                  </a:lnTo>
                  <a:lnTo>
                    <a:pt x="56" y="88"/>
                  </a:lnTo>
                  <a:lnTo>
                    <a:pt x="72" y="70"/>
                  </a:lnTo>
                  <a:lnTo>
                    <a:pt x="88" y="56"/>
                  </a:lnTo>
                  <a:lnTo>
                    <a:pt x="108" y="42"/>
                  </a:lnTo>
                  <a:lnTo>
                    <a:pt x="128" y="28"/>
                  </a:lnTo>
                  <a:lnTo>
                    <a:pt x="148" y="18"/>
                  </a:lnTo>
                  <a:lnTo>
                    <a:pt x="172" y="10"/>
                  </a:lnTo>
                  <a:lnTo>
                    <a:pt x="194" y="4"/>
                  </a:lnTo>
                  <a:lnTo>
                    <a:pt x="218" y="0"/>
                  </a:lnTo>
                  <a:lnTo>
                    <a:pt x="244" y="0"/>
                  </a:lnTo>
                  <a:lnTo>
                    <a:pt x="244" y="0"/>
                  </a:lnTo>
                  <a:lnTo>
                    <a:pt x="268" y="0"/>
                  </a:lnTo>
                  <a:lnTo>
                    <a:pt x="292" y="4"/>
                  </a:lnTo>
                  <a:lnTo>
                    <a:pt x="316" y="10"/>
                  </a:lnTo>
                  <a:lnTo>
                    <a:pt x="338" y="18"/>
                  </a:lnTo>
                  <a:lnTo>
                    <a:pt x="360" y="28"/>
                  </a:lnTo>
                  <a:lnTo>
                    <a:pt x="380" y="42"/>
                  </a:lnTo>
                  <a:lnTo>
                    <a:pt x="398" y="56"/>
                  </a:lnTo>
                  <a:lnTo>
                    <a:pt x="416" y="70"/>
                  </a:lnTo>
                  <a:lnTo>
                    <a:pt x="432" y="88"/>
                  </a:lnTo>
                  <a:lnTo>
                    <a:pt x="446" y="106"/>
                  </a:lnTo>
                  <a:lnTo>
                    <a:pt x="458" y="128"/>
                  </a:lnTo>
                  <a:lnTo>
                    <a:pt x="468" y="148"/>
                  </a:lnTo>
                  <a:lnTo>
                    <a:pt x="476" y="170"/>
                  </a:lnTo>
                  <a:lnTo>
                    <a:pt x="482" y="194"/>
                  </a:lnTo>
                  <a:lnTo>
                    <a:pt x="486" y="218"/>
                  </a:lnTo>
                  <a:lnTo>
                    <a:pt x="486" y="244"/>
                  </a:lnTo>
                  <a:lnTo>
                    <a:pt x="486" y="244"/>
                  </a:lnTo>
                  <a:close/>
                  <a:moveTo>
                    <a:pt x="486" y="244"/>
                  </a:moveTo>
                  <a:lnTo>
                    <a:pt x="486" y="244"/>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9" name="Freeform 79">
              <a:extLst>
                <a:ext uri="{FF2B5EF4-FFF2-40B4-BE49-F238E27FC236}">
                  <a16:creationId xmlns:a16="http://schemas.microsoft.com/office/drawing/2014/main" id="{01820C33-AA43-4AC2-96E2-5CCADF607D1A}"/>
                </a:ext>
              </a:extLst>
            </p:cNvPr>
            <p:cNvSpPr>
              <a:spLocks/>
            </p:cNvSpPr>
            <p:nvPr/>
          </p:nvSpPr>
          <p:spPr bwMode="auto">
            <a:xfrm>
              <a:off x="-4860925" y="2095500"/>
              <a:ext cx="771525" cy="771525"/>
            </a:xfrm>
            <a:custGeom>
              <a:avLst/>
              <a:gdLst>
                <a:gd name="T0" fmla="*/ 486 w 486"/>
                <a:gd name="T1" fmla="*/ 244 h 486"/>
                <a:gd name="T2" fmla="*/ 482 w 486"/>
                <a:gd name="T3" fmla="*/ 292 h 486"/>
                <a:gd name="T4" fmla="*/ 468 w 486"/>
                <a:gd name="T5" fmla="*/ 338 h 486"/>
                <a:gd name="T6" fmla="*/ 446 w 486"/>
                <a:gd name="T7" fmla="*/ 380 h 486"/>
                <a:gd name="T8" fmla="*/ 416 w 486"/>
                <a:gd name="T9" fmla="*/ 416 h 486"/>
                <a:gd name="T10" fmla="*/ 380 w 486"/>
                <a:gd name="T11" fmla="*/ 444 h 486"/>
                <a:gd name="T12" fmla="*/ 338 w 486"/>
                <a:gd name="T13" fmla="*/ 468 h 486"/>
                <a:gd name="T14" fmla="*/ 292 w 486"/>
                <a:gd name="T15" fmla="*/ 482 h 486"/>
                <a:gd name="T16" fmla="*/ 244 w 486"/>
                <a:gd name="T17" fmla="*/ 486 h 486"/>
                <a:gd name="T18" fmla="*/ 218 w 486"/>
                <a:gd name="T19" fmla="*/ 486 h 486"/>
                <a:gd name="T20" fmla="*/ 172 w 486"/>
                <a:gd name="T21" fmla="*/ 476 h 486"/>
                <a:gd name="T22" fmla="*/ 128 w 486"/>
                <a:gd name="T23" fmla="*/ 458 h 486"/>
                <a:gd name="T24" fmla="*/ 88 w 486"/>
                <a:gd name="T25" fmla="*/ 430 h 486"/>
                <a:gd name="T26" fmla="*/ 56 w 486"/>
                <a:gd name="T27" fmla="*/ 398 h 486"/>
                <a:gd name="T28" fmla="*/ 30 w 486"/>
                <a:gd name="T29" fmla="*/ 360 h 486"/>
                <a:gd name="T30" fmla="*/ 12 w 486"/>
                <a:gd name="T31" fmla="*/ 316 h 486"/>
                <a:gd name="T32" fmla="*/ 2 w 486"/>
                <a:gd name="T33" fmla="*/ 268 h 486"/>
                <a:gd name="T34" fmla="*/ 0 w 486"/>
                <a:gd name="T35" fmla="*/ 244 h 486"/>
                <a:gd name="T36" fmla="*/ 6 w 486"/>
                <a:gd name="T37" fmla="*/ 194 h 486"/>
                <a:gd name="T38" fmla="*/ 20 w 486"/>
                <a:gd name="T39" fmla="*/ 148 h 486"/>
                <a:gd name="T40" fmla="*/ 42 w 486"/>
                <a:gd name="T41" fmla="*/ 106 h 486"/>
                <a:gd name="T42" fmla="*/ 72 w 486"/>
                <a:gd name="T43" fmla="*/ 70 h 486"/>
                <a:gd name="T44" fmla="*/ 108 w 486"/>
                <a:gd name="T45" fmla="*/ 42 h 486"/>
                <a:gd name="T46" fmla="*/ 148 w 486"/>
                <a:gd name="T47" fmla="*/ 18 h 486"/>
                <a:gd name="T48" fmla="*/ 194 w 486"/>
                <a:gd name="T49" fmla="*/ 4 h 486"/>
                <a:gd name="T50" fmla="*/ 244 w 486"/>
                <a:gd name="T51" fmla="*/ 0 h 486"/>
                <a:gd name="T52" fmla="*/ 268 w 486"/>
                <a:gd name="T53" fmla="*/ 0 h 486"/>
                <a:gd name="T54" fmla="*/ 316 w 486"/>
                <a:gd name="T55" fmla="*/ 10 h 486"/>
                <a:gd name="T56" fmla="*/ 360 w 486"/>
                <a:gd name="T57" fmla="*/ 28 h 486"/>
                <a:gd name="T58" fmla="*/ 398 w 486"/>
                <a:gd name="T59" fmla="*/ 56 h 486"/>
                <a:gd name="T60" fmla="*/ 432 w 486"/>
                <a:gd name="T61" fmla="*/ 88 h 486"/>
                <a:gd name="T62" fmla="*/ 458 w 486"/>
                <a:gd name="T63" fmla="*/ 128 h 486"/>
                <a:gd name="T64" fmla="*/ 476 w 486"/>
                <a:gd name="T65" fmla="*/ 170 h 486"/>
                <a:gd name="T66" fmla="*/ 486 w 486"/>
                <a:gd name="T67" fmla="*/ 218 h 486"/>
                <a:gd name="T68" fmla="*/ 486 w 486"/>
                <a:gd name="T69" fmla="*/ 24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6" h="486">
                  <a:moveTo>
                    <a:pt x="486" y="244"/>
                  </a:moveTo>
                  <a:lnTo>
                    <a:pt x="486" y="244"/>
                  </a:lnTo>
                  <a:lnTo>
                    <a:pt x="486" y="268"/>
                  </a:lnTo>
                  <a:lnTo>
                    <a:pt x="482" y="292"/>
                  </a:lnTo>
                  <a:lnTo>
                    <a:pt x="476" y="316"/>
                  </a:lnTo>
                  <a:lnTo>
                    <a:pt x="468" y="338"/>
                  </a:lnTo>
                  <a:lnTo>
                    <a:pt x="458" y="360"/>
                  </a:lnTo>
                  <a:lnTo>
                    <a:pt x="446" y="380"/>
                  </a:lnTo>
                  <a:lnTo>
                    <a:pt x="432" y="398"/>
                  </a:lnTo>
                  <a:lnTo>
                    <a:pt x="416" y="416"/>
                  </a:lnTo>
                  <a:lnTo>
                    <a:pt x="398" y="430"/>
                  </a:lnTo>
                  <a:lnTo>
                    <a:pt x="380" y="444"/>
                  </a:lnTo>
                  <a:lnTo>
                    <a:pt x="360" y="458"/>
                  </a:lnTo>
                  <a:lnTo>
                    <a:pt x="338" y="468"/>
                  </a:lnTo>
                  <a:lnTo>
                    <a:pt x="316" y="476"/>
                  </a:lnTo>
                  <a:lnTo>
                    <a:pt x="292" y="482"/>
                  </a:lnTo>
                  <a:lnTo>
                    <a:pt x="268" y="486"/>
                  </a:lnTo>
                  <a:lnTo>
                    <a:pt x="244" y="486"/>
                  </a:lnTo>
                  <a:lnTo>
                    <a:pt x="244" y="486"/>
                  </a:lnTo>
                  <a:lnTo>
                    <a:pt x="218" y="486"/>
                  </a:lnTo>
                  <a:lnTo>
                    <a:pt x="194" y="482"/>
                  </a:lnTo>
                  <a:lnTo>
                    <a:pt x="172" y="476"/>
                  </a:lnTo>
                  <a:lnTo>
                    <a:pt x="148" y="468"/>
                  </a:lnTo>
                  <a:lnTo>
                    <a:pt x="128" y="458"/>
                  </a:lnTo>
                  <a:lnTo>
                    <a:pt x="108" y="444"/>
                  </a:lnTo>
                  <a:lnTo>
                    <a:pt x="88" y="430"/>
                  </a:lnTo>
                  <a:lnTo>
                    <a:pt x="72" y="416"/>
                  </a:lnTo>
                  <a:lnTo>
                    <a:pt x="56" y="398"/>
                  </a:lnTo>
                  <a:lnTo>
                    <a:pt x="42" y="380"/>
                  </a:lnTo>
                  <a:lnTo>
                    <a:pt x="30" y="360"/>
                  </a:lnTo>
                  <a:lnTo>
                    <a:pt x="20" y="338"/>
                  </a:lnTo>
                  <a:lnTo>
                    <a:pt x="12" y="316"/>
                  </a:lnTo>
                  <a:lnTo>
                    <a:pt x="6" y="292"/>
                  </a:lnTo>
                  <a:lnTo>
                    <a:pt x="2" y="268"/>
                  </a:lnTo>
                  <a:lnTo>
                    <a:pt x="0" y="244"/>
                  </a:lnTo>
                  <a:lnTo>
                    <a:pt x="0" y="244"/>
                  </a:lnTo>
                  <a:lnTo>
                    <a:pt x="2" y="218"/>
                  </a:lnTo>
                  <a:lnTo>
                    <a:pt x="6" y="194"/>
                  </a:lnTo>
                  <a:lnTo>
                    <a:pt x="12" y="170"/>
                  </a:lnTo>
                  <a:lnTo>
                    <a:pt x="20" y="148"/>
                  </a:lnTo>
                  <a:lnTo>
                    <a:pt x="30" y="128"/>
                  </a:lnTo>
                  <a:lnTo>
                    <a:pt x="42" y="106"/>
                  </a:lnTo>
                  <a:lnTo>
                    <a:pt x="56" y="88"/>
                  </a:lnTo>
                  <a:lnTo>
                    <a:pt x="72" y="70"/>
                  </a:lnTo>
                  <a:lnTo>
                    <a:pt x="88" y="56"/>
                  </a:lnTo>
                  <a:lnTo>
                    <a:pt x="108" y="42"/>
                  </a:lnTo>
                  <a:lnTo>
                    <a:pt x="128" y="28"/>
                  </a:lnTo>
                  <a:lnTo>
                    <a:pt x="148" y="18"/>
                  </a:lnTo>
                  <a:lnTo>
                    <a:pt x="172" y="10"/>
                  </a:lnTo>
                  <a:lnTo>
                    <a:pt x="194" y="4"/>
                  </a:lnTo>
                  <a:lnTo>
                    <a:pt x="218" y="0"/>
                  </a:lnTo>
                  <a:lnTo>
                    <a:pt x="244" y="0"/>
                  </a:lnTo>
                  <a:lnTo>
                    <a:pt x="244" y="0"/>
                  </a:lnTo>
                  <a:lnTo>
                    <a:pt x="268" y="0"/>
                  </a:lnTo>
                  <a:lnTo>
                    <a:pt x="292" y="4"/>
                  </a:lnTo>
                  <a:lnTo>
                    <a:pt x="316" y="10"/>
                  </a:lnTo>
                  <a:lnTo>
                    <a:pt x="338" y="18"/>
                  </a:lnTo>
                  <a:lnTo>
                    <a:pt x="360" y="28"/>
                  </a:lnTo>
                  <a:lnTo>
                    <a:pt x="380" y="42"/>
                  </a:lnTo>
                  <a:lnTo>
                    <a:pt x="398" y="56"/>
                  </a:lnTo>
                  <a:lnTo>
                    <a:pt x="416" y="70"/>
                  </a:lnTo>
                  <a:lnTo>
                    <a:pt x="432" y="88"/>
                  </a:lnTo>
                  <a:lnTo>
                    <a:pt x="446" y="106"/>
                  </a:lnTo>
                  <a:lnTo>
                    <a:pt x="458" y="128"/>
                  </a:lnTo>
                  <a:lnTo>
                    <a:pt x="468" y="148"/>
                  </a:lnTo>
                  <a:lnTo>
                    <a:pt x="476" y="170"/>
                  </a:lnTo>
                  <a:lnTo>
                    <a:pt x="482" y="194"/>
                  </a:lnTo>
                  <a:lnTo>
                    <a:pt x="486" y="218"/>
                  </a:lnTo>
                  <a:lnTo>
                    <a:pt x="486" y="244"/>
                  </a:lnTo>
                  <a:lnTo>
                    <a:pt x="486" y="2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0" name="Line 80">
              <a:extLst>
                <a:ext uri="{FF2B5EF4-FFF2-40B4-BE49-F238E27FC236}">
                  <a16:creationId xmlns:a16="http://schemas.microsoft.com/office/drawing/2014/main" id="{BBF7156A-DE97-4B4B-A55F-102E2027DF20}"/>
                </a:ext>
              </a:extLst>
            </p:cNvPr>
            <p:cNvSpPr>
              <a:spLocks noChangeShapeType="1"/>
            </p:cNvSpPr>
            <p:nvPr/>
          </p:nvSpPr>
          <p:spPr bwMode="auto">
            <a:xfrm>
              <a:off x="-4089400" y="24828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1" name="Freeform 81">
              <a:extLst>
                <a:ext uri="{FF2B5EF4-FFF2-40B4-BE49-F238E27FC236}">
                  <a16:creationId xmlns:a16="http://schemas.microsoft.com/office/drawing/2014/main" id="{AEE659B3-3CE6-4D4F-A390-D16B02A871D3}"/>
                </a:ext>
              </a:extLst>
            </p:cNvPr>
            <p:cNvSpPr>
              <a:spLocks noEditPoints="1"/>
            </p:cNvSpPr>
            <p:nvPr/>
          </p:nvSpPr>
          <p:spPr bwMode="auto">
            <a:xfrm>
              <a:off x="-5003800" y="1952625"/>
              <a:ext cx="1057275" cy="1057275"/>
            </a:xfrm>
            <a:custGeom>
              <a:avLst/>
              <a:gdLst>
                <a:gd name="T0" fmla="*/ 300 w 666"/>
                <a:gd name="T1" fmla="*/ 664 h 666"/>
                <a:gd name="T2" fmla="*/ 204 w 666"/>
                <a:gd name="T3" fmla="*/ 640 h 666"/>
                <a:gd name="T4" fmla="*/ 122 w 666"/>
                <a:gd name="T5" fmla="*/ 590 h 666"/>
                <a:gd name="T6" fmla="*/ 58 w 666"/>
                <a:gd name="T7" fmla="*/ 520 h 666"/>
                <a:gd name="T8" fmla="*/ 16 w 666"/>
                <a:gd name="T9" fmla="*/ 432 h 666"/>
                <a:gd name="T10" fmla="*/ 0 w 666"/>
                <a:gd name="T11" fmla="*/ 334 h 666"/>
                <a:gd name="T12" fmla="*/ 8 w 666"/>
                <a:gd name="T13" fmla="*/ 266 h 666"/>
                <a:gd name="T14" fmla="*/ 40 w 666"/>
                <a:gd name="T15" fmla="*/ 174 h 666"/>
                <a:gd name="T16" fmla="*/ 98 w 666"/>
                <a:gd name="T17" fmla="*/ 98 h 666"/>
                <a:gd name="T18" fmla="*/ 174 w 666"/>
                <a:gd name="T19" fmla="*/ 40 h 666"/>
                <a:gd name="T20" fmla="*/ 266 w 666"/>
                <a:gd name="T21" fmla="*/ 6 h 666"/>
                <a:gd name="T22" fmla="*/ 334 w 666"/>
                <a:gd name="T23" fmla="*/ 0 h 666"/>
                <a:gd name="T24" fmla="*/ 432 w 666"/>
                <a:gd name="T25" fmla="*/ 14 h 666"/>
                <a:gd name="T26" fmla="*/ 520 w 666"/>
                <a:gd name="T27" fmla="*/ 56 h 666"/>
                <a:gd name="T28" fmla="*/ 590 w 666"/>
                <a:gd name="T29" fmla="*/ 122 h 666"/>
                <a:gd name="T30" fmla="*/ 640 w 666"/>
                <a:gd name="T31" fmla="*/ 204 h 666"/>
                <a:gd name="T32" fmla="*/ 664 w 666"/>
                <a:gd name="T33" fmla="*/ 300 h 666"/>
                <a:gd name="T34" fmla="*/ 664 w 666"/>
                <a:gd name="T35" fmla="*/ 368 h 666"/>
                <a:gd name="T36" fmla="*/ 640 w 666"/>
                <a:gd name="T37" fmla="*/ 462 h 666"/>
                <a:gd name="T38" fmla="*/ 590 w 666"/>
                <a:gd name="T39" fmla="*/ 544 h 666"/>
                <a:gd name="T40" fmla="*/ 520 w 666"/>
                <a:gd name="T41" fmla="*/ 610 h 666"/>
                <a:gd name="T42" fmla="*/ 432 w 666"/>
                <a:gd name="T43" fmla="*/ 652 h 666"/>
                <a:gd name="T44" fmla="*/ 334 w 666"/>
                <a:gd name="T45" fmla="*/ 666 h 666"/>
                <a:gd name="T46" fmla="*/ 334 w 666"/>
                <a:gd name="T47" fmla="*/ 180 h 666"/>
                <a:gd name="T48" fmla="*/ 288 w 666"/>
                <a:gd name="T49" fmla="*/ 186 h 666"/>
                <a:gd name="T50" fmla="*/ 248 w 666"/>
                <a:gd name="T51" fmla="*/ 206 h 666"/>
                <a:gd name="T52" fmla="*/ 214 w 666"/>
                <a:gd name="T53" fmla="*/ 236 h 666"/>
                <a:gd name="T54" fmla="*/ 192 w 666"/>
                <a:gd name="T55" fmla="*/ 274 h 666"/>
                <a:gd name="T56" fmla="*/ 180 w 666"/>
                <a:gd name="T57" fmla="*/ 318 h 666"/>
                <a:gd name="T58" fmla="*/ 180 w 666"/>
                <a:gd name="T59" fmla="*/ 348 h 666"/>
                <a:gd name="T60" fmla="*/ 192 w 666"/>
                <a:gd name="T61" fmla="*/ 392 h 666"/>
                <a:gd name="T62" fmla="*/ 214 w 666"/>
                <a:gd name="T63" fmla="*/ 430 h 666"/>
                <a:gd name="T64" fmla="*/ 248 w 666"/>
                <a:gd name="T65" fmla="*/ 460 h 666"/>
                <a:gd name="T66" fmla="*/ 288 w 666"/>
                <a:gd name="T67" fmla="*/ 480 h 666"/>
                <a:gd name="T68" fmla="*/ 334 w 666"/>
                <a:gd name="T69" fmla="*/ 486 h 666"/>
                <a:gd name="T70" fmla="*/ 364 w 666"/>
                <a:gd name="T71" fmla="*/ 484 h 666"/>
                <a:gd name="T72" fmla="*/ 406 w 666"/>
                <a:gd name="T73" fmla="*/ 468 h 666"/>
                <a:gd name="T74" fmla="*/ 442 w 666"/>
                <a:gd name="T75" fmla="*/ 442 h 666"/>
                <a:gd name="T76" fmla="*/ 468 w 666"/>
                <a:gd name="T77" fmla="*/ 406 h 666"/>
                <a:gd name="T78" fmla="*/ 484 w 666"/>
                <a:gd name="T79" fmla="*/ 364 h 666"/>
                <a:gd name="T80" fmla="*/ 488 w 666"/>
                <a:gd name="T81" fmla="*/ 334 h 666"/>
                <a:gd name="T82" fmla="*/ 480 w 666"/>
                <a:gd name="T83" fmla="*/ 288 h 666"/>
                <a:gd name="T84" fmla="*/ 462 w 666"/>
                <a:gd name="T85" fmla="*/ 248 h 666"/>
                <a:gd name="T86" fmla="*/ 432 w 666"/>
                <a:gd name="T87" fmla="*/ 214 h 666"/>
                <a:gd name="T88" fmla="*/ 394 w 666"/>
                <a:gd name="T89" fmla="*/ 192 h 666"/>
                <a:gd name="T90" fmla="*/ 350 w 666"/>
                <a:gd name="T91" fmla="*/ 180 h 666"/>
                <a:gd name="T92" fmla="*/ 334 w 666"/>
                <a:gd name="T93" fmla="*/ 18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66" h="666">
                  <a:moveTo>
                    <a:pt x="334" y="666"/>
                  </a:moveTo>
                  <a:lnTo>
                    <a:pt x="334" y="666"/>
                  </a:lnTo>
                  <a:lnTo>
                    <a:pt x="300" y="664"/>
                  </a:lnTo>
                  <a:lnTo>
                    <a:pt x="266" y="660"/>
                  </a:lnTo>
                  <a:lnTo>
                    <a:pt x="234" y="652"/>
                  </a:lnTo>
                  <a:lnTo>
                    <a:pt x="204" y="640"/>
                  </a:lnTo>
                  <a:lnTo>
                    <a:pt x="174" y="626"/>
                  </a:lnTo>
                  <a:lnTo>
                    <a:pt x="148" y="610"/>
                  </a:lnTo>
                  <a:lnTo>
                    <a:pt x="122" y="590"/>
                  </a:lnTo>
                  <a:lnTo>
                    <a:pt x="98" y="568"/>
                  </a:lnTo>
                  <a:lnTo>
                    <a:pt x="76" y="544"/>
                  </a:lnTo>
                  <a:lnTo>
                    <a:pt x="58" y="520"/>
                  </a:lnTo>
                  <a:lnTo>
                    <a:pt x="40" y="492"/>
                  </a:lnTo>
                  <a:lnTo>
                    <a:pt x="26" y="462"/>
                  </a:lnTo>
                  <a:lnTo>
                    <a:pt x="16" y="432"/>
                  </a:lnTo>
                  <a:lnTo>
                    <a:pt x="8" y="400"/>
                  </a:lnTo>
                  <a:lnTo>
                    <a:pt x="2" y="368"/>
                  </a:lnTo>
                  <a:lnTo>
                    <a:pt x="0" y="334"/>
                  </a:lnTo>
                  <a:lnTo>
                    <a:pt x="0" y="334"/>
                  </a:lnTo>
                  <a:lnTo>
                    <a:pt x="2" y="300"/>
                  </a:lnTo>
                  <a:lnTo>
                    <a:pt x="8" y="266"/>
                  </a:lnTo>
                  <a:lnTo>
                    <a:pt x="16" y="234"/>
                  </a:lnTo>
                  <a:lnTo>
                    <a:pt x="26" y="204"/>
                  </a:lnTo>
                  <a:lnTo>
                    <a:pt x="40" y="174"/>
                  </a:lnTo>
                  <a:lnTo>
                    <a:pt x="58" y="146"/>
                  </a:lnTo>
                  <a:lnTo>
                    <a:pt x="76" y="122"/>
                  </a:lnTo>
                  <a:lnTo>
                    <a:pt x="98" y="98"/>
                  </a:lnTo>
                  <a:lnTo>
                    <a:pt x="122" y="76"/>
                  </a:lnTo>
                  <a:lnTo>
                    <a:pt x="148" y="56"/>
                  </a:lnTo>
                  <a:lnTo>
                    <a:pt x="174" y="40"/>
                  </a:lnTo>
                  <a:lnTo>
                    <a:pt x="204" y="26"/>
                  </a:lnTo>
                  <a:lnTo>
                    <a:pt x="234" y="14"/>
                  </a:lnTo>
                  <a:lnTo>
                    <a:pt x="266" y="6"/>
                  </a:lnTo>
                  <a:lnTo>
                    <a:pt x="300" y="2"/>
                  </a:lnTo>
                  <a:lnTo>
                    <a:pt x="334" y="0"/>
                  </a:lnTo>
                  <a:lnTo>
                    <a:pt x="334" y="0"/>
                  </a:lnTo>
                  <a:lnTo>
                    <a:pt x="368" y="2"/>
                  </a:lnTo>
                  <a:lnTo>
                    <a:pt x="400" y="6"/>
                  </a:lnTo>
                  <a:lnTo>
                    <a:pt x="432" y="14"/>
                  </a:lnTo>
                  <a:lnTo>
                    <a:pt x="464" y="26"/>
                  </a:lnTo>
                  <a:lnTo>
                    <a:pt x="492" y="40"/>
                  </a:lnTo>
                  <a:lnTo>
                    <a:pt x="520" y="56"/>
                  </a:lnTo>
                  <a:lnTo>
                    <a:pt x="546" y="76"/>
                  </a:lnTo>
                  <a:lnTo>
                    <a:pt x="568" y="98"/>
                  </a:lnTo>
                  <a:lnTo>
                    <a:pt x="590" y="122"/>
                  </a:lnTo>
                  <a:lnTo>
                    <a:pt x="610" y="146"/>
                  </a:lnTo>
                  <a:lnTo>
                    <a:pt x="626" y="174"/>
                  </a:lnTo>
                  <a:lnTo>
                    <a:pt x="640" y="204"/>
                  </a:lnTo>
                  <a:lnTo>
                    <a:pt x="652" y="234"/>
                  </a:lnTo>
                  <a:lnTo>
                    <a:pt x="660" y="266"/>
                  </a:lnTo>
                  <a:lnTo>
                    <a:pt x="664" y="300"/>
                  </a:lnTo>
                  <a:lnTo>
                    <a:pt x="666" y="334"/>
                  </a:lnTo>
                  <a:lnTo>
                    <a:pt x="666" y="334"/>
                  </a:lnTo>
                  <a:lnTo>
                    <a:pt x="664" y="368"/>
                  </a:lnTo>
                  <a:lnTo>
                    <a:pt x="660" y="400"/>
                  </a:lnTo>
                  <a:lnTo>
                    <a:pt x="652" y="432"/>
                  </a:lnTo>
                  <a:lnTo>
                    <a:pt x="640" y="462"/>
                  </a:lnTo>
                  <a:lnTo>
                    <a:pt x="626" y="492"/>
                  </a:lnTo>
                  <a:lnTo>
                    <a:pt x="610" y="520"/>
                  </a:lnTo>
                  <a:lnTo>
                    <a:pt x="590" y="544"/>
                  </a:lnTo>
                  <a:lnTo>
                    <a:pt x="568" y="568"/>
                  </a:lnTo>
                  <a:lnTo>
                    <a:pt x="546" y="590"/>
                  </a:lnTo>
                  <a:lnTo>
                    <a:pt x="520" y="610"/>
                  </a:lnTo>
                  <a:lnTo>
                    <a:pt x="492" y="626"/>
                  </a:lnTo>
                  <a:lnTo>
                    <a:pt x="464" y="640"/>
                  </a:lnTo>
                  <a:lnTo>
                    <a:pt x="432" y="652"/>
                  </a:lnTo>
                  <a:lnTo>
                    <a:pt x="400" y="660"/>
                  </a:lnTo>
                  <a:lnTo>
                    <a:pt x="368" y="664"/>
                  </a:lnTo>
                  <a:lnTo>
                    <a:pt x="334" y="666"/>
                  </a:lnTo>
                  <a:lnTo>
                    <a:pt x="334" y="666"/>
                  </a:lnTo>
                  <a:close/>
                  <a:moveTo>
                    <a:pt x="334" y="180"/>
                  </a:moveTo>
                  <a:lnTo>
                    <a:pt x="334" y="180"/>
                  </a:lnTo>
                  <a:lnTo>
                    <a:pt x="318" y="180"/>
                  </a:lnTo>
                  <a:lnTo>
                    <a:pt x="302" y="182"/>
                  </a:lnTo>
                  <a:lnTo>
                    <a:pt x="288" y="186"/>
                  </a:lnTo>
                  <a:lnTo>
                    <a:pt x="274" y="192"/>
                  </a:lnTo>
                  <a:lnTo>
                    <a:pt x="260" y="198"/>
                  </a:lnTo>
                  <a:lnTo>
                    <a:pt x="248" y="206"/>
                  </a:lnTo>
                  <a:lnTo>
                    <a:pt x="236" y="214"/>
                  </a:lnTo>
                  <a:lnTo>
                    <a:pt x="224" y="224"/>
                  </a:lnTo>
                  <a:lnTo>
                    <a:pt x="214" y="236"/>
                  </a:lnTo>
                  <a:lnTo>
                    <a:pt x="206" y="248"/>
                  </a:lnTo>
                  <a:lnTo>
                    <a:pt x="198" y="260"/>
                  </a:lnTo>
                  <a:lnTo>
                    <a:pt x="192" y="274"/>
                  </a:lnTo>
                  <a:lnTo>
                    <a:pt x="186" y="288"/>
                  </a:lnTo>
                  <a:lnTo>
                    <a:pt x="182" y="302"/>
                  </a:lnTo>
                  <a:lnTo>
                    <a:pt x="180" y="318"/>
                  </a:lnTo>
                  <a:lnTo>
                    <a:pt x="180" y="334"/>
                  </a:lnTo>
                  <a:lnTo>
                    <a:pt x="180" y="334"/>
                  </a:lnTo>
                  <a:lnTo>
                    <a:pt x="180" y="348"/>
                  </a:lnTo>
                  <a:lnTo>
                    <a:pt x="182" y="364"/>
                  </a:lnTo>
                  <a:lnTo>
                    <a:pt x="186" y="378"/>
                  </a:lnTo>
                  <a:lnTo>
                    <a:pt x="192" y="392"/>
                  </a:lnTo>
                  <a:lnTo>
                    <a:pt x="198" y="406"/>
                  </a:lnTo>
                  <a:lnTo>
                    <a:pt x="206" y="420"/>
                  </a:lnTo>
                  <a:lnTo>
                    <a:pt x="214" y="430"/>
                  </a:lnTo>
                  <a:lnTo>
                    <a:pt x="224" y="442"/>
                  </a:lnTo>
                  <a:lnTo>
                    <a:pt x="236" y="452"/>
                  </a:lnTo>
                  <a:lnTo>
                    <a:pt x="248" y="460"/>
                  </a:lnTo>
                  <a:lnTo>
                    <a:pt x="260" y="468"/>
                  </a:lnTo>
                  <a:lnTo>
                    <a:pt x="274" y="474"/>
                  </a:lnTo>
                  <a:lnTo>
                    <a:pt x="288" y="480"/>
                  </a:lnTo>
                  <a:lnTo>
                    <a:pt x="302" y="484"/>
                  </a:lnTo>
                  <a:lnTo>
                    <a:pt x="318" y="486"/>
                  </a:lnTo>
                  <a:lnTo>
                    <a:pt x="334" y="486"/>
                  </a:lnTo>
                  <a:lnTo>
                    <a:pt x="334" y="486"/>
                  </a:lnTo>
                  <a:lnTo>
                    <a:pt x="350" y="486"/>
                  </a:lnTo>
                  <a:lnTo>
                    <a:pt x="364" y="484"/>
                  </a:lnTo>
                  <a:lnTo>
                    <a:pt x="380" y="480"/>
                  </a:lnTo>
                  <a:lnTo>
                    <a:pt x="394" y="474"/>
                  </a:lnTo>
                  <a:lnTo>
                    <a:pt x="406" y="468"/>
                  </a:lnTo>
                  <a:lnTo>
                    <a:pt x="420" y="460"/>
                  </a:lnTo>
                  <a:lnTo>
                    <a:pt x="432" y="452"/>
                  </a:lnTo>
                  <a:lnTo>
                    <a:pt x="442" y="442"/>
                  </a:lnTo>
                  <a:lnTo>
                    <a:pt x="452" y="430"/>
                  </a:lnTo>
                  <a:lnTo>
                    <a:pt x="462" y="420"/>
                  </a:lnTo>
                  <a:lnTo>
                    <a:pt x="468" y="406"/>
                  </a:lnTo>
                  <a:lnTo>
                    <a:pt x="476" y="392"/>
                  </a:lnTo>
                  <a:lnTo>
                    <a:pt x="480" y="378"/>
                  </a:lnTo>
                  <a:lnTo>
                    <a:pt x="484" y="364"/>
                  </a:lnTo>
                  <a:lnTo>
                    <a:pt x="486" y="348"/>
                  </a:lnTo>
                  <a:lnTo>
                    <a:pt x="488" y="334"/>
                  </a:lnTo>
                  <a:lnTo>
                    <a:pt x="488" y="334"/>
                  </a:lnTo>
                  <a:lnTo>
                    <a:pt x="486" y="318"/>
                  </a:lnTo>
                  <a:lnTo>
                    <a:pt x="484" y="302"/>
                  </a:lnTo>
                  <a:lnTo>
                    <a:pt x="480" y="288"/>
                  </a:lnTo>
                  <a:lnTo>
                    <a:pt x="476" y="274"/>
                  </a:lnTo>
                  <a:lnTo>
                    <a:pt x="468" y="260"/>
                  </a:lnTo>
                  <a:lnTo>
                    <a:pt x="462" y="248"/>
                  </a:lnTo>
                  <a:lnTo>
                    <a:pt x="452" y="236"/>
                  </a:lnTo>
                  <a:lnTo>
                    <a:pt x="442" y="224"/>
                  </a:lnTo>
                  <a:lnTo>
                    <a:pt x="432" y="214"/>
                  </a:lnTo>
                  <a:lnTo>
                    <a:pt x="420" y="206"/>
                  </a:lnTo>
                  <a:lnTo>
                    <a:pt x="406" y="198"/>
                  </a:lnTo>
                  <a:lnTo>
                    <a:pt x="394" y="192"/>
                  </a:lnTo>
                  <a:lnTo>
                    <a:pt x="380" y="186"/>
                  </a:lnTo>
                  <a:lnTo>
                    <a:pt x="364" y="182"/>
                  </a:lnTo>
                  <a:lnTo>
                    <a:pt x="350" y="180"/>
                  </a:lnTo>
                  <a:lnTo>
                    <a:pt x="334" y="180"/>
                  </a:lnTo>
                  <a:lnTo>
                    <a:pt x="334" y="180"/>
                  </a:lnTo>
                  <a:close/>
                  <a:moveTo>
                    <a:pt x="334" y="180"/>
                  </a:moveTo>
                  <a:lnTo>
                    <a:pt x="334" y="18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2" name="Line 84">
              <a:extLst>
                <a:ext uri="{FF2B5EF4-FFF2-40B4-BE49-F238E27FC236}">
                  <a16:creationId xmlns:a16="http://schemas.microsoft.com/office/drawing/2014/main" id="{B6E7335D-1289-4EB9-A26E-D153D77F537B}"/>
                </a:ext>
              </a:extLst>
            </p:cNvPr>
            <p:cNvSpPr>
              <a:spLocks noChangeShapeType="1"/>
            </p:cNvSpPr>
            <p:nvPr/>
          </p:nvSpPr>
          <p:spPr bwMode="auto">
            <a:xfrm>
              <a:off x="-4473575" y="223837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3" name="Freeform 85">
              <a:extLst>
                <a:ext uri="{FF2B5EF4-FFF2-40B4-BE49-F238E27FC236}">
                  <a16:creationId xmlns:a16="http://schemas.microsoft.com/office/drawing/2014/main" id="{F4AE3A8D-A4AE-40C1-95B6-0490BECF0363}"/>
                </a:ext>
              </a:extLst>
            </p:cNvPr>
            <p:cNvSpPr>
              <a:spLocks noEditPoints="1"/>
            </p:cNvSpPr>
            <p:nvPr/>
          </p:nvSpPr>
          <p:spPr bwMode="auto">
            <a:xfrm>
              <a:off x="-2974975" y="5730875"/>
              <a:ext cx="1130300" cy="1127125"/>
            </a:xfrm>
            <a:custGeom>
              <a:avLst/>
              <a:gdLst>
                <a:gd name="T0" fmla="*/ 320 w 712"/>
                <a:gd name="T1" fmla="*/ 708 h 710"/>
                <a:gd name="T2" fmla="*/ 218 w 712"/>
                <a:gd name="T3" fmla="*/ 682 h 710"/>
                <a:gd name="T4" fmla="*/ 130 w 712"/>
                <a:gd name="T5" fmla="*/ 630 h 710"/>
                <a:gd name="T6" fmla="*/ 62 w 712"/>
                <a:gd name="T7" fmla="*/ 554 h 710"/>
                <a:gd name="T8" fmla="*/ 16 w 712"/>
                <a:gd name="T9" fmla="*/ 460 h 710"/>
                <a:gd name="T10" fmla="*/ 0 w 712"/>
                <a:gd name="T11" fmla="*/ 356 h 710"/>
                <a:gd name="T12" fmla="*/ 8 w 712"/>
                <a:gd name="T13" fmla="*/ 284 h 710"/>
                <a:gd name="T14" fmla="*/ 44 w 712"/>
                <a:gd name="T15" fmla="*/ 186 h 710"/>
                <a:gd name="T16" fmla="*/ 104 w 712"/>
                <a:gd name="T17" fmla="*/ 104 h 710"/>
                <a:gd name="T18" fmla="*/ 186 w 712"/>
                <a:gd name="T19" fmla="*/ 42 h 710"/>
                <a:gd name="T20" fmla="*/ 284 w 712"/>
                <a:gd name="T21" fmla="*/ 8 h 710"/>
                <a:gd name="T22" fmla="*/ 356 w 712"/>
                <a:gd name="T23" fmla="*/ 0 h 710"/>
                <a:gd name="T24" fmla="*/ 462 w 712"/>
                <a:gd name="T25" fmla="*/ 16 h 710"/>
                <a:gd name="T26" fmla="*/ 554 w 712"/>
                <a:gd name="T27" fmla="*/ 60 h 710"/>
                <a:gd name="T28" fmla="*/ 630 w 712"/>
                <a:gd name="T29" fmla="*/ 130 h 710"/>
                <a:gd name="T30" fmla="*/ 684 w 712"/>
                <a:gd name="T31" fmla="*/ 218 h 710"/>
                <a:gd name="T32" fmla="*/ 710 w 712"/>
                <a:gd name="T33" fmla="*/ 320 h 710"/>
                <a:gd name="T34" fmla="*/ 710 w 712"/>
                <a:gd name="T35" fmla="*/ 392 h 710"/>
                <a:gd name="T36" fmla="*/ 684 w 712"/>
                <a:gd name="T37" fmla="*/ 494 h 710"/>
                <a:gd name="T38" fmla="*/ 630 w 712"/>
                <a:gd name="T39" fmla="*/ 582 h 710"/>
                <a:gd name="T40" fmla="*/ 554 w 712"/>
                <a:gd name="T41" fmla="*/ 650 h 710"/>
                <a:gd name="T42" fmla="*/ 462 w 712"/>
                <a:gd name="T43" fmla="*/ 694 h 710"/>
                <a:gd name="T44" fmla="*/ 356 w 712"/>
                <a:gd name="T45" fmla="*/ 710 h 710"/>
                <a:gd name="T46" fmla="*/ 356 w 712"/>
                <a:gd name="T47" fmla="*/ 180 h 710"/>
                <a:gd name="T48" fmla="*/ 304 w 712"/>
                <a:gd name="T49" fmla="*/ 188 h 710"/>
                <a:gd name="T50" fmla="*/ 258 w 712"/>
                <a:gd name="T51" fmla="*/ 210 h 710"/>
                <a:gd name="T52" fmla="*/ 220 w 712"/>
                <a:gd name="T53" fmla="*/ 244 h 710"/>
                <a:gd name="T54" fmla="*/ 194 w 712"/>
                <a:gd name="T55" fmla="*/ 286 h 710"/>
                <a:gd name="T56" fmla="*/ 180 w 712"/>
                <a:gd name="T57" fmla="*/ 338 h 710"/>
                <a:gd name="T58" fmla="*/ 180 w 712"/>
                <a:gd name="T59" fmla="*/ 374 h 710"/>
                <a:gd name="T60" fmla="*/ 194 w 712"/>
                <a:gd name="T61" fmla="*/ 424 h 710"/>
                <a:gd name="T62" fmla="*/ 220 w 712"/>
                <a:gd name="T63" fmla="*/ 468 h 710"/>
                <a:gd name="T64" fmla="*/ 258 w 712"/>
                <a:gd name="T65" fmla="*/ 502 h 710"/>
                <a:gd name="T66" fmla="*/ 304 w 712"/>
                <a:gd name="T67" fmla="*/ 524 h 710"/>
                <a:gd name="T68" fmla="*/ 356 w 712"/>
                <a:gd name="T69" fmla="*/ 532 h 710"/>
                <a:gd name="T70" fmla="*/ 392 w 712"/>
                <a:gd name="T71" fmla="*/ 528 h 710"/>
                <a:gd name="T72" fmla="*/ 440 w 712"/>
                <a:gd name="T73" fmla="*/ 510 h 710"/>
                <a:gd name="T74" fmla="*/ 480 w 712"/>
                <a:gd name="T75" fmla="*/ 480 h 710"/>
                <a:gd name="T76" fmla="*/ 510 w 712"/>
                <a:gd name="T77" fmla="*/ 440 h 710"/>
                <a:gd name="T78" fmla="*/ 528 w 712"/>
                <a:gd name="T79" fmla="*/ 390 h 710"/>
                <a:gd name="T80" fmla="*/ 532 w 712"/>
                <a:gd name="T81" fmla="*/ 356 h 710"/>
                <a:gd name="T82" fmla="*/ 524 w 712"/>
                <a:gd name="T83" fmla="*/ 304 h 710"/>
                <a:gd name="T84" fmla="*/ 502 w 712"/>
                <a:gd name="T85" fmla="*/ 256 h 710"/>
                <a:gd name="T86" fmla="*/ 468 w 712"/>
                <a:gd name="T87" fmla="*/ 220 h 710"/>
                <a:gd name="T88" fmla="*/ 424 w 712"/>
                <a:gd name="T89" fmla="*/ 194 h 710"/>
                <a:gd name="T90" fmla="*/ 374 w 712"/>
                <a:gd name="T91" fmla="*/ 180 h 710"/>
                <a:gd name="T92" fmla="*/ 356 w 712"/>
                <a:gd name="T93" fmla="*/ 18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12" h="710">
                  <a:moveTo>
                    <a:pt x="356" y="710"/>
                  </a:moveTo>
                  <a:lnTo>
                    <a:pt x="356" y="710"/>
                  </a:lnTo>
                  <a:lnTo>
                    <a:pt x="320" y="708"/>
                  </a:lnTo>
                  <a:lnTo>
                    <a:pt x="284" y="704"/>
                  </a:lnTo>
                  <a:lnTo>
                    <a:pt x="250" y="694"/>
                  </a:lnTo>
                  <a:lnTo>
                    <a:pt x="218" y="682"/>
                  </a:lnTo>
                  <a:lnTo>
                    <a:pt x="186" y="668"/>
                  </a:lnTo>
                  <a:lnTo>
                    <a:pt x="158" y="650"/>
                  </a:lnTo>
                  <a:lnTo>
                    <a:pt x="130" y="630"/>
                  </a:lnTo>
                  <a:lnTo>
                    <a:pt x="104" y="606"/>
                  </a:lnTo>
                  <a:lnTo>
                    <a:pt x="82" y="582"/>
                  </a:lnTo>
                  <a:lnTo>
                    <a:pt x="62" y="554"/>
                  </a:lnTo>
                  <a:lnTo>
                    <a:pt x="44" y="524"/>
                  </a:lnTo>
                  <a:lnTo>
                    <a:pt x="28" y="494"/>
                  </a:lnTo>
                  <a:lnTo>
                    <a:pt x="16" y="460"/>
                  </a:lnTo>
                  <a:lnTo>
                    <a:pt x="8" y="426"/>
                  </a:lnTo>
                  <a:lnTo>
                    <a:pt x="2" y="392"/>
                  </a:lnTo>
                  <a:lnTo>
                    <a:pt x="0" y="356"/>
                  </a:lnTo>
                  <a:lnTo>
                    <a:pt x="0" y="356"/>
                  </a:lnTo>
                  <a:lnTo>
                    <a:pt x="2" y="320"/>
                  </a:lnTo>
                  <a:lnTo>
                    <a:pt x="8" y="284"/>
                  </a:lnTo>
                  <a:lnTo>
                    <a:pt x="16" y="250"/>
                  </a:lnTo>
                  <a:lnTo>
                    <a:pt x="28" y="218"/>
                  </a:lnTo>
                  <a:lnTo>
                    <a:pt x="44" y="186"/>
                  </a:lnTo>
                  <a:lnTo>
                    <a:pt x="62" y="156"/>
                  </a:lnTo>
                  <a:lnTo>
                    <a:pt x="82" y="130"/>
                  </a:lnTo>
                  <a:lnTo>
                    <a:pt x="104" y="104"/>
                  </a:lnTo>
                  <a:lnTo>
                    <a:pt x="130" y="82"/>
                  </a:lnTo>
                  <a:lnTo>
                    <a:pt x="158" y="60"/>
                  </a:lnTo>
                  <a:lnTo>
                    <a:pt x="186" y="42"/>
                  </a:lnTo>
                  <a:lnTo>
                    <a:pt x="218" y="28"/>
                  </a:lnTo>
                  <a:lnTo>
                    <a:pt x="250" y="16"/>
                  </a:lnTo>
                  <a:lnTo>
                    <a:pt x="284" y="8"/>
                  </a:lnTo>
                  <a:lnTo>
                    <a:pt x="320" y="2"/>
                  </a:lnTo>
                  <a:lnTo>
                    <a:pt x="356" y="0"/>
                  </a:lnTo>
                  <a:lnTo>
                    <a:pt x="356" y="0"/>
                  </a:lnTo>
                  <a:lnTo>
                    <a:pt x="392" y="2"/>
                  </a:lnTo>
                  <a:lnTo>
                    <a:pt x="428" y="8"/>
                  </a:lnTo>
                  <a:lnTo>
                    <a:pt x="462" y="16"/>
                  </a:lnTo>
                  <a:lnTo>
                    <a:pt x="494" y="28"/>
                  </a:lnTo>
                  <a:lnTo>
                    <a:pt x="526" y="42"/>
                  </a:lnTo>
                  <a:lnTo>
                    <a:pt x="554" y="60"/>
                  </a:lnTo>
                  <a:lnTo>
                    <a:pt x="582" y="82"/>
                  </a:lnTo>
                  <a:lnTo>
                    <a:pt x="608" y="104"/>
                  </a:lnTo>
                  <a:lnTo>
                    <a:pt x="630" y="130"/>
                  </a:lnTo>
                  <a:lnTo>
                    <a:pt x="650" y="156"/>
                  </a:lnTo>
                  <a:lnTo>
                    <a:pt x="668" y="186"/>
                  </a:lnTo>
                  <a:lnTo>
                    <a:pt x="684" y="218"/>
                  </a:lnTo>
                  <a:lnTo>
                    <a:pt x="696" y="250"/>
                  </a:lnTo>
                  <a:lnTo>
                    <a:pt x="704" y="284"/>
                  </a:lnTo>
                  <a:lnTo>
                    <a:pt x="710" y="320"/>
                  </a:lnTo>
                  <a:lnTo>
                    <a:pt x="712" y="356"/>
                  </a:lnTo>
                  <a:lnTo>
                    <a:pt x="712" y="356"/>
                  </a:lnTo>
                  <a:lnTo>
                    <a:pt x="710" y="392"/>
                  </a:lnTo>
                  <a:lnTo>
                    <a:pt x="704" y="426"/>
                  </a:lnTo>
                  <a:lnTo>
                    <a:pt x="696" y="460"/>
                  </a:lnTo>
                  <a:lnTo>
                    <a:pt x="684" y="494"/>
                  </a:lnTo>
                  <a:lnTo>
                    <a:pt x="668" y="524"/>
                  </a:lnTo>
                  <a:lnTo>
                    <a:pt x="650" y="554"/>
                  </a:lnTo>
                  <a:lnTo>
                    <a:pt x="630" y="582"/>
                  </a:lnTo>
                  <a:lnTo>
                    <a:pt x="608" y="606"/>
                  </a:lnTo>
                  <a:lnTo>
                    <a:pt x="582" y="630"/>
                  </a:lnTo>
                  <a:lnTo>
                    <a:pt x="554" y="650"/>
                  </a:lnTo>
                  <a:lnTo>
                    <a:pt x="526" y="668"/>
                  </a:lnTo>
                  <a:lnTo>
                    <a:pt x="494" y="682"/>
                  </a:lnTo>
                  <a:lnTo>
                    <a:pt x="462" y="694"/>
                  </a:lnTo>
                  <a:lnTo>
                    <a:pt x="428" y="704"/>
                  </a:lnTo>
                  <a:lnTo>
                    <a:pt x="392" y="708"/>
                  </a:lnTo>
                  <a:lnTo>
                    <a:pt x="356" y="710"/>
                  </a:lnTo>
                  <a:lnTo>
                    <a:pt x="356" y="710"/>
                  </a:lnTo>
                  <a:close/>
                  <a:moveTo>
                    <a:pt x="356" y="180"/>
                  </a:moveTo>
                  <a:lnTo>
                    <a:pt x="356" y="180"/>
                  </a:lnTo>
                  <a:lnTo>
                    <a:pt x="338" y="180"/>
                  </a:lnTo>
                  <a:lnTo>
                    <a:pt x="320" y="182"/>
                  </a:lnTo>
                  <a:lnTo>
                    <a:pt x="304" y="188"/>
                  </a:lnTo>
                  <a:lnTo>
                    <a:pt x="288" y="194"/>
                  </a:lnTo>
                  <a:lnTo>
                    <a:pt x="272" y="200"/>
                  </a:lnTo>
                  <a:lnTo>
                    <a:pt x="258" y="210"/>
                  </a:lnTo>
                  <a:lnTo>
                    <a:pt x="244" y="220"/>
                  </a:lnTo>
                  <a:lnTo>
                    <a:pt x="232" y="230"/>
                  </a:lnTo>
                  <a:lnTo>
                    <a:pt x="220" y="244"/>
                  </a:lnTo>
                  <a:lnTo>
                    <a:pt x="210" y="256"/>
                  </a:lnTo>
                  <a:lnTo>
                    <a:pt x="202" y="272"/>
                  </a:lnTo>
                  <a:lnTo>
                    <a:pt x="194" y="286"/>
                  </a:lnTo>
                  <a:lnTo>
                    <a:pt x="188" y="304"/>
                  </a:lnTo>
                  <a:lnTo>
                    <a:pt x="184" y="320"/>
                  </a:lnTo>
                  <a:lnTo>
                    <a:pt x="180" y="338"/>
                  </a:lnTo>
                  <a:lnTo>
                    <a:pt x="180" y="356"/>
                  </a:lnTo>
                  <a:lnTo>
                    <a:pt x="180" y="356"/>
                  </a:lnTo>
                  <a:lnTo>
                    <a:pt x="180" y="374"/>
                  </a:lnTo>
                  <a:lnTo>
                    <a:pt x="184" y="390"/>
                  </a:lnTo>
                  <a:lnTo>
                    <a:pt x="188" y="408"/>
                  </a:lnTo>
                  <a:lnTo>
                    <a:pt x="194" y="424"/>
                  </a:lnTo>
                  <a:lnTo>
                    <a:pt x="202" y="440"/>
                  </a:lnTo>
                  <a:lnTo>
                    <a:pt x="210" y="454"/>
                  </a:lnTo>
                  <a:lnTo>
                    <a:pt x="220" y="468"/>
                  </a:lnTo>
                  <a:lnTo>
                    <a:pt x="232" y="480"/>
                  </a:lnTo>
                  <a:lnTo>
                    <a:pt x="244" y="492"/>
                  </a:lnTo>
                  <a:lnTo>
                    <a:pt x="258" y="502"/>
                  </a:lnTo>
                  <a:lnTo>
                    <a:pt x="272" y="510"/>
                  </a:lnTo>
                  <a:lnTo>
                    <a:pt x="288" y="518"/>
                  </a:lnTo>
                  <a:lnTo>
                    <a:pt x="304" y="524"/>
                  </a:lnTo>
                  <a:lnTo>
                    <a:pt x="320" y="528"/>
                  </a:lnTo>
                  <a:lnTo>
                    <a:pt x="338" y="530"/>
                  </a:lnTo>
                  <a:lnTo>
                    <a:pt x="356" y="532"/>
                  </a:lnTo>
                  <a:lnTo>
                    <a:pt x="356" y="532"/>
                  </a:lnTo>
                  <a:lnTo>
                    <a:pt x="374" y="530"/>
                  </a:lnTo>
                  <a:lnTo>
                    <a:pt x="392" y="528"/>
                  </a:lnTo>
                  <a:lnTo>
                    <a:pt x="408" y="524"/>
                  </a:lnTo>
                  <a:lnTo>
                    <a:pt x="424" y="518"/>
                  </a:lnTo>
                  <a:lnTo>
                    <a:pt x="440" y="510"/>
                  </a:lnTo>
                  <a:lnTo>
                    <a:pt x="454" y="502"/>
                  </a:lnTo>
                  <a:lnTo>
                    <a:pt x="468" y="492"/>
                  </a:lnTo>
                  <a:lnTo>
                    <a:pt x="480" y="480"/>
                  </a:lnTo>
                  <a:lnTo>
                    <a:pt x="492" y="468"/>
                  </a:lnTo>
                  <a:lnTo>
                    <a:pt x="502" y="454"/>
                  </a:lnTo>
                  <a:lnTo>
                    <a:pt x="510" y="440"/>
                  </a:lnTo>
                  <a:lnTo>
                    <a:pt x="518" y="424"/>
                  </a:lnTo>
                  <a:lnTo>
                    <a:pt x="524" y="408"/>
                  </a:lnTo>
                  <a:lnTo>
                    <a:pt x="528" y="390"/>
                  </a:lnTo>
                  <a:lnTo>
                    <a:pt x="532" y="374"/>
                  </a:lnTo>
                  <a:lnTo>
                    <a:pt x="532" y="356"/>
                  </a:lnTo>
                  <a:lnTo>
                    <a:pt x="532" y="356"/>
                  </a:lnTo>
                  <a:lnTo>
                    <a:pt x="532" y="338"/>
                  </a:lnTo>
                  <a:lnTo>
                    <a:pt x="528" y="320"/>
                  </a:lnTo>
                  <a:lnTo>
                    <a:pt x="524" y="304"/>
                  </a:lnTo>
                  <a:lnTo>
                    <a:pt x="518" y="286"/>
                  </a:lnTo>
                  <a:lnTo>
                    <a:pt x="510" y="272"/>
                  </a:lnTo>
                  <a:lnTo>
                    <a:pt x="502" y="256"/>
                  </a:lnTo>
                  <a:lnTo>
                    <a:pt x="492" y="244"/>
                  </a:lnTo>
                  <a:lnTo>
                    <a:pt x="480" y="230"/>
                  </a:lnTo>
                  <a:lnTo>
                    <a:pt x="468" y="220"/>
                  </a:lnTo>
                  <a:lnTo>
                    <a:pt x="454" y="210"/>
                  </a:lnTo>
                  <a:lnTo>
                    <a:pt x="440" y="200"/>
                  </a:lnTo>
                  <a:lnTo>
                    <a:pt x="424" y="194"/>
                  </a:lnTo>
                  <a:lnTo>
                    <a:pt x="408" y="188"/>
                  </a:lnTo>
                  <a:lnTo>
                    <a:pt x="392" y="182"/>
                  </a:lnTo>
                  <a:lnTo>
                    <a:pt x="374" y="180"/>
                  </a:lnTo>
                  <a:lnTo>
                    <a:pt x="356" y="180"/>
                  </a:lnTo>
                  <a:lnTo>
                    <a:pt x="356" y="180"/>
                  </a:lnTo>
                  <a:close/>
                  <a:moveTo>
                    <a:pt x="356" y="180"/>
                  </a:moveTo>
                  <a:lnTo>
                    <a:pt x="356" y="18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4" name="Freeform 86">
              <a:extLst>
                <a:ext uri="{FF2B5EF4-FFF2-40B4-BE49-F238E27FC236}">
                  <a16:creationId xmlns:a16="http://schemas.microsoft.com/office/drawing/2014/main" id="{44D77F00-A187-4628-9022-4F7F5962E2DC}"/>
                </a:ext>
              </a:extLst>
            </p:cNvPr>
            <p:cNvSpPr>
              <a:spLocks/>
            </p:cNvSpPr>
            <p:nvPr/>
          </p:nvSpPr>
          <p:spPr bwMode="auto">
            <a:xfrm>
              <a:off x="-2974975" y="5730875"/>
              <a:ext cx="1130300" cy="1127125"/>
            </a:xfrm>
            <a:custGeom>
              <a:avLst/>
              <a:gdLst>
                <a:gd name="T0" fmla="*/ 356 w 712"/>
                <a:gd name="T1" fmla="*/ 710 h 710"/>
                <a:gd name="T2" fmla="*/ 284 w 712"/>
                <a:gd name="T3" fmla="*/ 704 h 710"/>
                <a:gd name="T4" fmla="*/ 218 w 712"/>
                <a:gd name="T5" fmla="*/ 682 h 710"/>
                <a:gd name="T6" fmla="*/ 158 w 712"/>
                <a:gd name="T7" fmla="*/ 650 h 710"/>
                <a:gd name="T8" fmla="*/ 104 w 712"/>
                <a:gd name="T9" fmla="*/ 606 h 710"/>
                <a:gd name="T10" fmla="*/ 62 w 712"/>
                <a:gd name="T11" fmla="*/ 554 h 710"/>
                <a:gd name="T12" fmla="*/ 28 w 712"/>
                <a:gd name="T13" fmla="*/ 494 h 710"/>
                <a:gd name="T14" fmla="*/ 8 w 712"/>
                <a:gd name="T15" fmla="*/ 426 h 710"/>
                <a:gd name="T16" fmla="*/ 0 w 712"/>
                <a:gd name="T17" fmla="*/ 356 h 710"/>
                <a:gd name="T18" fmla="*/ 2 w 712"/>
                <a:gd name="T19" fmla="*/ 320 h 710"/>
                <a:gd name="T20" fmla="*/ 16 w 712"/>
                <a:gd name="T21" fmla="*/ 250 h 710"/>
                <a:gd name="T22" fmla="*/ 44 w 712"/>
                <a:gd name="T23" fmla="*/ 186 h 710"/>
                <a:gd name="T24" fmla="*/ 82 w 712"/>
                <a:gd name="T25" fmla="*/ 130 h 710"/>
                <a:gd name="T26" fmla="*/ 130 w 712"/>
                <a:gd name="T27" fmla="*/ 82 h 710"/>
                <a:gd name="T28" fmla="*/ 186 w 712"/>
                <a:gd name="T29" fmla="*/ 42 h 710"/>
                <a:gd name="T30" fmla="*/ 250 w 712"/>
                <a:gd name="T31" fmla="*/ 16 h 710"/>
                <a:gd name="T32" fmla="*/ 320 w 712"/>
                <a:gd name="T33" fmla="*/ 2 h 710"/>
                <a:gd name="T34" fmla="*/ 356 w 712"/>
                <a:gd name="T35" fmla="*/ 0 h 710"/>
                <a:gd name="T36" fmla="*/ 428 w 712"/>
                <a:gd name="T37" fmla="*/ 8 h 710"/>
                <a:gd name="T38" fmla="*/ 494 w 712"/>
                <a:gd name="T39" fmla="*/ 28 h 710"/>
                <a:gd name="T40" fmla="*/ 554 w 712"/>
                <a:gd name="T41" fmla="*/ 60 h 710"/>
                <a:gd name="T42" fmla="*/ 608 w 712"/>
                <a:gd name="T43" fmla="*/ 104 h 710"/>
                <a:gd name="T44" fmla="*/ 650 w 712"/>
                <a:gd name="T45" fmla="*/ 156 h 710"/>
                <a:gd name="T46" fmla="*/ 684 w 712"/>
                <a:gd name="T47" fmla="*/ 218 h 710"/>
                <a:gd name="T48" fmla="*/ 704 w 712"/>
                <a:gd name="T49" fmla="*/ 284 h 710"/>
                <a:gd name="T50" fmla="*/ 712 w 712"/>
                <a:gd name="T51" fmla="*/ 356 h 710"/>
                <a:gd name="T52" fmla="*/ 710 w 712"/>
                <a:gd name="T53" fmla="*/ 392 h 710"/>
                <a:gd name="T54" fmla="*/ 696 w 712"/>
                <a:gd name="T55" fmla="*/ 460 h 710"/>
                <a:gd name="T56" fmla="*/ 668 w 712"/>
                <a:gd name="T57" fmla="*/ 524 h 710"/>
                <a:gd name="T58" fmla="*/ 630 w 712"/>
                <a:gd name="T59" fmla="*/ 582 h 710"/>
                <a:gd name="T60" fmla="*/ 582 w 712"/>
                <a:gd name="T61" fmla="*/ 630 h 710"/>
                <a:gd name="T62" fmla="*/ 526 w 712"/>
                <a:gd name="T63" fmla="*/ 668 h 710"/>
                <a:gd name="T64" fmla="*/ 462 w 712"/>
                <a:gd name="T65" fmla="*/ 694 h 710"/>
                <a:gd name="T66" fmla="*/ 392 w 712"/>
                <a:gd name="T67" fmla="*/ 708 h 710"/>
                <a:gd name="T68" fmla="*/ 356 w 712"/>
                <a:gd name="T69" fmla="*/ 71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2" h="710">
                  <a:moveTo>
                    <a:pt x="356" y="710"/>
                  </a:moveTo>
                  <a:lnTo>
                    <a:pt x="356" y="710"/>
                  </a:lnTo>
                  <a:lnTo>
                    <a:pt x="320" y="708"/>
                  </a:lnTo>
                  <a:lnTo>
                    <a:pt x="284" y="704"/>
                  </a:lnTo>
                  <a:lnTo>
                    <a:pt x="250" y="694"/>
                  </a:lnTo>
                  <a:lnTo>
                    <a:pt x="218" y="682"/>
                  </a:lnTo>
                  <a:lnTo>
                    <a:pt x="186" y="668"/>
                  </a:lnTo>
                  <a:lnTo>
                    <a:pt x="158" y="650"/>
                  </a:lnTo>
                  <a:lnTo>
                    <a:pt x="130" y="630"/>
                  </a:lnTo>
                  <a:lnTo>
                    <a:pt x="104" y="606"/>
                  </a:lnTo>
                  <a:lnTo>
                    <a:pt x="82" y="582"/>
                  </a:lnTo>
                  <a:lnTo>
                    <a:pt x="62" y="554"/>
                  </a:lnTo>
                  <a:lnTo>
                    <a:pt x="44" y="524"/>
                  </a:lnTo>
                  <a:lnTo>
                    <a:pt x="28" y="494"/>
                  </a:lnTo>
                  <a:lnTo>
                    <a:pt x="16" y="460"/>
                  </a:lnTo>
                  <a:lnTo>
                    <a:pt x="8" y="426"/>
                  </a:lnTo>
                  <a:lnTo>
                    <a:pt x="2" y="392"/>
                  </a:lnTo>
                  <a:lnTo>
                    <a:pt x="0" y="356"/>
                  </a:lnTo>
                  <a:lnTo>
                    <a:pt x="0" y="356"/>
                  </a:lnTo>
                  <a:lnTo>
                    <a:pt x="2" y="320"/>
                  </a:lnTo>
                  <a:lnTo>
                    <a:pt x="8" y="284"/>
                  </a:lnTo>
                  <a:lnTo>
                    <a:pt x="16" y="250"/>
                  </a:lnTo>
                  <a:lnTo>
                    <a:pt x="28" y="218"/>
                  </a:lnTo>
                  <a:lnTo>
                    <a:pt x="44" y="186"/>
                  </a:lnTo>
                  <a:lnTo>
                    <a:pt x="62" y="156"/>
                  </a:lnTo>
                  <a:lnTo>
                    <a:pt x="82" y="130"/>
                  </a:lnTo>
                  <a:lnTo>
                    <a:pt x="104" y="104"/>
                  </a:lnTo>
                  <a:lnTo>
                    <a:pt x="130" y="82"/>
                  </a:lnTo>
                  <a:lnTo>
                    <a:pt x="158" y="60"/>
                  </a:lnTo>
                  <a:lnTo>
                    <a:pt x="186" y="42"/>
                  </a:lnTo>
                  <a:lnTo>
                    <a:pt x="218" y="28"/>
                  </a:lnTo>
                  <a:lnTo>
                    <a:pt x="250" y="16"/>
                  </a:lnTo>
                  <a:lnTo>
                    <a:pt x="284" y="8"/>
                  </a:lnTo>
                  <a:lnTo>
                    <a:pt x="320" y="2"/>
                  </a:lnTo>
                  <a:lnTo>
                    <a:pt x="356" y="0"/>
                  </a:lnTo>
                  <a:lnTo>
                    <a:pt x="356" y="0"/>
                  </a:lnTo>
                  <a:lnTo>
                    <a:pt x="392" y="2"/>
                  </a:lnTo>
                  <a:lnTo>
                    <a:pt x="428" y="8"/>
                  </a:lnTo>
                  <a:lnTo>
                    <a:pt x="462" y="16"/>
                  </a:lnTo>
                  <a:lnTo>
                    <a:pt x="494" y="28"/>
                  </a:lnTo>
                  <a:lnTo>
                    <a:pt x="526" y="42"/>
                  </a:lnTo>
                  <a:lnTo>
                    <a:pt x="554" y="60"/>
                  </a:lnTo>
                  <a:lnTo>
                    <a:pt x="582" y="82"/>
                  </a:lnTo>
                  <a:lnTo>
                    <a:pt x="608" y="104"/>
                  </a:lnTo>
                  <a:lnTo>
                    <a:pt x="630" y="130"/>
                  </a:lnTo>
                  <a:lnTo>
                    <a:pt x="650" y="156"/>
                  </a:lnTo>
                  <a:lnTo>
                    <a:pt x="668" y="186"/>
                  </a:lnTo>
                  <a:lnTo>
                    <a:pt x="684" y="218"/>
                  </a:lnTo>
                  <a:lnTo>
                    <a:pt x="696" y="250"/>
                  </a:lnTo>
                  <a:lnTo>
                    <a:pt x="704" y="284"/>
                  </a:lnTo>
                  <a:lnTo>
                    <a:pt x="710" y="320"/>
                  </a:lnTo>
                  <a:lnTo>
                    <a:pt x="712" y="356"/>
                  </a:lnTo>
                  <a:lnTo>
                    <a:pt x="712" y="356"/>
                  </a:lnTo>
                  <a:lnTo>
                    <a:pt x="710" y="392"/>
                  </a:lnTo>
                  <a:lnTo>
                    <a:pt x="704" y="426"/>
                  </a:lnTo>
                  <a:lnTo>
                    <a:pt x="696" y="460"/>
                  </a:lnTo>
                  <a:lnTo>
                    <a:pt x="684" y="494"/>
                  </a:lnTo>
                  <a:lnTo>
                    <a:pt x="668" y="524"/>
                  </a:lnTo>
                  <a:lnTo>
                    <a:pt x="650" y="554"/>
                  </a:lnTo>
                  <a:lnTo>
                    <a:pt x="630" y="582"/>
                  </a:lnTo>
                  <a:lnTo>
                    <a:pt x="608" y="606"/>
                  </a:lnTo>
                  <a:lnTo>
                    <a:pt x="582" y="630"/>
                  </a:lnTo>
                  <a:lnTo>
                    <a:pt x="554" y="650"/>
                  </a:lnTo>
                  <a:lnTo>
                    <a:pt x="526" y="668"/>
                  </a:lnTo>
                  <a:lnTo>
                    <a:pt x="494" y="682"/>
                  </a:lnTo>
                  <a:lnTo>
                    <a:pt x="462" y="694"/>
                  </a:lnTo>
                  <a:lnTo>
                    <a:pt x="428" y="704"/>
                  </a:lnTo>
                  <a:lnTo>
                    <a:pt x="392" y="708"/>
                  </a:lnTo>
                  <a:lnTo>
                    <a:pt x="356" y="710"/>
                  </a:lnTo>
                  <a:lnTo>
                    <a:pt x="356" y="7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5" name="Freeform 87">
              <a:extLst>
                <a:ext uri="{FF2B5EF4-FFF2-40B4-BE49-F238E27FC236}">
                  <a16:creationId xmlns:a16="http://schemas.microsoft.com/office/drawing/2014/main" id="{917526EE-F967-4605-BE8D-D565879A3EF2}"/>
                </a:ext>
              </a:extLst>
            </p:cNvPr>
            <p:cNvSpPr>
              <a:spLocks/>
            </p:cNvSpPr>
            <p:nvPr/>
          </p:nvSpPr>
          <p:spPr bwMode="auto">
            <a:xfrm>
              <a:off x="-2689225" y="6016625"/>
              <a:ext cx="558800" cy="558800"/>
            </a:xfrm>
            <a:custGeom>
              <a:avLst/>
              <a:gdLst>
                <a:gd name="T0" fmla="*/ 176 w 352"/>
                <a:gd name="T1" fmla="*/ 0 h 352"/>
                <a:gd name="T2" fmla="*/ 140 w 352"/>
                <a:gd name="T3" fmla="*/ 2 h 352"/>
                <a:gd name="T4" fmla="*/ 108 w 352"/>
                <a:gd name="T5" fmla="*/ 14 h 352"/>
                <a:gd name="T6" fmla="*/ 78 w 352"/>
                <a:gd name="T7" fmla="*/ 30 h 352"/>
                <a:gd name="T8" fmla="*/ 52 w 352"/>
                <a:gd name="T9" fmla="*/ 50 h 352"/>
                <a:gd name="T10" fmla="*/ 30 w 352"/>
                <a:gd name="T11" fmla="*/ 76 h 352"/>
                <a:gd name="T12" fmla="*/ 14 w 352"/>
                <a:gd name="T13" fmla="*/ 106 h 352"/>
                <a:gd name="T14" fmla="*/ 4 w 352"/>
                <a:gd name="T15" fmla="*/ 140 h 352"/>
                <a:gd name="T16" fmla="*/ 0 w 352"/>
                <a:gd name="T17" fmla="*/ 176 h 352"/>
                <a:gd name="T18" fmla="*/ 0 w 352"/>
                <a:gd name="T19" fmla="*/ 194 h 352"/>
                <a:gd name="T20" fmla="*/ 8 w 352"/>
                <a:gd name="T21" fmla="*/ 228 h 352"/>
                <a:gd name="T22" fmla="*/ 22 w 352"/>
                <a:gd name="T23" fmla="*/ 260 h 352"/>
                <a:gd name="T24" fmla="*/ 40 w 352"/>
                <a:gd name="T25" fmla="*/ 288 h 352"/>
                <a:gd name="T26" fmla="*/ 64 w 352"/>
                <a:gd name="T27" fmla="*/ 312 h 352"/>
                <a:gd name="T28" fmla="*/ 92 w 352"/>
                <a:gd name="T29" fmla="*/ 330 h 352"/>
                <a:gd name="T30" fmla="*/ 124 w 352"/>
                <a:gd name="T31" fmla="*/ 344 h 352"/>
                <a:gd name="T32" fmla="*/ 158 w 352"/>
                <a:gd name="T33" fmla="*/ 350 h 352"/>
                <a:gd name="T34" fmla="*/ 176 w 352"/>
                <a:gd name="T35" fmla="*/ 352 h 352"/>
                <a:gd name="T36" fmla="*/ 212 w 352"/>
                <a:gd name="T37" fmla="*/ 348 h 352"/>
                <a:gd name="T38" fmla="*/ 244 w 352"/>
                <a:gd name="T39" fmla="*/ 338 h 352"/>
                <a:gd name="T40" fmla="*/ 274 w 352"/>
                <a:gd name="T41" fmla="*/ 322 h 352"/>
                <a:gd name="T42" fmla="*/ 300 w 352"/>
                <a:gd name="T43" fmla="*/ 300 h 352"/>
                <a:gd name="T44" fmla="*/ 322 w 352"/>
                <a:gd name="T45" fmla="*/ 274 h 352"/>
                <a:gd name="T46" fmla="*/ 338 w 352"/>
                <a:gd name="T47" fmla="*/ 244 h 352"/>
                <a:gd name="T48" fmla="*/ 348 w 352"/>
                <a:gd name="T49" fmla="*/ 210 h 352"/>
                <a:gd name="T50" fmla="*/ 352 w 352"/>
                <a:gd name="T51" fmla="*/ 176 h 352"/>
                <a:gd name="T52" fmla="*/ 352 w 352"/>
                <a:gd name="T53" fmla="*/ 158 h 352"/>
                <a:gd name="T54" fmla="*/ 344 w 352"/>
                <a:gd name="T55" fmla="*/ 124 h 352"/>
                <a:gd name="T56" fmla="*/ 330 w 352"/>
                <a:gd name="T57" fmla="*/ 92 h 352"/>
                <a:gd name="T58" fmla="*/ 312 w 352"/>
                <a:gd name="T59" fmla="*/ 64 h 352"/>
                <a:gd name="T60" fmla="*/ 288 w 352"/>
                <a:gd name="T61" fmla="*/ 40 h 352"/>
                <a:gd name="T62" fmla="*/ 260 w 352"/>
                <a:gd name="T63" fmla="*/ 20 h 352"/>
                <a:gd name="T64" fmla="*/ 228 w 352"/>
                <a:gd name="T65" fmla="*/ 8 h 352"/>
                <a:gd name="T66" fmla="*/ 194 w 352"/>
                <a:gd name="T67" fmla="*/ 0 h 352"/>
                <a:gd name="T68" fmla="*/ 176 w 352"/>
                <a:gd name="T69"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2" h="352">
                  <a:moveTo>
                    <a:pt x="176" y="0"/>
                  </a:moveTo>
                  <a:lnTo>
                    <a:pt x="176" y="0"/>
                  </a:lnTo>
                  <a:lnTo>
                    <a:pt x="158" y="0"/>
                  </a:lnTo>
                  <a:lnTo>
                    <a:pt x="140" y="2"/>
                  </a:lnTo>
                  <a:lnTo>
                    <a:pt x="124" y="8"/>
                  </a:lnTo>
                  <a:lnTo>
                    <a:pt x="108" y="14"/>
                  </a:lnTo>
                  <a:lnTo>
                    <a:pt x="92" y="20"/>
                  </a:lnTo>
                  <a:lnTo>
                    <a:pt x="78" y="30"/>
                  </a:lnTo>
                  <a:lnTo>
                    <a:pt x="64" y="40"/>
                  </a:lnTo>
                  <a:lnTo>
                    <a:pt x="52" y="50"/>
                  </a:lnTo>
                  <a:lnTo>
                    <a:pt x="40" y="64"/>
                  </a:lnTo>
                  <a:lnTo>
                    <a:pt x="30" y="76"/>
                  </a:lnTo>
                  <a:lnTo>
                    <a:pt x="22" y="92"/>
                  </a:lnTo>
                  <a:lnTo>
                    <a:pt x="14" y="106"/>
                  </a:lnTo>
                  <a:lnTo>
                    <a:pt x="8" y="124"/>
                  </a:lnTo>
                  <a:lnTo>
                    <a:pt x="4" y="140"/>
                  </a:lnTo>
                  <a:lnTo>
                    <a:pt x="0" y="158"/>
                  </a:lnTo>
                  <a:lnTo>
                    <a:pt x="0" y="176"/>
                  </a:lnTo>
                  <a:lnTo>
                    <a:pt x="0" y="176"/>
                  </a:lnTo>
                  <a:lnTo>
                    <a:pt x="0" y="194"/>
                  </a:lnTo>
                  <a:lnTo>
                    <a:pt x="4" y="210"/>
                  </a:lnTo>
                  <a:lnTo>
                    <a:pt x="8" y="228"/>
                  </a:lnTo>
                  <a:lnTo>
                    <a:pt x="14" y="244"/>
                  </a:lnTo>
                  <a:lnTo>
                    <a:pt x="22" y="260"/>
                  </a:lnTo>
                  <a:lnTo>
                    <a:pt x="30" y="274"/>
                  </a:lnTo>
                  <a:lnTo>
                    <a:pt x="40" y="288"/>
                  </a:lnTo>
                  <a:lnTo>
                    <a:pt x="52" y="300"/>
                  </a:lnTo>
                  <a:lnTo>
                    <a:pt x="64" y="312"/>
                  </a:lnTo>
                  <a:lnTo>
                    <a:pt x="78" y="322"/>
                  </a:lnTo>
                  <a:lnTo>
                    <a:pt x="92" y="330"/>
                  </a:lnTo>
                  <a:lnTo>
                    <a:pt x="108" y="338"/>
                  </a:lnTo>
                  <a:lnTo>
                    <a:pt x="124" y="344"/>
                  </a:lnTo>
                  <a:lnTo>
                    <a:pt x="140" y="348"/>
                  </a:lnTo>
                  <a:lnTo>
                    <a:pt x="158" y="350"/>
                  </a:lnTo>
                  <a:lnTo>
                    <a:pt x="176" y="352"/>
                  </a:lnTo>
                  <a:lnTo>
                    <a:pt x="176" y="352"/>
                  </a:lnTo>
                  <a:lnTo>
                    <a:pt x="194" y="350"/>
                  </a:lnTo>
                  <a:lnTo>
                    <a:pt x="212" y="348"/>
                  </a:lnTo>
                  <a:lnTo>
                    <a:pt x="228" y="344"/>
                  </a:lnTo>
                  <a:lnTo>
                    <a:pt x="244" y="338"/>
                  </a:lnTo>
                  <a:lnTo>
                    <a:pt x="260" y="330"/>
                  </a:lnTo>
                  <a:lnTo>
                    <a:pt x="274" y="322"/>
                  </a:lnTo>
                  <a:lnTo>
                    <a:pt x="288" y="312"/>
                  </a:lnTo>
                  <a:lnTo>
                    <a:pt x="300" y="300"/>
                  </a:lnTo>
                  <a:lnTo>
                    <a:pt x="312" y="288"/>
                  </a:lnTo>
                  <a:lnTo>
                    <a:pt x="322" y="274"/>
                  </a:lnTo>
                  <a:lnTo>
                    <a:pt x="330" y="260"/>
                  </a:lnTo>
                  <a:lnTo>
                    <a:pt x="338" y="244"/>
                  </a:lnTo>
                  <a:lnTo>
                    <a:pt x="344" y="228"/>
                  </a:lnTo>
                  <a:lnTo>
                    <a:pt x="348" y="210"/>
                  </a:lnTo>
                  <a:lnTo>
                    <a:pt x="352" y="194"/>
                  </a:lnTo>
                  <a:lnTo>
                    <a:pt x="352" y="176"/>
                  </a:lnTo>
                  <a:lnTo>
                    <a:pt x="352" y="176"/>
                  </a:lnTo>
                  <a:lnTo>
                    <a:pt x="352" y="158"/>
                  </a:lnTo>
                  <a:lnTo>
                    <a:pt x="348" y="140"/>
                  </a:lnTo>
                  <a:lnTo>
                    <a:pt x="344" y="124"/>
                  </a:lnTo>
                  <a:lnTo>
                    <a:pt x="338" y="106"/>
                  </a:lnTo>
                  <a:lnTo>
                    <a:pt x="330" y="92"/>
                  </a:lnTo>
                  <a:lnTo>
                    <a:pt x="322" y="76"/>
                  </a:lnTo>
                  <a:lnTo>
                    <a:pt x="312" y="64"/>
                  </a:lnTo>
                  <a:lnTo>
                    <a:pt x="300" y="50"/>
                  </a:lnTo>
                  <a:lnTo>
                    <a:pt x="288" y="40"/>
                  </a:lnTo>
                  <a:lnTo>
                    <a:pt x="274" y="30"/>
                  </a:lnTo>
                  <a:lnTo>
                    <a:pt x="260" y="20"/>
                  </a:lnTo>
                  <a:lnTo>
                    <a:pt x="244" y="14"/>
                  </a:lnTo>
                  <a:lnTo>
                    <a:pt x="228" y="8"/>
                  </a:lnTo>
                  <a:lnTo>
                    <a:pt x="212" y="2"/>
                  </a:lnTo>
                  <a:lnTo>
                    <a:pt x="194" y="0"/>
                  </a:lnTo>
                  <a:lnTo>
                    <a:pt x="176" y="0"/>
                  </a:lnTo>
                  <a:lnTo>
                    <a:pt x="176" y="0"/>
                  </a:ln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6" name="Line 88">
              <a:extLst>
                <a:ext uri="{FF2B5EF4-FFF2-40B4-BE49-F238E27FC236}">
                  <a16:creationId xmlns:a16="http://schemas.microsoft.com/office/drawing/2014/main" id="{736BBF4D-E695-40DD-A834-871AE4BB0006}"/>
                </a:ext>
              </a:extLst>
            </p:cNvPr>
            <p:cNvSpPr>
              <a:spLocks noChangeShapeType="1"/>
            </p:cNvSpPr>
            <p:nvPr/>
          </p:nvSpPr>
          <p:spPr bwMode="auto">
            <a:xfrm>
              <a:off x="-2409825" y="601662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Freeform 89">
              <a:extLst>
                <a:ext uri="{FF2B5EF4-FFF2-40B4-BE49-F238E27FC236}">
                  <a16:creationId xmlns:a16="http://schemas.microsoft.com/office/drawing/2014/main" id="{7AA34111-8745-4C26-B1F1-B6A2AD1AEC94}"/>
                </a:ext>
              </a:extLst>
            </p:cNvPr>
            <p:cNvSpPr>
              <a:spLocks noEditPoints="1"/>
            </p:cNvSpPr>
            <p:nvPr/>
          </p:nvSpPr>
          <p:spPr bwMode="auto">
            <a:xfrm>
              <a:off x="-1981200" y="2451100"/>
              <a:ext cx="854075" cy="850900"/>
            </a:xfrm>
            <a:custGeom>
              <a:avLst/>
              <a:gdLst>
                <a:gd name="T0" fmla="*/ 270 w 538"/>
                <a:gd name="T1" fmla="*/ 536 h 536"/>
                <a:gd name="T2" fmla="*/ 216 w 538"/>
                <a:gd name="T3" fmla="*/ 532 h 536"/>
                <a:gd name="T4" fmla="*/ 164 w 538"/>
                <a:gd name="T5" fmla="*/ 516 h 536"/>
                <a:gd name="T6" fmla="*/ 120 w 538"/>
                <a:gd name="T7" fmla="*/ 490 h 536"/>
                <a:gd name="T8" fmla="*/ 80 w 538"/>
                <a:gd name="T9" fmla="*/ 458 h 536"/>
                <a:gd name="T10" fmla="*/ 46 w 538"/>
                <a:gd name="T11" fmla="*/ 418 h 536"/>
                <a:gd name="T12" fmla="*/ 22 w 538"/>
                <a:gd name="T13" fmla="*/ 372 h 536"/>
                <a:gd name="T14" fmla="*/ 6 w 538"/>
                <a:gd name="T15" fmla="*/ 322 h 536"/>
                <a:gd name="T16" fmla="*/ 0 w 538"/>
                <a:gd name="T17" fmla="*/ 268 h 536"/>
                <a:gd name="T18" fmla="*/ 2 w 538"/>
                <a:gd name="T19" fmla="*/ 240 h 536"/>
                <a:gd name="T20" fmla="*/ 12 w 538"/>
                <a:gd name="T21" fmla="*/ 188 h 536"/>
                <a:gd name="T22" fmla="*/ 34 w 538"/>
                <a:gd name="T23" fmla="*/ 140 h 536"/>
                <a:gd name="T24" fmla="*/ 62 w 538"/>
                <a:gd name="T25" fmla="*/ 98 h 536"/>
                <a:gd name="T26" fmla="*/ 98 w 538"/>
                <a:gd name="T27" fmla="*/ 60 h 536"/>
                <a:gd name="T28" fmla="*/ 142 w 538"/>
                <a:gd name="T29" fmla="*/ 32 h 536"/>
                <a:gd name="T30" fmla="*/ 190 w 538"/>
                <a:gd name="T31" fmla="*/ 12 h 536"/>
                <a:gd name="T32" fmla="*/ 242 w 538"/>
                <a:gd name="T33" fmla="*/ 0 h 536"/>
                <a:gd name="T34" fmla="*/ 270 w 538"/>
                <a:gd name="T35" fmla="*/ 0 h 536"/>
                <a:gd name="T36" fmla="*/ 324 w 538"/>
                <a:gd name="T37" fmla="*/ 6 h 536"/>
                <a:gd name="T38" fmla="*/ 374 w 538"/>
                <a:gd name="T39" fmla="*/ 20 h 536"/>
                <a:gd name="T40" fmla="*/ 420 w 538"/>
                <a:gd name="T41" fmla="*/ 46 h 536"/>
                <a:gd name="T42" fmla="*/ 458 w 538"/>
                <a:gd name="T43" fmla="*/ 78 h 536"/>
                <a:gd name="T44" fmla="*/ 492 w 538"/>
                <a:gd name="T45" fmla="*/ 118 h 536"/>
                <a:gd name="T46" fmla="*/ 516 w 538"/>
                <a:gd name="T47" fmla="*/ 164 h 536"/>
                <a:gd name="T48" fmla="*/ 532 w 538"/>
                <a:gd name="T49" fmla="*/ 214 h 536"/>
                <a:gd name="T50" fmla="*/ 538 w 538"/>
                <a:gd name="T51" fmla="*/ 268 h 536"/>
                <a:gd name="T52" fmla="*/ 536 w 538"/>
                <a:gd name="T53" fmla="*/ 296 h 536"/>
                <a:gd name="T54" fmla="*/ 526 w 538"/>
                <a:gd name="T55" fmla="*/ 348 h 536"/>
                <a:gd name="T56" fmla="*/ 506 w 538"/>
                <a:gd name="T57" fmla="*/ 396 h 536"/>
                <a:gd name="T58" fmla="*/ 476 w 538"/>
                <a:gd name="T59" fmla="*/ 438 h 536"/>
                <a:gd name="T60" fmla="*/ 440 w 538"/>
                <a:gd name="T61" fmla="*/ 476 h 536"/>
                <a:gd name="T62" fmla="*/ 398 w 538"/>
                <a:gd name="T63" fmla="*/ 504 h 536"/>
                <a:gd name="T64" fmla="*/ 348 w 538"/>
                <a:gd name="T65" fmla="*/ 524 h 536"/>
                <a:gd name="T66" fmla="*/ 296 w 538"/>
                <a:gd name="T67" fmla="*/ 536 h 536"/>
                <a:gd name="T68" fmla="*/ 270 w 538"/>
                <a:gd name="T69" fmla="*/ 536 h 536"/>
                <a:gd name="T70" fmla="*/ 270 w 538"/>
                <a:gd name="T71" fmla="*/ 178 h 536"/>
                <a:gd name="T72" fmla="*/ 234 w 538"/>
                <a:gd name="T73" fmla="*/ 186 h 536"/>
                <a:gd name="T74" fmla="*/ 206 w 538"/>
                <a:gd name="T75" fmla="*/ 204 h 536"/>
                <a:gd name="T76" fmla="*/ 186 w 538"/>
                <a:gd name="T77" fmla="*/ 234 h 536"/>
                <a:gd name="T78" fmla="*/ 180 w 538"/>
                <a:gd name="T79" fmla="*/ 268 h 536"/>
                <a:gd name="T80" fmla="*/ 182 w 538"/>
                <a:gd name="T81" fmla="*/ 286 h 536"/>
                <a:gd name="T82" fmla="*/ 196 w 538"/>
                <a:gd name="T83" fmla="*/ 318 h 536"/>
                <a:gd name="T84" fmla="*/ 220 w 538"/>
                <a:gd name="T85" fmla="*/ 342 h 536"/>
                <a:gd name="T86" fmla="*/ 252 w 538"/>
                <a:gd name="T87" fmla="*/ 356 h 536"/>
                <a:gd name="T88" fmla="*/ 270 w 538"/>
                <a:gd name="T89" fmla="*/ 358 h 536"/>
                <a:gd name="T90" fmla="*/ 304 w 538"/>
                <a:gd name="T91" fmla="*/ 350 h 536"/>
                <a:gd name="T92" fmla="*/ 332 w 538"/>
                <a:gd name="T93" fmla="*/ 332 h 536"/>
                <a:gd name="T94" fmla="*/ 352 w 538"/>
                <a:gd name="T95" fmla="*/ 302 h 536"/>
                <a:gd name="T96" fmla="*/ 358 w 538"/>
                <a:gd name="T97" fmla="*/ 268 h 536"/>
                <a:gd name="T98" fmla="*/ 356 w 538"/>
                <a:gd name="T99" fmla="*/ 250 h 536"/>
                <a:gd name="T100" fmla="*/ 344 w 538"/>
                <a:gd name="T101" fmla="*/ 218 h 536"/>
                <a:gd name="T102" fmla="*/ 320 w 538"/>
                <a:gd name="T103" fmla="*/ 194 h 536"/>
                <a:gd name="T104" fmla="*/ 288 w 538"/>
                <a:gd name="T105" fmla="*/ 180 h 536"/>
                <a:gd name="T106" fmla="*/ 270 w 538"/>
                <a:gd name="T107" fmla="*/ 178 h 536"/>
                <a:gd name="T108" fmla="*/ 270 w 538"/>
                <a:gd name="T109" fmla="*/ 178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8" h="536">
                  <a:moveTo>
                    <a:pt x="270" y="536"/>
                  </a:moveTo>
                  <a:lnTo>
                    <a:pt x="270" y="536"/>
                  </a:lnTo>
                  <a:lnTo>
                    <a:pt x="242" y="536"/>
                  </a:lnTo>
                  <a:lnTo>
                    <a:pt x="216" y="532"/>
                  </a:lnTo>
                  <a:lnTo>
                    <a:pt x="190" y="524"/>
                  </a:lnTo>
                  <a:lnTo>
                    <a:pt x="164" y="516"/>
                  </a:lnTo>
                  <a:lnTo>
                    <a:pt x="142" y="504"/>
                  </a:lnTo>
                  <a:lnTo>
                    <a:pt x="120" y="490"/>
                  </a:lnTo>
                  <a:lnTo>
                    <a:pt x="98" y="476"/>
                  </a:lnTo>
                  <a:lnTo>
                    <a:pt x="80" y="458"/>
                  </a:lnTo>
                  <a:lnTo>
                    <a:pt x="62" y="438"/>
                  </a:lnTo>
                  <a:lnTo>
                    <a:pt x="46" y="418"/>
                  </a:lnTo>
                  <a:lnTo>
                    <a:pt x="34" y="396"/>
                  </a:lnTo>
                  <a:lnTo>
                    <a:pt x="22" y="372"/>
                  </a:lnTo>
                  <a:lnTo>
                    <a:pt x="12" y="348"/>
                  </a:lnTo>
                  <a:lnTo>
                    <a:pt x="6" y="322"/>
                  </a:lnTo>
                  <a:lnTo>
                    <a:pt x="2" y="296"/>
                  </a:lnTo>
                  <a:lnTo>
                    <a:pt x="0" y="268"/>
                  </a:lnTo>
                  <a:lnTo>
                    <a:pt x="0" y="268"/>
                  </a:lnTo>
                  <a:lnTo>
                    <a:pt x="2" y="240"/>
                  </a:lnTo>
                  <a:lnTo>
                    <a:pt x="6" y="214"/>
                  </a:lnTo>
                  <a:lnTo>
                    <a:pt x="12" y="188"/>
                  </a:lnTo>
                  <a:lnTo>
                    <a:pt x="22" y="164"/>
                  </a:lnTo>
                  <a:lnTo>
                    <a:pt x="34" y="140"/>
                  </a:lnTo>
                  <a:lnTo>
                    <a:pt x="46" y="118"/>
                  </a:lnTo>
                  <a:lnTo>
                    <a:pt x="62" y="98"/>
                  </a:lnTo>
                  <a:lnTo>
                    <a:pt x="80" y="78"/>
                  </a:lnTo>
                  <a:lnTo>
                    <a:pt x="98" y="60"/>
                  </a:lnTo>
                  <a:lnTo>
                    <a:pt x="120" y="46"/>
                  </a:lnTo>
                  <a:lnTo>
                    <a:pt x="142" y="32"/>
                  </a:lnTo>
                  <a:lnTo>
                    <a:pt x="164" y="20"/>
                  </a:lnTo>
                  <a:lnTo>
                    <a:pt x="190" y="12"/>
                  </a:lnTo>
                  <a:lnTo>
                    <a:pt x="216" y="6"/>
                  </a:lnTo>
                  <a:lnTo>
                    <a:pt x="242" y="0"/>
                  </a:lnTo>
                  <a:lnTo>
                    <a:pt x="270" y="0"/>
                  </a:lnTo>
                  <a:lnTo>
                    <a:pt x="270" y="0"/>
                  </a:lnTo>
                  <a:lnTo>
                    <a:pt x="296" y="0"/>
                  </a:lnTo>
                  <a:lnTo>
                    <a:pt x="324" y="6"/>
                  </a:lnTo>
                  <a:lnTo>
                    <a:pt x="348" y="12"/>
                  </a:lnTo>
                  <a:lnTo>
                    <a:pt x="374" y="20"/>
                  </a:lnTo>
                  <a:lnTo>
                    <a:pt x="398" y="32"/>
                  </a:lnTo>
                  <a:lnTo>
                    <a:pt x="420" y="46"/>
                  </a:lnTo>
                  <a:lnTo>
                    <a:pt x="440" y="60"/>
                  </a:lnTo>
                  <a:lnTo>
                    <a:pt x="458" y="78"/>
                  </a:lnTo>
                  <a:lnTo>
                    <a:pt x="476" y="98"/>
                  </a:lnTo>
                  <a:lnTo>
                    <a:pt x="492" y="118"/>
                  </a:lnTo>
                  <a:lnTo>
                    <a:pt x="506" y="140"/>
                  </a:lnTo>
                  <a:lnTo>
                    <a:pt x="516" y="164"/>
                  </a:lnTo>
                  <a:lnTo>
                    <a:pt x="526" y="188"/>
                  </a:lnTo>
                  <a:lnTo>
                    <a:pt x="532" y="214"/>
                  </a:lnTo>
                  <a:lnTo>
                    <a:pt x="536" y="240"/>
                  </a:lnTo>
                  <a:lnTo>
                    <a:pt x="538" y="268"/>
                  </a:lnTo>
                  <a:lnTo>
                    <a:pt x="538" y="268"/>
                  </a:lnTo>
                  <a:lnTo>
                    <a:pt x="536" y="296"/>
                  </a:lnTo>
                  <a:lnTo>
                    <a:pt x="532" y="322"/>
                  </a:lnTo>
                  <a:lnTo>
                    <a:pt x="526" y="348"/>
                  </a:lnTo>
                  <a:lnTo>
                    <a:pt x="516" y="372"/>
                  </a:lnTo>
                  <a:lnTo>
                    <a:pt x="506" y="396"/>
                  </a:lnTo>
                  <a:lnTo>
                    <a:pt x="492" y="418"/>
                  </a:lnTo>
                  <a:lnTo>
                    <a:pt x="476" y="438"/>
                  </a:lnTo>
                  <a:lnTo>
                    <a:pt x="458" y="458"/>
                  </a:lnTo>
                  <a:lnTo>
                    <a:pt x="440" y="476"/>
                  </a:lnTo>
                  <a:lnTo>
                    <a:pt x="420" y="490"/>
                  </a:lnTo>
                  <a:lnTo>
                    <a:pt x="398" y="504"/>
                  </a:lnTo>
                  <a:lnTo>
                    <a:pt x="374" y="516"/>
                  </a:lnTo>
                  <a:lnTo>
                    <a:pt x="348" y="524"/>
                  </a:lnTo>
                  <a:lnTo>
                    <a:pt x="324" y="532"/>
                  </a:lnTo>
                  <a:lnTo>
                    <a:pt x="296" y="536"/>
                  </a:lnTo>
                  <a:lnTo>
                    <a:pt x="270" y="536"/>
                  </a:lnTo>
                  <a:lnTo>
                    <a:pt x="270" y="536"/>
                  </a:lnTo>
                  <a:close/>
                  <a:moveTo>
                    <a:pt x="270" y="178"/>
                  </a:moveTo>
                  <a:lnTo>
                    <a:pt x="270" y="178"/>
                  </a:lnTo>
                  <a:lnTo>
                    <a:pt x="252" y="180"/>
                  </a:lnTo>
                  <a:lnTo>
                    <a:pt x="234" y="186"/>
                  </a:lnTo>
                  <a:lnTo>
                    <a:pt x="220" y="194"/>
                  </a:lnTo>
                  <a:lnTo>
                    <a:pt x="206" y="204"/>
                  </a:lnTo>
                  <a:lnTo>
                    <a:pt x="196" y="218"/>
                  </a:lnTo>
                  <a:lnTo>
                    <a:pt x="186" y="234"/>
                  </a:lnTo>
                  <a:lnTo>
                    <a:pt x="182" y="250"/>
                  </a:lnTo>
                  <a:lnTo>
                    <a:pt x="180" y="268"/>
                  </a:lnTo>
                  <a:lnTo>
                    <a:pt x="180" y="268"/>
                  </a:lnTo>
                  <a:lnTo>
                    <a:pt x="182" y="286"/>
                  </a:lnTo>
                  <a:lnTo>
                    <a:pt x="186" y="302"/>
                  </a:lnTo>
                  <a:lnTo>
                    <a:pt x="196" y="318"/>
                  </a:lnTo>
                  <a:lnTo>
                    <a:pt x="206" y="332"/>
                  </a:lnTo>
                  <a:lnTo>
                    <a:pt x="220" y="342"/>
                  </a:lnTo>
                  <a:lnTo>
                    <a:pt x="234" y="350"/>
                  </a:lnTo>
                  <a:lnTo>
                    <a:pt x="252" y="356"/>
                  </a:lnTo>
                  <a:lnTo>
                    <a:pt x="270" y="358"/>
                  </a:lnTo>
                  <a:lnTo>
                    <a:pt x="270" y="358"/>
                  </a:lnTo>
                  <a:lnTo>
                    <a:pt x="288" y="356"/>
                  </a:lnTo>
                  <a:lnTo>
                    <a:pt x="304" y="350"/>
                  </a:lnTo>
                  <a:lnTo>
                    <a:pt x="320" y="342"/>
                  </a:lnTo>
                  <a:lnTo>
                    <a:pt x="332" y="332"/>
                  </a:lnTo>
                  <a:lnTo>
                    <a:pt x="344" y="318"/>
                  </a:lnTo>
                  <a:lnTo>
                    <a:pt x="352" y="302"/>
                  </a:lnTo>
                  <a:lnTo>
                    <a:pt x="356" y="286"/>
                  </a:lnTo>
                  <a:lnTo>
                    <a:pt x="358" y="268"/>
                  </a:lnTo>
                  <a:lnTo>
                    <a:pt x="358" y="268"/>
                  </a:lnTo>
                  <a:lnTo>
                    <a:pt x="356" y="250"/>
                  </a:lnTo>
                  <a:lnTo>
                    <a:pt x="352" y="234"/>
                  </a:lnTo>
                  <a:lnTo>
                    <a:pt x="344" y="218"/>
                  </a:lnTo>
                  <a:lnTo>
                    <a:pt x="332" y="204"/>
                  </a:lnTo>
                  <a:lnTo>
                    <a:pt x="320" y="194"/>
                  </a:lnTo>
                  <a:lnTo>
                    <a:pt x="304" y="186"/>
                  </a:lnTo>
                  <a:lnTo>
                    <a:pt x="288" y="180"/>
                  </a:lnTo>
                  <a:lnTo>
                    <a:pt x="270" y="178"/>
                  </a:lnTo>
                  <a:lnTo>
                    <a:pt x="270" y="178"/>
                  </a:lnTo>
                  <a:close/>
                  <a:moveTo>
                    <a:pt x="270" y="178"/>
                  </a:moveTo>
                  <a:lnTo>
                    <a:pt x="270" y="1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8" name="Freeform 90">
              <a:extLst>
                <a:ext uri="{FF2B5EF4-FFF2-40B4-BE49-F238E27FC236}">
                  <a16:creationId xmlns:a16="http://schemas.microsoft.com/office/drawing/2014/main" id="{22C44B5F-38CB-4844-8ABD-D51570D6B4ED}"/>
                </a:ext>
              </a:extLst>
            </p:cNvPr>
            <p:cNvSpPr>
              <a:spLocks/>
            </p:cNvSpPr>
            <p:nvPr/>
          </p:nvSpPr>
          <p:spPr bwMode="auto">
            <a:xfrm>
              <a:off x="-1981200" y="2451100"/>
              <a:ext cx="854075" cy="850900"/>
            </a:xfrm>
            <a:custGeom>
              <a:avLst/>
              <a:gdLst>
                <a:gd name="T0" fmla="*/ 270 w 538"/>
                <a:gd name="T1" fmla="*/ 536 h 536"/>
                <a:gd name="T2" fmla="*/ 216 w 538"/>
                <a:gd name="T3" fmla="*/ 532 h 536"/>
                <a:gd name="T4" fmla="*/ 164 w 538"/>
                <a:gd name="T5" fmla="*/ 516 h 536"/>
                <a:gd name="T6" fmla="*/ 120 w 538"/>
                <a:gd name="T7" fmla="*/ 490 h 536"/>
                <a:gd name="T8" fmla="*/ 80 w 538"/>
                <a:gd name="T9" fmla="*/ 458 h 536"/>
                <a:gd name="T10" fmla="*/ 46 w 538"/>
                <a:gd name="T11" fmla="*/ 418 h 536"/>
                <a:gd name="T12" fmla="*/ 22 w 538"/>
                <a:gd name="T13" fmla="*/ 372 h 536"/>
                <a:gd name="T14" fmla="*/ 6 w 538"/>
                <a:gd name="T15" fmla="*/ 322 h 536"/>
                <a:gd name="T16" fmla="*/ 0 w 538"/>
                <a:gd name="T17" fmla="*/ 268 h 536"/>
                <a:gd name="T18" fmla="*/ 2 w 538"/>
                <a:gd name="T19" fmla="*/ 240 h 536"/>
                <a:gd name="T20" fmla="*/ 12 w 538"/>
                <a:gd name="T21" fmla="*/ 188 h 536"/>
                <a:gd name="T22" fmla="*/ 34 w 538"/>
                <a:gd name="T23" fmla="*/ 140 h 536"/>
                <a:gd name="T24" fmla="*/ 62 w 538"/>
                <a:gd name="T25" fmla="*/ 98 h 536"/>
                <a:gd name="T26" fmla="*/ 98 w 538"/>
                <a:gd name="T27" fmla="*/ 60 h 536"/>
                <a:gd name="T28" fmla="*/ 142 w 538"/>
                <a:gd name="T29" fmla="*/ 32 h 536"/>
                <a:gd name="T30" fmla="*/ 190 w 538"/>
                <a:gd name="T31" fmla="*/ 12 h 536"/>
                <a:gd name="T32" fmla="*/ 242 w 538"/>
                <a:gd name="T33" fmla="*/ 0 h 536"/>
                <a:gd name="T34" fmla="*/ 270 w 538"/>
                <a:gd name="T35" fmla="*/ 0 h 536"/>
                <a:gd name="T36" fmla="*/ 324 w 538"/>
                <a:gd name="T37" fmla="*/ 6 h 536"/>
                <a:gd name="T38" fmla="*/ 374 w 538"/>
                <a:gd name="T39" fmla="*/ 20 h 536"/>
                <a:gd name="T40" fmla="*/ 420 w 538"/>
                <a:gd name="T41" fmla="*/ 46 h 536"/>
                <a:gd name="T42" fmla="*/ 458 w 538"/>
                <a:gd name="T43" fmla="*/ 78 h 536"/>
                <a:gd name="T44" fmla="*/ 492 w 538"/>
                <a:gd name="T45" fmla="*/ 118 h 536"/>
                <a:gd name="T46" fmla="*/ 516 w 538"/>
                <a:gd name="T47" fmla="*/ 164 h 536"/>
                <a:gd name="T48" fmla="*/ 532 w 538"/>
                <a:gd name="T49" fmla="*/ 214 h 536"/>
                <a:gd name="T50" fmla="*/ 538 w 538"/>
                <a:gd name="T51" fmla="*/ 268 h 536"/>
                <a:gd name="T52" fmla="*/ 536 w 538"/>
                <a:gd name="T53" fmla="*/ 296 h 536"/>
                <a:gd name="T54" fmla="*/ 526 w 538"/>
                <a:gd name="T55" fmla="*/ 348 h 536"/>
                <a:gd name="T56" fmla="*/ 506 w 538"/>
                <a:gd name="T57" fmla="*/ 396 h 536"/>
                <a:gd name="T58" fmla="*/ 476 w 538"/>
                <a:gd name="T59" fmla="*/ 438 h 536"/>
                <a:gd name="T60" fmla="*/ 440 w 538"/>
                <a:gd name="T61" fmla="*/ 476 h 536"/>
                <a:gd name="T62" fmla="*/ 398 w 538"/>
                <a:gd name="T63" fmla="*/ 504 h 536"/>
                <a:gd name="T64" fmla="*/ 348 w 538"/>
                <a:gd name="T65" fmla="*/ 524 h 536"/>
                <a:gd name="T66" fmla="*/ 296 w 538"/>
                <a:gd name="T67" fmla="*/ 536 h 536"/>
                <a:gd name="T68" fmla="*/ 270 w 538"/>
                <a:gd name="T69" fmla="*/ 536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38" h="536">
                  <a:moveTo>
                    <a:pt x="270" y="536"/>
                  </a:moveTo>
                  <a:lnTo>
                    <a:pt x="270" y="536"/>
                  </a:lnTo>
                  <a:lnTo>
                    <a:pt x="242" y="536"/>
                  </a:lnTo>
                  <a:lnTo>
                    <a:pt x="216" y="532"/>
                  </a:lnTo>
                  <a:lnTo>
                    <a:pt x="190" y="524"/>
                  </a:lnTo>
                  <a:lnTo>
                    <a:pt x="164" y="516"/>
                  </a:lnTo>
                  <a:lnTo>
                    <a:pt x="142" y="504"/>
                  </a:lnTo>
                  <a:lnTo>
                    <a:pt x="120" y="490"/>
                  </a:lnTo>
                  <a:lnTo>
                    <a:pt x="98" y="476"/>
                  </a:lnTo>
                  <a:lnTo>
                    <a:pt x="80" y="458"/>
                  </a:lnTo>
                  <a:lnTo>
                    <a:pt x="62" y="438"/>
                  </a:lnTo>
                  <a:lnTo>
                    <a:pt x="46" y="418"/>
                  </a:lnTo>
                  <a:lnTo>
                    <a:pt x="34" y="396"/>
                  </a:lnTo>
                  <a:lnTo>
                    <a:pt x="22" y="372"/>
                  </a:lnTo>
                  <a:lnTo>
                    <a:pt x="12" y="348"/>
                  </a:lnTo>
                  <a:lnTo>
                    <a:pt x="6" y="322"/>
                  </a:lnTo>
                  <a:lnTo>
                    <a:pt x="2" y="296"/>
                  </a:lnTo>
                  <a:lnTo>
                    <a:pt x="0" y="268"/>
                  </a:lnTo>
                  <a:lnTo>
                    <a:pt x="0" y="268"/>
                  </a:lnTo>
                  <a:lnTo>
                    <a:pt x="2" y="240"/>
                  </a:lnTo>
                  <a:lnTo>
                    <a:pt x="6" y="214"/>
                  </a:lnTo>
                  <a:lnTo>
                    <a:pt x="12" y="188"/>
                  </a:lnTo>
                  <a:lnTo>
                    <a:pt x="22" y="164"/>
                  </a:lnTo>
                  <a:lnTo>
                    <a:pt x="34" y="140"/>
                  </a:lnTo>
                  <a:lnTo>
                    <a:pt x="46" y="118"/>
                  </a:lnTo>
                  <a:lnTo>
                    <a:pt x="62" y="98"/>
                  </a:lnTo>
                  <a:lnTo>
                    <a:pt x="80" y="78"/>
                  </a:lnTo>
                  <a:lnTo>
                    <a:pt x="98" y="60"/>
                  </a:lnTo>
                  <a:lnTo>
                    <a:pt x="120" y="46"/>
                  </a:lnTo>
                  <a:lnTo>
                    <a:pt x="142" y="32"/>
                  </a:lnTo>
                  <a:lnTo>
                    <a:pt x="164" y="20"/>
                  </a:lnTo>
                  <a:lnTo>
                    <a:pt x="190" y="12"/>
                  </a:lnTo>
                  <a:lnTo>
                    <a:pt x="216" y="6"/>
                  </a:lnTo>
                  <a:lnTo>
                    <a:pt x="242" y="0"/>
                  </a:lnTo>
                  <a:lnTo>
                    <a:pt x="270" y="0"/>
                  </a:lnTo>
                  <a:lnTo>
                    <a:pt x="270" y="0"/>
                  </a:lnTo>
                  <a:lnTo>
                    <a:pt x="296" y="0"/>
                  </a:lnTo>
                  <a:lnTo>
                    <a:pt x="324" y="6"/>
                  </a:lnTo>
                  <a:lnTo>
                    <a:pt x="348" y="12"/>
                  </a:lnTo>
                  <a:lnTo>
                    <a:pt x="374" y="20"/>
                  </a:lnTo>
                  <a:lnTo>
                    <a:pt x="398" y="32"/>
                  </a:lnTo>
                  <a:lnTo>
                    <a:pt x="420" y="46"/>
                  </a:lnTo>
                  <a:lnTo>
                    <a:pt x="440" y="60"/>
                  </a:lnTo>
                  <a:lnTo>
                    <a:pt x="458" y="78"/>
                  </a:lnTo>
                  <a:lnTo>
                    <a:pt x="476" y="98"/>
                  </a:lnTo>
                  <a:lnTo>
                    <a:pt x="492" y="118"/>
                  </a:lnTo>
                  <a:lnTo>
                    <a:pt x="506" y="140"/>
                  </a:lnTo>
                  <a:lnTo>
                    <a:pt x="516" y="164"/>
                  </a:lnTo>
                  <a:lnTo>
                    <a:pt x="526" y="188"/>
                  </a:lnTo>
                  <a:lnTo>
                    <a:pt x="532" y="214"/>
                  </a:lnTo>
                  <a:lnTo>
                    <a:pt x="536" y="240"/>
                  </a:lnTo>
                  <a:lnTo>
                    <a:pt x="538" y="268"/>
                  </a:lnTo>
                  <a:lnTo>
                    <a:pt x="538" y="268"/>
                  </a:lnTo>
                  <a:lnTo>
                    <a:pt x="536" y="296"/>
                  </a:lnTo>
                  <a:lnTo>
                    <a:pt x="532" y="322"/>
                  </a:lnTo>
                  <a:lnTo>
                    <a:pt x="526" y="348"/>
                  </a:lnTo>
                  <a:lnTo>
                    <a:pt x="516" y="372"/>
                  </a:lnTo>
                  <a:lnTo>
                    <a:pt x="506" y="396"/>
                  </a:lnTo>
                  <a:lnTo>
                    <a:pt x="492" y="418"/>
                  </a:lnTo>
                  <a:lnTo>
                    <a:pt x="476" y="438"/>
                  </a:lnTo>
                  <a:lnTo>
                    <a:pt x="458" y="458"/>
                  </a:lnTo>
                  <a:lnTo>
                    <a:pt x="440" y="476"/>
                  </a:lnTo>
                  <a:lnTo>
                    <a:pt x="420" y="490"/>
                  </a:lnTo>
                  <a:lnTo>
                    <a:pt x="398" y="504"/>
                  </a:lnTo>
                  <a:lnTo>
                    <a:pt x="374" y="516"/>
                  </a:lnTo>
                  <a:lnTo>
                    <a:pt x="348" y="524"/>
                  </a:lnTo>
                  <a:lnTo>
                    <a:pt x="324" y="532"/>
                  </a:lnTo>
                  <a:lnTo>
                    <a:pt x="296" y="536"/>
                  </a:lnTo>
                  <a:lnTo>
                    <a:pt x="270" y="536"/>
                  </a:lnTo>
                  <a:lnTo>
                    <a:pt x="270" y="5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9" name="Freeform 91">
              <a:extLst>
                <a:ext uri="{FF2B5EF4-FFF2-40B4-BE49-F238E27FC236}">
                  <a16:creationId xmlns:a16="http://schemas.microsoft.com/office/drawing/2014/main" id="{06BFEEAA-3143-4DA5-BDB4-8410063CDE30}"/>
                </a:ext>
              </a:extLst>
            </p:cNvPr>
            <p:cNvSpPr>
              <a:spLocks/>
            </p:cNvSpPr>
            <p:nvPr/>
          </p:nvSpPr>
          <p:spPr bwMode="auto">
            <a:xfrm>
              <a:off x="-1695450" y="2733675"/>
              <a:ext cx="282575" cy="285750"/>
            </a:xfrm>
            <a:custGeom>
              <a:avLst/>
              <a:gdLst>
                <a:gd name="T0" fmla="*/ 90 w 178"/>
                <a:gd name="T1" fmla="*/ 0 h 180"/>
                <a:gd name="T2" fmla="*/ 90 w 178"/>
                <a:gd name="T3" fmla="*/ 0 h 180"/>
                <a:gd name="T4" fmla="*/ 72 w 178"/>
                <a:gd name="T5" fmla="*/ 2 h 180"/>
                <a:gd name="T6" fmla="*/ 54 w 178"/>
                <a:gd name="T7" fmla="*/ 8 h 180"/>
                <a:gd name="T8" fmla="*/ 40 w 178"/>
                <a:gd name="T9" fmla="*/ 16 h 180"/>
                <a:gd name="T10" fmla="*/ 26 w 178"/>
                <a:gd name="T11" fmla="*/ 26 h 180"/>
                <a:gd name="T12" fmla="*/ 16 w 178"/>
                <a:gd name="T13" fmla="*/ 40 h 180"/>
                <a:gd name="T14" fmla="*/ 6 w 178"/>
                <a:gd name="T15" fmla="*/ 56 h 180"/>
                <a:gd name="T16" fmla="*/ 2 w 178"/>
                <a:gd name="T17" fmla="*/ 72 h 180"/>
                <a:gd name="T18" fmla="*/ 0 w 178"/>
                <a:gd name="T19" fmla="*/ 90 h 180"/>
                <a:gd name="T20" fmla="*/ 0 w 178"/>
                <a:gd name="T21" fmla="*/ 90 h 180"/>
                <a:gd name="T22" fmla="*/ 2 w 178"/>
                <a:gd name="T23" fmla="*/ 108 h 180"/>
                <a:gd name="T24" fmla="*/ 6 w 178"/>
                <a:gd name="T25" fmla="*/ 124 h 180"/>
                <a:gd name="T26" fmla="*/ 16 w 178"/>
                <a:gd name="T27" fmla="*/ 140 h 180"/>
                <a:gd name="T28" fmla="*/ 26 w 178"/>
                <a:gd name="T29" fmla="*/ 154 h 180"/>
                <a:gd name="T30" fmla="*/ 40 w 178"/>
                <a:gd name="T31" fmla="*/ 164 h 180"/>
                <a:gd name="T32" fmla="*/ 54 w 178"/>
                <a:gd name="T33" fmla="*/ 172 h 180"/>
                <a:gd name="T34" fmla="*/ 72 w 178"/>
                <a:gd name="T35" fmla="*/ 178 h 180"/>
                <a:gd name="T36" fmla="*/ 90 w 178"/>
                <a:gd name="T37" fmla="*/ 180 h 180"/>
                <a:gd name="T38" fmla="*/ 90 w 178"/>
                <a:gd name="T39" fmla="*/ 180 h 180"/>
                <a:gd name="T40" fmla="*/ 108 w 178"/>
                <a:gd name="T41" fmla="*/ 178 h 180"/>
                <a:gd name="T42" fmla="*/ 124 w 178"/>
                <a:gd name="T43" fmla="*/ 172 h 180"/>
                <a:gd name="T44" fmla="*/ 140 w 178"/>
                <a:gd name="T45" fmla="*/ 164 h 180"/>
                <a:gd name="T46" fmla="*/ 152 w 178"/>
                <a:gd name="T47" fmla="*/ 154 h 180"/>
                <a:gd name="T48" fmla="*/ 164 w 178"/>
                <a:gd name="T49" fmla="*/ 140 h 180"/>
                <a:gd name="T50" fmla="*/ 172 w 178"/>
                <a:gd name="T51" fmla="*/ 124 h 180"/>
                <a:gd name="T52" fmla="*/ 176 w 178"/>
                <a:gd name="T53" fmla="*/ 108 h 180"/>
                <a:gd name="T54" fmla="*/ 178 w 178"/>
                <a:gd name="T55" fmla="*/ 90 h 180"/>
                <a:gd name="T56" fmla="*/ 178 w 178"/>
                <a:gd name="T57" fmla="*/ 90 h 180"/>
                <a:gd name="T58" fmla="*/ 176 w 178"/>
                <a:gd name="T59" fmla="*/ 72 h 180"/>
                <a:gd name="T60" fmla="*/ 172 w 178"/>
                <a:gd name="T61" fmla="*/ 56 h 180"/>
                <a:gd name="T62" fmla="*/ 164 w 178"/>
                <a:gd name="T63" fmla="*/ 40 h 180"/>
                <a:gd name="T64" fmla="*/ 152 w 178"/>
                <a:gd name="T65" fmla="*/ 26 h 180"/>
                <a:gd name="T66" fmla="*/ 140 w 178"/>
                <a:gd name="T67" fmla="*/ 16 h 180"/>
                <a:gd name="T68" fmla="*/ 124 w 178"/>
                <a:gd name="T69" fmla="*/ 8 h 180"/>
                <a:gd name="T70" fmla="*/ 108 w 178"/>
                <a:gd name="T71" fmla="*/ 2 h 180"/>
                <a:gd name="T72" fmla="*/ 90 w 178"/>
                <a:gd name="T73" fmla="*/ 0 h 180"/>
                <a:gd name="T74" fmla="*/ 90 w 178"/>
                <a:gd name="T75"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8" h="180">
                  <a:moveTo>
                    <a:pt x="90" y="0"/>
                  </a:moveTo>
                  <a:lnTo>
                    <a:pt x="90" y="0"/>
                  </a:lnTo>
                  <a:lnTo>
                    <a:pt x="72" y="2"/>
                  </a:lnTo>
                  <a:lnTo>
                    <a:pt x="54" y="8"/>
                  </a:lnTo>
                  <a:lnTo>
                    <a:pt x="40" y="16"/>
                  </a:lnTo>
                  <a:lnTo>
                    <a:pt x="26" y="26"/>
                  </a:lnTo>
                  <a:lnTo>
                    <a:pt x="16" y="40"/>
                  </a:lnTo>
                  <a:lnTo>
                    <a:pt x="6" y="56"/>
                  </a:lnTo>
                  <a:lnTo>
                    <a:pt x="2" y="72"/>
                  </a:lnTo>
                  <a:lnTo>
                    <a:pt x="0" y="90"/>
                  </a:lnTo>
                  <a:lnTo>
                    <a:pt x="0" y="90"/>
                  </a:lnTo>
                  <a:lnTo>
                    <a:pt x="2" y="108"/>
                  </a:lnTo>
                  <a:lnTo>
                    <a:pt x="6" y="124"/>
                  </a:lnTo>
                  <a:lnTo>
                    <a:pt x="16" y="140"/>
                  </a:lnTo>
                  <a:lnTo>
                    <a:pt x="26" y="154"/>
                  </a:lnTo>
                  <a:lnTo>
                    <a:pt x="40" y="164"/>
                  </a:lnTo>
                  <a:lnTo>
                    <a:pt x="54" y="172"/>
                  </a:lnTo>
                  <a:lnTo>
                    <a:pt x="72" y="178"/>
                  </a:lnTo>
                  <a:lnTo>
                    <a:pt x="90" y="180"/>
                  </a:lnTo>
                  <a:lnTo>
                    <a:pt x="90" y="180"/>
                  </a:lnTo>
                  <a:lnTo>
                    <a:pt x="108" y="178"/>
                  </a:lnTo>
                  <a:lnTo>
                    <a:pt x="124" y="172"/>
                  </a:lnTo>
                  <a:lnTo>
                    <a:pt x="140" y="164"/>
                  </a:lnTo>
                  <a:lnTo>
                    <a:pt x="152" y="154"/>
                  </a:lnTo>
                  <a:lnTo>
                    <a:pt x="164" y="140"/>
                  </a:lnTo>
                  <a:lnTo>
                    <a:pt x="172" y="124"/>
                  </a:lnTo>
                  <a:lnTo>
                    <a:pt x="176" y="108"/>
                  </a:lnTo>
                  <a:lnTo>
                    <a:pt x="178" y="90"/>
                  </a:lnTo>
                  <a:lnTo>
                    <a:pt x="178" y="90"/>
                  </a:lnTo>
                  <a:lnTo>
                    <a:pt x="176" y="72"/>
                  </a:lnTo>
                  <a:lnTo>
                    <a:pt x="172" y="56"/>
                  </a:lnTo>
                  <a:lnTo>
                    <a:pt x="164" y="40"/>
                  </a:lnTo>
                  <a:lnTo>
                    <a:pt x="152" y="26"/>
                  </a:lnTo>
                  <a:lnTo>
                    <a:pt x="140" y="16"/>
                  </a:lnTo>
                  <a:lnTo>
                    <a:pt x="124" y="8"/>
                  </a:lnTo>
                  <a:lnTo>
                    <a:pt x="108" y="2"/>
                  </a:lnTo>
                  <a:lnTo>
                    <a:pt x="90" y="0"/>
                  </a:lnTo>
                  <a:lnTo>
                    <a:pt x="90" y="0"/>
                  </a:ln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0" name="Line 92">
              <a:extLst>
                <a:ext uri="{FF2B5EF4-FFF2-40B4-BE49-F238E27FC236}">
                  <a16:creationId xmlns:a16="http://schemas.microsoft.com/office/drawing/2014/main" id="{82BD5093-F5F8-420E-A651-41C31A97E0A0}"/>
                </a:ext>
              </a:extLst>
            </p:cNvPr>
            <p:cNvSpPr>
              <a:spLocks noChangeShapeType="1"/>
            </p:cNvSpPr>
            <p:nvPr/>
          </p:nvSpPr>
          <p:spPr bwMode="auto">
            <a:xfrm>
              <a:off x="-1552575" y="273367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1" name="Freeform 93">
              <a:extLst>
                <a:ext uri="{FF2B5EF4-FFF2-40B4-BE49-F238E27FC236}">
                  <a16:creationId xmlns:a16="http://schemas.microsoft.com/office/drawing/2014/main" id="{0E96034A-3395-44DA-90FF-AF874ED5B407}"/>
                </a:ext>
              </a:extLst>
            </p:cNvPr>
            <p:cNvSpPr>
              <a:spLocks noEditPoints="1"/>
            </p:cNvSpPr>
            <p:nvPr/>
          </p:nvSpPr>
          <p:spPr bwMode="auto">
            <a:xfrm>
              <a:off x="-1419225" y="3902075"/>
              <a:ext cx="704850" cy="704850"/>
            </a:xfrm>
            <a:custGeom>
              <a:avLst/>
              <a:gdLst>
                <a:gd name="T0" fmla="*/ 444 w 444"/>
                <a:gd name="T1" fmla="*/ 222 h 444"/>
                <a:gd name="T2" fmla="*/ 438 w 444"/>
                <a:gd name="T3" fmla="*/ 266 h 444"/>
                <a:gd name="T4" fmla="*/ 426 w 444"/>
                <a:gd name="T5" fmla="*/ 308 h 444"/>
                <a:gd name="T6" fmla="*/ 406 w 444"/>
                <a:gd name="T7" fmla="*/ 346 h 444"/>
                <a:gd name="T8" fmla="*/ 378 w 444"/>
                <a:gd name="T9" fmla="*/ 378 h 444"/>
                <a:gd name="T10" fmla="*/ 346 w 444"/>
                <a:gd name="T11" fmla="*/ 406 h 444"/>
                <a:gd name="T12" fmla="*/ 308 w 444"/>
                <a:gd name="T13" fmla="*/ 426 h 444"/>
                <a:gd name="T14" fmla="*/ 266 w 444"/>
                <a:gd name="T15" fmla="*/ 440 h 444"/>
                <a:gd name="T16" fmla="*/ 222 w 444"/>
                <a:gd name="T17" fmla="*/ 444 h 444"/>
                <a:gd name="T18" fmla="*/ 198 w 444"/>
                <a:gd name="T19" fmla="*/ 442 h 444"/>
                <a:gd name="T20" fmla="*/ 156 w 444"/>
                <a:gd name="T21" fmla="*/ 434 h 444"/>
                <a:gd name="T22" fmla="*/ 116 w 444"/>
                <a:gd name="T23" fmla="*/ 418 h 444"/>
                <a:gd name="T24" fmla="*/ 80 w 444"/>
                <a:gd name="T25" fmla="*/ 394 h 444"/>
                <a:gd name="T26" fmla="*/ 50 w 444"/>
                <a:gd name="T27" fmla="*/ 364 h 444"/>
                <a:gd name="T28" fmla="*/ 26 w 444"/>
                <a:gd name="T29" fmla="*/ 328 h 444"/>
                <a:gd name="T30" fmla="*/ 10 w 444"/>
                <a:gd name="T31" fmla="*/ 288 h 444"/>
                <a:gd name="T32" fmla="*/ 0 w 444"/>
                <a:gd name="T33" fmla="*/ 244 h 444"/>
                <a:gd name="T34" fmla="*/ 0 w 444"/>
                <a:gd name="T35" fmla="*/ 222 h 444"/>
                <a:gd name="T36" fmla="*/ 4 w 444"/>
                <a:gd name="T37" fmla="*/ 178 h 444"/>
                <a:gd name="T38" fmla="*/ 18 w 444"/>
                <a:gd name="T39" fmla="*/ 136 h 444"/>
                <a:gd name="T40" fmla="*/ 38 w 444"/>
                <a:gd name="T41" fmla="*/ 98 h 444"/>
                <a:gd name="T42" fmla="*/ 64 w 444"/>
                <a:gd name="T43" fmla="*/ 66 h 444"/>
                <a:gd name="T44" fmla="*/ 98 w 444"/>
                <a:gd name="T45" fmla="*/ 38 h 444"/>
                <a:gd name="T46" fmla="*/ 136 w 444"/>
                <a:gd name="T47" fmla="*/ 18 h 444"/>
                <a:gd name="T48" fmla="*/ 176 w 444"/>
                <a:gd name="T49" fmla="*/ 4 h 444"/>
                <a:gd name="T50" fmla="*/ 222 w 444"/>
                <a:gd name="T51" fmla="*/ 0 h 444"/>
                <a:gd name="T52" fmla="*/ 244 w 444"/>
                <a:gd name="T53" fmla="*/ 2 h 444"/>
                <a:gd name="T54" fmla="*/ 288 w 444"/>
                <a:gd name="T55" fmla="*/ 10 h 444"/>
                <a:gd name="T56" fmla="*/ 328 w 444"/>
                <a:gd name="T57" fmla="*/ 28 h 444"/>
                <a:gd name="T58" fmla="*/ 362 w 444"/>
                <a:gd name="T59" fmla="*/ 50 h 444"/>
                <a:gd name="T60" fmla="*/ 392 w 444"/>
                <a:gd name="T61" fmla="*/ 80 h 444"/>
                <a:gd name="T62" fmla="*/ 416 w 444"/>
                <a:gd name="T63" fmla="*/ 116 h 444"/>
                <a:gd name="T64" fmla="*/ 434 w 444"/>
                <a:gd name="T65" fmla="*/ 156 h 444"/>
                <a:gd name="T66" fmla="*/ 442 w 444"/>
                <a:gd name="T67" fmla="*/ 200 h 444"/>
                <a:gd name="T68" fmla="*/ 444 w 444"/>
                <a:gd name="T69" fmla="*/ 222 h 444"/>
                <a:gd name="T70" fmla="*/ 444 w 444"/>
                <a:gd name="T71" fmla="*/ 22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4" h="444">
                  <a:moveTo>
                    <a:pt x="444" y="222"/>
                  </a:moveTo>
                  <a:lnTo>
                    <a:pt x="444" y="222"/>
                  </a:lnTo>
                  <a:lnTo>
                    <a:pt x="442" y="244"/>
                  </a:lnTo>
                  <a:lnTo>
                    <a:pt x="438" y="266"/>
                  </a:lnTo>
                  <a:lnTo>
                    <a:pt x="434" y="288"/>
                  </a:lnTo>
                  <a:lnTo>
                    <a:pt x="426" y="308"/>
                  </a:lnTo>
                  <a:lnTo>
                    <a:pt x="416" y="328"/>
                  </a:lnTo>
                  <a:lnTo>
                    <a:pt x="406" y="346"/>
                  </a:lnTo>
                  <a:lnTo>
                    <a:pt x="392" y="364"/>
                  </a:lnTo>
                  <a:lnTo>
                    <a:pt x="378" y="378"/>
                  </a:lnTo>
                  <a:lnTo>
                    <a:pt x="362" y="394"/>
                  </a:lnTo>
                  <a:lnTo>
                    <a:pt x="346" y="406"/>
                  </a:lnTo>
                  <a:lnTo>
                    <a:pt x="328" y="418"/>
                  </a:lnTo>
                  <a:lnTo>
                    <a:pt x="308" y="426"/>
                  </a:lnTo>
                  <a:lnTo>
                    <a:pt x="288" y="434"/>
                  </a:lnTo>
                  <a:lnTo>
                    <a:pt x="266" y="440"/>
                  </a:lnTo>
                  <a:lnTo>
                    <a:pt x="244" y="442"/>
                  </a:lnTo>
                  <a:lnTo>
                    <a:pt x="222" y="444"/>
                  </a:lnTo>
                  <a:lnTo>
                    <a:pt x="222" y="444"/>
                  </a:lnTo>
                  <a:lnTo>
                    <a:pt x="198" y="442"/>
                  </a:lnTo>
                  <a:lnTo>
                    <a:pt x="176" y="440"/>
                  </a:lnTo>
                  <a:lnTo>
                    <a:pt x="156" y="434"/>
                  </a:lnTo>
                  <a:lnTo>
                    <a:pt x="136" y="426"/>
                  </a:lnTo>
                  <a:lnTo>
                    <a:pt x="116" y="418"/>
                  </a:lnTo>
                  <a:lnTo>
                    <a:pt x="98" y="406"/>
                  </a:lnTo>
                  <a:lnTo>
                    <a:pt x="80" y="394"/>
                  </a:lnTo>
                  <a:lnTo>
                    <a:pt x="64" y="378"/>
                  </a:lnTo>
                  <a:lnTo>
                    <a:pt x="50" y="364"/>
                  </a:lnTo>
                  <a:lnTo>
                    <a:pt x="38" y="346"/>
                  </a:lnTo>
                  <a:lnTo>
                    <a:pt x="26" y="328"/>
                  </a:lnTo>
                  <a:lnTo>
                    <a:pt x="18" y="308"/>
                  </a:lnTo>
                  <a:lnTo>
                    <a:pt x="10" y="288"/>
                  </a:lnTo>
                  <a:lnTo>
                    <a:pt x="4" y="266"/>
                  </a:lnTo>
                  <a:lnTo>
                    <a:pt x="0" y="244"/>
                  </a:lnTo>
                  <a:lnTo>
                    <a:pt x="0" y="222"/>
                  </a:lnTo>
                  <a:lnTo>
                    <a:pt x="0" y="222"/>
                  </a:lnTo>
                  <a:lnTo>
                    <a:pt x="0" y="200"/>
                  </a:lnTo>
                  <a:lnTo>
                    <a:pt x="4" y="178"/>
                  </a:lnTo>
                  <a:lnTo>
                    <a:pt x="10" y="156"/>
                  </a:lnTo>
                  <a:lnTo>
                    <a:pt x="18" y="136"/>
                  </a:lnTo>
                  <a:lnTo>
                    <a:pt x="26" y="116"/>
                  </a:lnTo>
                  <a:lnTo>
                    <a:pt x="38" y="98"/>
                  </a:lnTo>
                  <a:lnTo>
                    <a:pt x="50" y="80"/>
                  </a:lnTo>
                  <a:lnTo>
                    <a:pt x="64" y="66"/>
                  </a:lnTo>
                  <a:lnTo>
                    <a:pt x="80" y="50"/>
                  </a:lnTo>
                  <a:lnTo>
                    <a:pt x="98" y="38"/>
                  </a:lnTo>
                  <a:lnTo>
                    <a:pt x="116" y="28"/>
                  </a:lnTo>
                  <a:lnTo>
                    <a:pt x="136" y="18"/>
                  </a:lnTo>
                  <a:lnTo>
                    <a:pt x="156" y="10"/>
                  </a:lnTo>
                  <a:lnTo>
                    <a:pt x="176" y="4"/>
                  </a:lnTo>
                  <a:lnTo>
                    <a:pt x="198" y="2"/>
                  </a:lnTo>
                  <a:lnTo>
                    <a:pt x="222" y="0"/>
                  </a:lnTo>
                  <a:lnTo>
                    <a:pt x="222" y="0"/>
                  </a:lnTo>
                  <a:lnTo>
                    <a:pt x="244" y="2"/>
                  </a:lnTo>
                  <a:lnTo>
                    <a:pt x="266" y="4"/>
                  </a:lnTo>
                  <a:lnTo>
                    <a:pt x="288" y="10"/>
                  </a:lnTo>
                  <a:lnTo>
                    <a:pt x="308" y="18"/>
                  </a:lnTo>
                  <a:lnTo>
                    <a:pt x="328" y="28"/>
                  </a:lnTo>
                  <a:lnTo>
                    <a:pt x="346" y="38"/>
                  </a:lnTo>
                  <a:lnTo>
                    <a:pt x="362" y="50"/>
                  </a:lnTo>
                  <a:lnTo>
                    <a:pt x="378" y="66"/>
                  </a:lnTo>
                  <a:lnTo>
                    <a:pt x="392" y="80"/>
                  </a:lnTo>
                  <a:lnTo>
                    <a:pt x="406" y="98"/>
                  </a:lnTo>
                  <a:lnTo>
                    <a:pt x="416" y="116"/>
                  </a:lnTo>
                  <a:lnTo>
                    <a:pt x="426" y="136"/>
                  </a:lnTo>
                  <a:lnTo>
                    <a:pt x="434" y="156"/>
                  </a:lnTo>
                  <a:lnTo>
                    <a:pt x="438" y="178"/>
                  </a:lnTo>
                  <a:lnTo>
                    <a:pt x="442" y="200"/>
                  </a:lnTo>
                  <a:lnTo>
                    <a:pt x="444" y="222"/>
                  </a:lnTo>
                  <a:lnTo>
                    <a:pt x="444" y="222"/>
                  </a:lnTo>
                  <a:close/>
                  <a:moveTo>
                    <a:pt x="444" y="222"/>
                  </a:moveTo>
                  <a:lnTo>
                    <a:pt x="444" y="222"/>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2" name="Line 95">
              <a:extLst>
                <a:ext uri="{FF2B5EF4-FFF2-40B4-BE49-F238E27FC236}">
                  <a16:creationId xmlns:a16="http://schemas.microsoft.com/office/drawing/2014/main" id="{D600CE49-5150-498C-9899-141206CA874E}"/>
                </a:ext>
              </a:extLst>
            </p:cNvPr>
            <p:cNvSpPr>
              <a:spLocks noChangeShapeType="1"/>
            </p:cNvSpPr>
            <p:nvPr/>
          </p:nvSpPr>
          <p:spPr bwMode="auto">
            <a:xfrm>
              <a:off x="-466725" y="42545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3" name="Freeform 96">
              <a:extLst>
                <a:ext uri="{FF2B5EF4-FFF2-40B4-BE49-F238E27FC236}">
                  <a16:creationId xmlns:a16="http://schemas.microsoft.com/office/drawing/2014/main" id="{05FDF70C-B4D2-4D14-B159-39D3E07FA9A4}"/>
                </a:ext>
              </a:extLst>
            </p:cNvPr>
            <p:cNvSpPr>
              <a:spLocks noEditPoints="1"/>
            </p:cNvSpPr>
            <p:nvPr/>
          </p:nvSpPr>
          <p:spPr bwMode="auto">
            <a:xfrm>
              <a:off x="-1581150" y="3759200"/>
              <a:ext cx="987425" cy="990600"/>
            </a:xfrm>
            <a:custGeom>
              <a:avLst/>
              <a:gdLst>
                <a:gd name="T0" fmla="*/ 280 w 622"/>
                <a:gd name="T1" fmla="*/ 622 h 624"/>
                <a:gd name="T2" fmla="*/ 190 w 622"/>
                <a:gd name="T3" fmla="*/ 598 h 624"/>
                <a:gd name="T4" fmla="*/ 114 w 622"/>
                <a:gd name="T5" fmla="*/ 552 h 624"/>
                <a:gd name="T6" fmla="*/ 54 w 622"/>
                <a:gd name="T7" fmla="*/ 486 h 624"/>
                <a:gd name="T8" fmla="*/ 14 w 622"/>
                <a:gd name="T9" fmla="*/ 404 h 624"/>
                <a:gd name="T10" fmla="*/ 0 w 622"/>
                <a:gd name="T11" fmla="*/ 312 h 624"/>
                <a:gd name="T12" fmla="*/ 6 w 622"/>
                <a:gd name="T13" fmla="*/ 250 h 624"/>
                <a:gd name="T14" fmla="*/ 38 w 622"/>
                <a:gd name="T15" fmla="*/ 164 h 624"/>
                <a:gd name="T16" fmla="*/ 92 w 622"/>
                <a:gd name="T17" fmla="*/ 92 h 624"/>
                <a:gd name="T18" fmla="*/ 164 w 622"/>
                <a:gd name="T19" fmla="*/ 38 h 624"/>
                <a:gd name="T20" fmla="*/ 248 w 622"/>
                <a:gd name="T21" fmla="*/ 8 h 624"/>
                <a:gd name="T22" fmla="*/ 312 w 622"/>
                <a:gd name="T23" fmla="*/ 0 h 624"/>
                <a:gd name="T24" fmla="*/ 404 w 622"/>
                <a:gd name="T25" fmla="*/ 14 h 624"/>
                <a:gd name="T26" fmla="*/ 486 w 622"/>
                <a:gd name="T27" fmla="*/ 54 h 624"/>
                <a:gd name="T28" fmla="*/ 552 w 622"/>
                <a:gd name="T29" fmla="*/ 114 h 624"/>
                <a:gd name="T30" fmla="*/ 598 w 622"/>
                <a:gd name="T31" fmla="*/ 190 h 624"/>
                <a:gd name="T32" fmla="*/ 622 w 622"/>
                <a:gd name="T33" fmla="*/ 280 h 624"/>
                <a:gd name="T34" fmla="*/ 622 w 622"/>
                <a:gd name="T35" fmla="*/ 344 h 624"/>
                <a:gd name="T36" fmla="*/ 598 w 622"/>
                <a:gd name="T37" fmla="*/ 434 h 624"/>
                <a:gd name="T38" fmla="*/ 552 w 622"/>
                <a:gd name="T39" fmla="*/ 510 h 624"/>
                <a:gd name="T40" fmla="*/ 486 w 622"/>
                <a:gd name="T41" fmla="*/ 570 h 624"/>
                <a:gd name="T42" fmla="*/ 404 w 622"/>
                <a:gd name="T43" fmla="*/ 610 h 624"/>
                <a:gd name="T44" fmla="*/ 312 w 622"/>
                <a:gd name="T45" fmla="*/ 624 h 624"/>
                <a:gd name="T46" fmla="*/ 312 w 622"/>
                <a:gd name="T47" fmla="*/ 180 h 624"/>
                <a:gd name="T48" fmla="*/ 272 w 622"/>
                <a:gd name="T49" fmla="*/ 186 h 624"/>
                <a:gd name="T50" fmla="*/ 238 w 622"/>
                <a:gd name="T51" fmla="*/ 202 h 624"/>
                <a:gd name="T52" fmla="*/ 210 w 622"/>
                <a:gd name="T53" fmla="*/ 228 h 624"/>
                <a:gd name="T54" fmla="*/ 190 w 622"/>
                <a:gd name="T55" fmla="*/ 260 h 624"/>
                <a:gd name="T56" fmla="*/ 180 w 622"/>
                <a:gd name="T57" fmla="*/ 298 h 624"/>
                <a:gd name="T58" fmla="*/ 180 w 622"/>
                <a:gd name="T59" fmla="*/ 326 h 624"/>
                <a:gd name="T60" fmla="*/ 190 w 622"/>
                <a:gd name="T61" fmla="*/ 364 h 624"/>
                <a:gd name="T62" fmla="*/ 210 w 622"/>
                <a:gd name="T63" fmla="*/ 396 h 624"/>
                <a:gd name="T64" fmla="*/ 238 w 622"/>
                <a:gd name="T65" fmla="*/ 422 h 624"/>
                <a:gd name="T66" fmla="*/ 272 w 622"/>
                <a:gd name="T67" fmla="*/ 438 h 624"/>
                <a:gd name="T68" fmla="*/ 312 w 622"/>
                <a:gd name="T69" fmla="*/ 444 h 624"/>
                <a:gd name="T70" fmla="*/ 338 w 622"/>
                <a:gd name="T71" fmla="*/ 442 h 624"/>
                <a:gd name="T72" fmla="*/ 374 w 622"/>
                <a:gd name="T73" fmla="*/ 428 h 624"/>
                <a:gd name="T74" fmla="*/ 404 w 622"/>
                <a:gd name="T75" fmla="*/ 406 h 624"/>
                <a:gd name="T76" fmla="*/ 428 w 622"/>
                <a:gd name="T77" fmla="*/ 376 h 624"/>
                <a:gd name="T78" fmla="*/ 440 w 622"/>
                <a:gd name="T79" fmla="*/ 338 h 624"/>
                <a:gd name="T80" fmla="*/ 444 w 622"/>
                <a:gd name="T81" fmla="*/ 312 h 624"/>
                <a:gd name="T82" fmla="*/ 438 w 622"/>
                <a:gd name="T83" fmla="*/ 272 h 624"/>
                <a:gd name="T84" fmla="*/ 422 w 622"/>
                <a:gd name="T85" fmla="*/ 238 h 624"/>
                <a:gd name="T86" fmla="*/ 396 w 622"/>
                <a:gd name="T87" fmla="*/ 210 h 624"/>
                <a:gd name="T88" fmla="*/ 362 w 622"/>
                <a:gd name="T89" fmla="*/ 190 h 624"/>
                <a:gd name="T90" fmla="*/ 324 w 622"/>
                <a:gd name="T91" fmla="*/ 180 h 624"/>
                <a:gd name="T92" fmla="*/ 312 w 622"/>
                <a:gd name="T93" fmla="*/ 18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2" h="624">
                  <a:moveTo>
                    <a:pt x="312" y="624"/>
                  </a:moveTo>
                  <a:lnTo>
                    <a:pt x="312" y="624"/>
                  </a:lnTo>
                  <a:lnTo>
                    <a:pt x="280" y="622"/>
                  </a:lnTo>
                  <a:lnTo>
                    <a:pt x="248" y="618"/>
                  </a:lnTo>
                  <a:lnTo>
                    <a:pt x="220" y="610"/>
                  </a:lnTo>
                  <a:lnTo>
                    <a:pt x="190" y="598"/>
                  </a:lnTo>
                  <a:lnTo>
                    <a:pt x="164" y="586"/>
                  </a:lnTo>
                  <a:lnTo>
                    <a:pt x="138" y="570"/>
                  </a:lnTo>
                  <a:lnTo>
                    <a:pt x="114" y="552"/>
                  </a:lnTo>
                  <a:lnTo>
                    <a:pt x="92" y="532"/>
                  </a:lnTo>
                  <a:lnTo>
                    <a:pt x="72" y="510"/>
                  </a:lnTo>
                  <a:lnTo>
                    <a:pt x="54" y="486"/>
                  </a:lnTo>
                  <a:lnTo>
                    <a:pt x="38" y="460"/>
                  </a:lnTo>
                  <a:lnTo>
                    <a:pt x="24" y="434"/>
                  </a:lnTo>
                  <a:lnTo>
                    <a:pt x="14" y="404"/>
                  </a:lnTo>
                  <a:lnTo>
                    <a:pt x="6" y="374"/>
                  </a:lnTo>
                  <a:lnTo>
                    <a:pt x="2" y="344"/>
                  </a:lnTo>
                  <a:lnTo>
                    <a:pt x="0" y="312"/>
                  </a:lnTo>
                  <a:lnTo>
                    <a:pt x="0" y="312"/>
                  </a:lnTo>
                  <a:lnTo>
                    <a:pt x="2" y="280"/>
                  </a:lnTo>
                  <a:lnTo>
                    <a:pt x="6" y="250"/>
                  </a:lnTo>
                  <a:lnTo>
                    <a:pt x="14" y="220"/>
                  </a:lnTo>
                  <a:lnTo>
                    <a:pt x="24" y="190"/>
                  </a:lnTo>
                  <a:lnTo>
                    <a:pt x="38" y="164"/>
                  </a:lnTo>
                  <a:lnTo>
                    <a:pt x="54" y="138"/>
                  </a:lnTo>
                  <a:lnTo>
                    <a:pt x="72" y="114"/>
                  </a:lnTo>
                  <a:lnTo>
                    <a:pt x="92" y="92"/>
                  </a:lnTo>
                  <a:lnTo>
                    <a:pt x="114" y="72"/>
                  </a:lnTo>
                  <a:lnTo>
                    <a:pt x="138" y="54"/>
                  </a:lnTo>
                  <a:lnTo>
                    <a:pt x="164" y="38"/>
                  </a:lnTo>
                  <a:lnTo>
                    <a:pt x="190" y="26"/>
                  </a:lnTo>
                  <a:lnTo>
                    <a:pt x="220" y="14"/>
                  </a:lnTo>
                  <a:lnTo>
                    <a:pt x="248" y="8"/>
                  </a:lnTo>
                  <a:lnTo>
                    <a:pt x="280" y="2"/>
                  </a:lnTo>
                  <a:lnTo>
                    <a:pt x="312" y="0"/>
                  </a:lnTo>
                  <a:lnTo>
                    <a:pt x="312" y="0"/>
                  </a:lnTo>
                  <a:lnTo>
                    <a:pt x="344" y="2"/>
                  </a:lnTo>
                  <a:lnTo>
                    <a:pt x="374" y="8"/>
                  </a:lnTo>
                  <a:lnTo>
                    <a:pt x="404" y="14"/>
                  </a:lnTo>
                  <a:lnTo>
                    <a:pt x="432" y="26"/>
                  </a:lnTo>
                  <a:lnTo>
                    <a:pt x="460" y="38"/>
                  </a:lnTo>
                  <a:lnTo>
                    <a:pt x="486" y="54"/>
                  </a:lnTo>
                  <a:lnTo>
                    <a:pt x="510" y="72"/>
                  </a:lnTo>
                  <a:lnTo>
                    <a:pt x="532" y="92"/>
                  </a:lnTo>
                  <a:lnTo>
                    <a:pt x="552" y="114"/>
                  </a:lnTo>
                  <a:lnTo>
                    <a:pt x="570" y="138"/>
                  </a:lnTo>
                  <a:lnTo>
                    <a:pt x="586" y="164"/>
                  </a:lnTo>
                  <a:lnTo>
                    <a:pt x="598" y="190"/>
                  </a:lnTo>
                  <a:lnTo>
                    <a:pt x="608" y="220"/>
                  </a:lnTo>
                  <a:lnTo>
                    <a:pt x="616" y="250"/>
                  </a:lnTo>
                  <a:lnTo>
                    <a:pt x="622" y="280"/>
                  </a:lnTo>
                  <a:lnTo>
                    <a:pt x="622" y="312"/>
                  </a:lnTo>
                  <a:lnTo>
                    <a:pt x="622" y="312"/>
                  </a:lnTo>
                  <a:lnTo>
                    <a:pt x="622" y="344"/>
                  </a:lnTo>
                  <a:lnTo>
                    <a:pt x="616" y="374"/>
                  </a:lnTo>
                  <a:lnTo>
                    <a:pt x="608" y="404"/>
                  </a:lnTo>
                  <a:lnTo>
                    <a:pt x="598" y="434"/>
                  </a:lnTo>
                  <a:lnTo>
                    <a:pt x="586" y="460"/>
                  </a:lnTo>
                  <a:lnTo>
                    <a:pt x="570" y="486"/>
                  </a:lnTo>
                  <a:lnTo>
                    <a:pt x="552" y="510"/>
                  </a:lnTo>
                  <a:lnTo>
                    <a:pt x="532" y="532"/>
                  </a:lnTo>
                  <a:lnTo>
                    <a:pt x="510" y="552"/>
                  </a:lnTo>
                  <a:lnTo>
                    <a:pt x="486" y="570"/>
                  </a:lnTo>
                  <a:lnTo>
                    <a:pt x="460" y="586"/>
                  </a:lnTo>
                  <a:lnTo>
                    <a:pt x="432" y="598"/>
                  </a:lnTo>
                  <a:lnTo>
                    <a:pt x="404" y="610"/>
                  </a:lnTo>
                  <a:lnTo>
                    <a:pt x="374" y="618"/>
                  </a:lnTo>
                  <a:lnTo>
                    <a:pt x="344" y="622"/>
                  </a:lnTo>
                  <a:lnTo>
                    <a:pt x="312" y="624"/>
                  </a:lnTo>
                  <a:lnTo>
                    <a:pt x="312" y="624"/>
                  </a:lnTo>
                  <a:close/>
                  <a:moveTo>
                    <a:pt x="312" y="180"/>
                  </a:moveTo>
                  <a:lnTo>
                    <a:pt x="312" y="180"/>
                  </a:lnTo>
                  <a:lnTo>
                    <a:pt x="298" y="180"/>
                  </a:lnTo>
                  <a:lnTo>
                    <a:pt x="284" y="182"/>
                  </a:lnTo>
                  <a:lnTo>
                    <a:pt x="272" y="186"/>
                  </a:lnTo>
                  <a:lnTo>
                    <a:pt x="260" y="190"/>
                  </a:lnTo>
                  <a:lnTo>
                    <a:pt x="248" y="196"/>
                  </a:lnTo>
                  <a:lnTo>
                    <a:pt x="238" y="202"/>
                  </a:lnTo>
                  <a:lnTo>
                    <a:pt x="228" y="210"/>
                  </a:lnTo>
                  <a:lnTo>
                    <a:pt x="218" y="218"/>
                  </a:lnTo>
                  <a:lnTo>
                    <a:pt x="210" y="228"/>
                  </a:lnTo>
                  <a:lnTo>
                    <a:pt x="202" y="238"/>
                  </a:lnTo>
                  <a:lnTo>
                    <a:pt x="196" y="250"/>
                  </a:lnTo>
                  <a:lnTo>
                    <a:pt x="190" y="260"/>
                  </a:lnTo>
                  <a:lnTo>
                    <a:pt x="186" y="272"/>
                  </a:lnTo>
                  <a:lnTo>
                    <a:pt x="182" y="286"/>
                  </a:lnTo>
                  <a:lnTo>
                    <a:pt x="180" y="298"/>
                  </a:lnTo>
                  <a:lnTo>
                    <a:pt x="180" y="312"/>
                  </a:lnTo>
                  <a:lnTo>
                    <a:pt x="180" y="312"/>
                  </a:lnTo>
                  <a:lnTo>
                    <a:pt x="180" y="326"/>
                  </a:lnTo>
                  <a:lnTo>
                    <a:pt x="182" y="338"/>
                  </a:lnTo>
                  <a:lnTo>
                    <a:pt x="186" y="352"/>
                  </a:lnTo>
                  <a:lnTo>
                    <a:pt x="190" y="364"/>
                  </a:lnTo>
                  <a:lnTo>
                    <a:pt x="196" y="376"/>
                  </a:lnTo>
                  <a:lnTo>
                    <a:pt x="202" y="386"/>
                  </a:lnTo>
                  <a:lnTo>
                    <a:pt x="210" y="396"/>
                  </a:lnTo>
                  <a:lnTo>
                    <a:pt x="218" y="406"/>
                  </a:lnTo>
                  <a:lnTo>
                    <a:pt x="228" y="414"/>
                  </a:lnTo>
                  <a:lnTo>
                    <a:pt x="238" y="422"/>
                  </a:lnTo>
                  <a:lnTo>
                    <a:pt x="248" y="428"/>
                  </a:lnTo>
                  <a:lnTo>
                    <a:pt x="260" y="434"/>
                  </a:lnTo>
                  <a:lnTo>
                    <a:pt x="272" y="438"/>
                  </a:lnTo>
                  <a:lnTo>
                    <a:pt x="284" y="442"/>
                  </a:lnTo>
                  <a:lnTo>
                    <a:pt x="298" y="444"/>
                  </a:lnTo>
                  <a:lnTo>
                    <a:pt x="312" y="444"/>
                  </a:lnTo>
                  <a:lnTo>
                    <a:pt x="312" y="444"/>
                  </a:lnTo>
                  <a:lnTo>
                    <a:pt x="324" y="444"/>
                  </a:lnTo>
                  <a:lnTo>
                    <a:pt x="338" y="442"/>
                  </a:lnTo>
                  <a:lnTo>
                    <a:pt x="350" y="438"/>
                  </a:lnTo>
                  <a:lnTo>
                    <a:pt x="362" y="434"/>
                  </a:lnTo>
                  <a:lnTo>
                    <a:pt x="374" y="428"/>
                  </a:lnTo>
                  <a:lnTo>
                    <a:pt x="386" y="422"/>
                  </a:lnTo>
                  <a:lnTo>
                    <a:pt x="396" y="414"/>
                  </a:lnTo>
                  <a:lnTo>
                    <a:pt x="404" y="406"/>
                  </a:lnTo>
                  <a:lnTo>
                    <a:pt x="414" y="396"/>
                  </a:lnTo>
                  <a:lnTo>
                    <a:pt x="422" y="386"/>
                  </a:lnTo>
                  <a:lnTo>
                    <a:pt x="428" y="376"/>
                  </a:lnTo>
                  <a:lnTo>
                    <a:pt x="434" y="364"/>
                  </a:lnTo>
                  <a:lnTo>
                    <a:pt x="438" y="352"/>
                  </a:lnTo>
                  <a:lnTo>
                    <a:pt x="440" y="338"/>
                  </a:lnTo>
                  <a:lnTo>
                    <a:pt x="442" y="326"/>
                  </a:lnTo>
                  <a:lnTo>
                    <a:pt x="444" y="312"/>
                  </a:lnTo>
                  <a:lnTo>
                    <a:pt x="444" y="312"/>
                  </a:lnTo>
                  <a:lnTo>
                    <a:pt x="442" y="298"/>
                  </a:lnTo>
                  <a:lnTo>
                    <a:pt x="440" y="286"/>
                  </a:lnTo>
                  <a:lnTo>
                    <a:pt x="438" y="272"/>
                  </a:lnTo>
                  <a:lnTo>
                    <a:pt x="434" y="260"/>
                  </a:lnTo>
                  <a:lnTo>
                    <a:pt x="428" y="250"/>
                  </a:lnTo>
                  <a:lnTo>
                    <a:pt x="422" y="238"/>
                  </a:lnTo>
                  <a:lnTo>
                    <a:pt x="414" y="228"/>
                  </a:lnTo>
                  <a:lnTo>
                    <a:pt x="404" y="218"/>
                  </a:lnTo>
                  <a:lnTo>
                    <a:pt x="396" y="210"/>
                  </a:lnTo>
                  <a:lnTo>
                    <a:pt x="386" y="202"/>
                  </a:lnTo>
                  <a:lnTo>
                    <a:pt x="374" y="196"/>
                  </a:lnTo>
                  <a:lnTo>
                    <a:pt x="362" y="190"/>
                  </a:lnTo>
                  <a:lnTo>
                    <a:pt x="350" y="186"/>
                  </a:lnTo>
                  <a:lnTo>
                    <a:pt x="338" y="182"/>
                  </a:lnTo>
                  <a:lnTo>
                    <a:pt x="324" y="180"/>
                  </a:lnTo>
                  <a:lnTo>
                    <a:pt x="312" y="180"/>
                  </a:lnTo>
                  <a:lnTo>
                    <a:pt x="312" y="180"/>
                  </a:lnTo>
                  <a:close/>
                  <a:moveTo>
                    <a:pt x="312" y="180"/>
                  </a:moveTo>
                  <a:lnTo>
                    <a:pt x="312" y="18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4" name="Freeform 97">
              <a:extLst>
                <a:ext uri="{FF2B5EF4-FFF2-40B4-BE49-F238E27FC236}">
                  <a16:creationId xmlns:a16="http://schemas.microsoft.com/office/drawing/2014/main" id="{3719929D-7214-44FD-98DF-A930D39831FE}"/>
                </a:ext>
              </a:extLst>
            </p:cNvPr>
            <p:cNvSpPr>
              <a:spLocks/>
            </p:cNvSpPr>
            <p:nvPr/>
          </p:nvSpPr>
          <p:spPr bwMode="auto">
            <a:xfrm>
              <a:off x="-1314450" y="3759200"/>
              <a:ext cx="987425" cy="990600"/>
            </a:xfrm>
            <a:custGeom>
              <a:avLst/>
              <a:gdLst>
                <a:gd name="T0" fmla="*/ 312 w 622"/>
                <a:gd name="T1" fmla="*/ 624 h 624"/>
                <a:gd name="T2" fmla="*/ 248 w 622"/>
                <a:gd name="T3" fmla="*/ 618 h 624"/>
                <a:gd name="T4" fmla="*/ 190 w 622"/>
                <a:gd name="T5" fmla="*/ 598 h 624"/>
                <a:gd name="T6" fmla="*/ 138 w 622"/>
                <a:gd name="T7" fmla="*/ 570 h 624"/>
                <a:gd name="T8" fmla="*/ 92 w 622"/>
                <a:gd name="T9" fmla="*/ 532 h 624"/>
                <a:gd name="T10" fmla="*/ 54 w 622"/>
                <a:gd name="T11" fmla="*/ 486 h 624"/>
                <a:gd name="T12" fmla="*/ 24 w 622"/>
                <a:gd name="T13" fmla="*/ 434 h 624"/>
                <a:gd name="T14" fmla="*/ 6 w 622"/>
                <a:gd name="T15" fmla="*/ 374 h 624"/>
                <a:gd name="T16" fmla="*/ 0 w 622"/>
                <a:gd name="T17" fmla="*/ 312 h 624"/>
                <a:gd name="T18" fmla="*/ 2 w 622"/>
                <a:gd name="T19" fmla="*/ 280 h 624"/>
                <a:gd name="T20" fmla="*/ 14 w 622"/>
                <a:gd name="T21" fmla="*/ 220 h 624"/>
                <a:gd name="T22" fmla="*/ 38 w 622"/>
                <a:gd name="T23" fmla="*/ 164 h 624"/>
                <a:gd name="T24" fmla="*/ 72 w 622"/>
                <a:gd name="T25" fmla="*/ 114 h 624"/>
                <a:gd name="T26" fmla="*/ 114 w 622"/>
                <a:gd name="T27" fmla="*/ 72 h 624"/>
                <a:gd name="T28" fmla="*/ 164 w 622"/>
                <a:gd name="T29" fmla="*/ 38 h 624"/>
                <a:gd name="T30" fmla="*/ 220 w 622"/>
                <a:gd name="T31" fmla="*/ 14 h 624"/>
                <a:gd name="T32" fmla="*/ 280 w 622"/>
                <a:gd name="T33" fmla="*/ 2 h 624"/>
                <a:gd name="T34" fmla="*/ 312 w 622"/>
                <a:gd name="T35" fmla="*/ 0 h 624"/>
                <a:gd name="T36" fmla="*/ 374 w 622"/>
                <a:gd name="T37" fmla="*/ 8 h 624"/>
                <a:gd name="T38" fmla="*/ 432 w 622"/>
                <a:gd name="T39" fmla="*/ 26 h 624"/>
                <a:gd name="T40" fmla="*/ 486 w 622"/>
                <a:gd name="T41" fmla="*/ 54 h 624"/>
                <a:gd name="T42" fmla="*/ 532 w 622"/>
                <a:gd name="T43" fmla="*/ 92 h 624"/>
                <a:gd name="T44" fmla="*/ 570 w 622"/>
                <a:gd name="T45" fmla="*/ 138 h 624"/>
                <a:gd name="T46" fmla="*/ 598 w 622"/>
                <a:gd name="T47" fmla="*/ 190 h 624"/>
                <a:gd name="T48" fmla="*/ 616 w 622"/>
                <a:gd name="T49" fmla="*/ 250 h 624"/>
                <a:gd name="T50" fmla="*/ 622 w 622"/>
                <a:gd name="T51" fmla="*/ 312 h 624"/>
                <a:gd name="T52" fmla="*/ 622 w 622"/>
                <a:gd name="T53" fmla="*/ 344 h 624"/>
                <a:gd name="T54" fmla="*/ 608 w 622"/>
                <a:gd name="T55" fmla="*/ 404 h 624"/>
                <a:gd name="T56" fmla="*/ 586 w 622"/>
                <a:gd name="T57" fmla="*/ 460 h 624"/>
                <a:gd name="T58" fmla="*/ 552 w 622"/>
                <a:gd name="T59" fmla="*/ 510 h 624"/>
                <a:gd name="T60" fmla="*/ 510 w 622"/>
                <a:gd name="T61" fmla="*/ 552 h 624"/>
                <a:gd name="T62" fmla="*/ 460 w 622"/>
                <a:gd name="T63" fmla="*/ 586 h 624"/>
                <a:gd name="T64" fmla="*/ 404 w 622"/>
                <a:gd name="T65" fmla="*/ 610 h 624"/>
                <a:gd name="T66" fmla="*/ 344 w 622"/>
                <a:gd name="T67" fmla="*/ 622 h 624"/>
                <a:gd name="T68" fmla="*/ 312 w 622"/>
                <a:gd name="T69" fmla="*/ 624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22" h="624">
                  <a:moveTo>
                    <a:pt x="312" y="624"/>
                  </a:moveTo>
                  <a:lnTo>
                    <a:pt x="312" y="624"/>
                  </a:lnTo>
                  <a:lnTo>
                    <a:pt x="280" y="622"/>
                  </a:lnTo>
                  <a:lnTo>
                    <a:pt x="248" y="618"/>
                  </a:lnTo>
                  <a:lnTo>
                    <a:pt x="220" y="610"/>
                  </a:lnTo>
                  <a:lnTo>
                    <a:pt x="190" y="598"/>
                  </a:lnTo>
                  <a:lnTo>
                    <a:pt x="164" y="586"/>
                  </a:lnTo>
                  <a:lnTo>
                    <a:pt x="138" y="570"/>
                  </a:lnTo>
                  <a:lnTo>
                    <a:pt x="114" y="552"/>
                  </a:lnTo>
                  <a:lnTo>
                    <a:pt x="92" y="532"/>
                  </a:lnTo>
                  <a:lnTo>
                    <a:pt x="72" y="510"/>
                  </a:lnTo>
                  <a:lnTo>
                    <a:pt x="54" y="486"/>
                  </a:lnTo>
                  <a:lnTo>
                    <a:pt x="38" y="460"/>
                  </a:lnTo>
                  <a:lnTo>
                    <a:pt x="24" y="434"/>
                  </a:lnTo>
                  <a:lnTo>
                    <a:pt x="14" y="404"/>
                  </a:lnTo>
                  <a:lnTo>
                    <a:pt x="6" y="374"/>
                  </a:lnTo>
                  <a:lnTo>
                    <a:pt x="2" y="344"/>
                  </a:lnTo>
                  <a:lnTo>
                    <a:pt x="0" y="312"/>
                  </a:lnTo>
                  <a:lnTo>
                    <a:pt x="0" y="312"/>
                  </a:lnTo>
                  <a:lnTo>
                    <a:pt x="2" y="280"/>
                  </a:lnTo>
                  <a:lnTo>
                    <a:pt x="6" y="250"/>
                  </a:lnTo>
                  <a:lnTo>
                    <a:pt x="14" y="220"/>
                  </a:lnTo>
                  <a:lnTo>
                    <a:pt x="24" y="190"/>
                  </a:lnTo>
                  <a:lnTo>
                    <a:pt x="38" y="164"/>
                  </a:lnTo>
                  <a:lnTo>
                    <a:pt x="54" y="138"/>
                  </a:lnTo>
                  <a:lnTo>
                    <a:pt x="72" y="114"/>
                  </a:lnTo>
                  <a:lnTo>
                    <a:pt x="92" y="92"/>
                  </a:lnTo>
                  <a:lnTo>
                    <a:pt x="114" y="72"/>
                  </a:lnTo>
                  <a:lnTo>
                    <a:pt x="138" y="54"/>
                  </a:lnTo>
                  <a:lnTo>
                    <a:pt x="164" y="38"/>
                  </a:lnTo>
                  <a:lnTo>
                    <a:pt x="190" y="26"/>
                  </a:lnTo>
                  <a:lnTo>
                    <a:pt x="220" y="14"/>
                  </a:lnTo>
                  <a:lnTo>
                    <a:pt x="248" y="8"/>
                  </a:lnTo>
                  <a:lnTo>
                    <a:pt x="280" y="2"/>
                  </a:lnTo>
                  <a:lnTo>
                    <a:pt x="312" y="0"/>
                  </a:lnTo>
                  <a:lnTo>
                    <a:pt x="312" y="0"/>
                  </a:lnTo>
                  <a:lnTo>
                    <a:pt x="344" y="2"/>
                  </a:lnTo>
                  <a:lnTo>
                    <a:pt x="374" y="8"/>
                  </a:lnTo>
                  <a:lnTo>
                    <a:pt x="404" y="14"/>
                  </a:lnTo>
                  <a:lnTo>
                    <a:pt x="432" y="26"/>
                  </a:lnTo>
                  <a:lnTo>
                    <a:pt x="460" y="38"/>
                  </a:lnTo>
                  <a:lnTo>
                    <a:pt x="486" y="54"/>
                  </a:lnTo>
                  <a:lnTo>
                    <a:pt x="510" y="72"/>
                  </a:lnTo>
                  <a:lnTo>
                    <a:pt x="532" y="92"/>
                  </a:lnTo>
                  <a:lnTo>
                    <a:pt x="552" y="114"/>
                  </a:lnTo>
                  <a:lnTo>
                    <a:pt x="570" y="138"/>
                  </a:lnTo>
                  <a:lnTo>
                    <a:pt x="586" y="164"/>
                  </a:lnTo>
                  <a:lnTo>
                    <a:pt x="598" y="190"/>
                  </a:lnTo>
                  <a:lnTo>
                    <a:pt x="608" y="220"/>
                  </a:lnTo>
                  <a:lnTo>
                    <a:pt x="616" y="250"/>
                  </a:lnTo>
                  <a:lnTo>
                    <a:pt x="622" y="280"/>
                  </a:lnTo>
                  <a:lnTo>
                    <a:pt x="622" y="312"/>
                  </a:lnTo>
                  <a:lnTo>
                    <a:pt x="622" y="312"/>
                  </a:lnTo>
                  <a:lnTo>
                    <a:pt x="622" y="344"/>
                  </a:lnTo>
                  <a:lnTo>
                    <a:pt x="616" y="374"/>
                  </a:lnTo>
                  <a:lnTo>
                    <a:pt x="608" y="404"/>
                  </a:lnTo>
                  <a:lnTo>
                    <a:pt x="598" y="434"/>
                  </a:lnTo>
                  <a:lnTo>
                    <a:pt x="586" y="460"/>
                  </a:lnTo>
                  <a:lnTo>
                    <a:pt x="570" y="486"/>
                  </a:lnTo>
                  <a:lnTo>
                    <a:pt x="552" y="510"/>
                  </a:lnTo>
                  <a:lnTo>
                    <a:pt x="532" y="532"/>
                  </a:lnTo>
                  <a:lnTo>
                    <a:pt x="510" y="552"/>
                  </a:lnTo>
                  <a:lnTo>
                    <a:pt x="486" y="570"/>
                  </a:lnTo>
                  <a:lnTo>
                    <a:pt x="460" y="586"/>
                  </a:lnTo>
                  <a:lnTo>
                    <a:pt x="432" y="598"/>
                  </a:lnTo>
                  <a:lnTo>
                    <a:pt x="404" y="610"/>
                  </a:lnTo>
                  <a:lnTo>
                    <a:pt x="374" y="618"/>
                  </a:lnTo>
                  <a:lnTo>
                    <a:pt x="344" y="622"/>
                  </a:lnTo>
                  <a:lnTo>
                    <a:pt x="312" y="624"/>
                  </a:lnTo>
                  <a:lnTo>
                    <a:pt x="312" y="6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5" name="Freeform 98">
              <a:extLst>
                <a:ext uri="{FF2B5EF4-FFF2-40B4-BE49-F238E27FC236}">
                  <a16:creationId xmlns:a16="http://schemas.microsoft.com/office/drawing/2014/main" id="{51AFB329-C4ED-4AA4-B699-A750DA1AE728}"/>
                </a:ext>
              </a:extLst>
            </p:cNvPr>
            <p:cNvSpPr>
              <a:spLocks/>
            </p:cNvSpPr>
            <p:nvPr/>
          </p:nvSpPr>
          <p:spPr bwMode="auto">
            <a:xfrm>
              <a:off x="-1028700" y="4044950"/>
              <a:ext cx="419100" cy="419100"/>
            </a:xfrm>
            <a:custGeom>
              <a:avLst/>
              <a:gdLst>
                <a:gd name="T0" fmla="*/ 132 w 264"/>
                <a:gd name="T1" fmla="*/ 0 h 264"/>
                <a:gd name="T2" fmla="*/ 104 w 264"/>
                <a:gd name="T3" fmla="*/ 2 h 264"/>
                <a:gd name="T4" fmla="*/ 80 w 264"/>
                <a:gd name="T5" fmla="*/ 10 h 264"/>
                <a:gd name="T6" fmla="*/ 58 w 264"/>
                <a:gd name="T7" fmla="*/ 22 h 264"/>
                <a:gd name="T8" fmla="*/ 38 w 264"/>
                <a:gd name="T9" fmla="*/ 38 h 264"/>
                <a:gd name="T10" fmla="*/ 22 w 264"/>
                <a:gd name="T11" fmla="*/ 58 h 264"/>
                <a:gd name="T12" fmla="*/ 10 w 264"/>
                <a:gd name="T13" fmla="*/ 80 h 264"/>
                <a:gd name="T14" fmla="*/ 2 w 264"/>
                <a:gd name="T15" fmla="*/ 106 h 264"/>
                <a:gd name="T16" fmla="*/ 0 w 264"/>
                <a:gd name="T17" fmla="*/ 132 h 264"/>
                <a:gd name="T18" fmla="*/ 0 w 264"/>
                <a:gd name="T19" fmla="*/ 146 h 264"/>
                <a:gd name="T20" fmla="*/ 6 w 264"/>
                <a:gd name="T21" fmla="*/ 172 h 264"/>
                <a:gd name="T22" fmla="*/ 16 w 264"/>
                <a:gd name="T23" fmla="*/ 196 h 264"/>
                <a:gd name="T24" fmla="*/ 30 w 264"/>
                <a:gd name="T25" fmla="*/ 216 h 264"/>
                <a:gd name="T26" fmla="*/ 48 w 264"/>
                <a:gd name="T27" fmla="*/ 234 h 264"/>
                <a:gd name="T28" fmla="*/ 68 w 264"/>
                <a:gd name="T29" fmla="*/ 248 h 264"/>
                <a:gd name="T30" fmla="*/ 92 w 264"/>
                <a:gd name="T31" fmla="*/ 258 h 264"/>
                <a:gd name="T32" fmla="*/ 118 w 264"/>
                <a:gd name="T33" fmla="*/ 264 h 264"/>
                <a:gd name="T34" fmla="*/ 132 w 264"/>
                <a:gd name="T35" fmla="*/ 264 h 264"/>
                <a:gd name="T36" fmla="*/ 158 w 264"/>
                <a:gd name="T37" fmla="*/ 262 h 264"/>
                <a:gd name="T38" fmla="*/ 182 w 264"/>
                <a:gd name="T39" fmla="*/ 254 h 264"/>
                <a:gd name="T40" fmla="*/ 206 w 264"/>
                <a:gd name="T41" fmla="*/ 242 h 264"/>
                <a:gd name="T42" fmla="*/ 224 w 264"/>
                <a:gd name="T43" fmla="*/ 226 h 264"/>
                <a:gd name="T44" fmla="*/ 242 w 264"/>
                <a:gd name="T45" fmla="*/ 206 h 264"/>
                <a:gd name="T46" fmla="*/ 254 w 264"/>
                <a:gd name="T47" fmla="*/ 184 h 264"/>
                <a:gd name="T48" fmla="*/ 260 w 264"/>
                <a:gd name="T49" fmla="*/ 158 h 264"/>
                <a:gd name="T50" fmla="*/ 264 w 264"/>
                <a:gd name="T51" fmla="*/ 132 h 264"/>
                <a:gd name="T52" fmla="*/ 262 w 264"/>
                <a:gd name="T53" fmla="*/ 118 h 264"/>
                <a:gd name="T54" fmla="*/ 258 w 264"/>
                <a:gd name="T55" fmla="*/ 92 h 264"/>
                <a:gd name="T56" fmla="*/ 248 w 264"/>
                <a:gd name="T57" fmla="*/ 70 h 264"/>
                <a:gd name="T58" fmla="*/ 234 w 264"/>
                <a:gd name="T59" fmla="*/ 48 h 264"/>
                <a:gd name="T60" fmla="*/ 216 w 264"/>
                <a:gd name="T61" fmla="*/ 30 h 264"/>
                <a:gd name="T62" fmla="*/ 194 w 264"/>
                <a:gd name="T63" fmla="*/ 16 h 264"/>
                <a:gd name="T64" fmla="*/ 170 w 264"/>
                <a:gd name="T65" fmla="*/ 6 h 264"/>
                <a:gd name="T66" fmla="*/ 144 w 264"/>
                <a:gd name="T67" fmla="*/ 0 h 264"/>
                <a:gd name="T68" fmla="*/ 132 w 264"/>
                <a:gd name="T69"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4" h="264">
                  <a:moveTo>
                    <a:pt x="132" y="0"/>
                  </a:moveTo>
                  <a:lnTo>
                    <a:pt x="132" y="0"/>
                  </a:lnTo>
                  <a:lnTo>
                    <a:pt x="118" y="0"/>
                  </a:lnTo>
                  <a:lnTo>
                    <a:pt x="104" y="2"/>
                  </a:lnTo>
                  <a:lnTo>
                    <a:pt x="92" y="6"/>
                  </a:lnTo>
                  <a:lnTo>
                    <a:pt x="80" y="10"/>
                  </a:lnTo>
                  <a:lnTo>
                    <a:pt x="68" y="16"/>
                  </a:lnTo>
                  <a:lnTo>
                    <a:pt x="58" y="22"/>
                  </a:lnTo>
                  <a:lnTo>
                    <a:pt x="48" y="30"/>
                  </a:lnTo>
                  <a:lnTo>
                    <a:pt x="38" y="38"/>
                  </a:lnTo>
                  <a:lnTo>
                    <a:pt x="30" y="48"/>
                  </a:lnTo>
                  <a:lnTo>
                    <a:pt x="22" y="58"/>
                  </a:lnTo>
                  <a:lnTo>
                    <a:pt x="16" y="70"/>
                  </a:lnTo>
                  <a:lnTo>
                    <a:pt x="10" y="80"/>
                  </a:lnTo>
                  <a:lnTo>
                    <a:pt x="6" y="92"/>
                  </a:lnTo>
                  <a:lnTo>
                    <a:pt x="2" y="106"/>
                  </a:lnTo>
                  <a:lnTo>
                    <a:pt x="0" y="118"/>
                  </a:lnTo>
                  <a:lnTo>
                    <a:pt x="0" y="132"/>
                  </a:lnTo>
                  <a:lnTo>
                    <a:pt x="0" y="132"/>
                  </a:lnTo>
                  <a:lnTo>
                    <a:pt x="0" y="146"/>
                  </a:lnTo>
                  <a:lnTo>
                    <a:pt x="2" y="158"/>
                  </a:lnTo>
                  <a:lnTo>
                    <a:pt x="6" y="172"/>
                  </a:lnTo>
                  <a:lnTo>
                    <a:pt x="10" y="184"/>
                  </a:lnTo>
                  <a:lnTo>
                    <a:pt x="16" y="196"/>
                  </a:lnTo>
                  <a:lnTo>
                    <a:pt x="22" y="206"/>
                  </a:lnTo>
                  <a:lnTo>
                    <a:pt x="30" y="216"/>
                  </a:lnTo>
                  <a:lnTo>
                    <a:pt x="38" y="226"/>
                  </a:lnTo>
                  <a:lnTo>
                    <a:pt x="48" y="234"/>
                  </a:lnTo>
                  <a:lnTo>
                    <a:pt x="58" y="242"/>
                  </a:lnTo>
                  <a:lnTo>
                    <a:pt x="68" y="248"/>
                  </a:lnTo>
                  <a:lnTo>
                    <a:pt x="80" y="254"/>
                  </a:lnTo>
                  <a:lnTo>
                    <a:pt x="92" y="258"/>
                  </a:lnTo>
                  <a:lnTo>
                    <a:pt x="104" y="262"/>
                  </a:lnTo>
                  <a:lnTo>
                    <a:pt x="118" y="264"/>
                  </a:lnTo>
                  <a:lnTo>
                    <a:pt x="132" y="264"/>
                  </a:lnTo>
                  <a:lnTo>
                    <a:pt x="132" y="264"/>
                  </a:lnTo>
                  <a:lnTo>
                    <a:pt x="144" y="264"/>
                  </a:lnTo>
                  <a:lnTo>
                    <a:pt x="158" y="262"/>
                  </a:lnTo>
                  <a:lnTo>
                    <a:pt x="170" y="258"/>
                  </a:lnTo>
                  <a:lnTo>
                    <a:pt x="182" y="254"/>
                  </a:lnTo>
                  <a:lnTo>
                    <a:pt x="194" y="248"/>
                  </a:lnTo>
                  <a:lnTo>
                    <a:pt x="206" y="242"/>
                  </a:lnTo>
                  <a:lnTo>
                    <a:pt x="216" y="234"/>
                  </a:lnTo>
                  <a:lnTo>
                    <a:pt x="224" y="226"/>
                  </a:lnTo>
                  <a:lnTo>
                    <a:pt x="234" y="216"/>
                  </a:lnTo>
                  <a:lnTo>
                    <a:pt x="242" y="206"/>
                  </a:lnTo>
                  <a:lnTo>
                    <a:pt x="248" y="196"/>
                  </a:lnTo>
                  <a:lnTo>
                    <a:pt x="254" y="184"/>
                  </a:lnTo>
                  <a:lnTo>
                    <a:pt x="258" y="172"/>
                  </a:lnTo>
                  <a:lnTo>
                    <a:pt x="260" y="158"/>
                  </a:lnTo>
                  <a:lnTo>
                    <a:pt x="262" y="146"/>
                  </a:lnTo>
                  <a:lnTo>
                    <a:pt x="264" y="132"/>
                  </a:lnTo>
                  <a:lnTo>
                    <a:pt x="264" y="132"/>
                  </a:lnTo>
                  <a:lnTo>
                    <a:pt x="262" y="118"/>
                  </a:lnTo>
                  <a:lnTo>
                    <a:pt x="260" y="106"/>
                  </a:lnTo>
                  <a:lnTo>
                    <a:pt x="258" y="92"/>
                  </a:lnTo>
                  <a:lnTo>
                    <a:pt x="254" y="80"/>
                  </a:lnTo>
                  <a:lnTo>
                    <a:pt x="248" y="70"/>
                  </a:lnTo>
                  <a:lnTo>
                    <a:pt x="242" y="58"/>
                  </a:lnTo>
                  <a:lnTo>
                    <a:pt x="234" y="48"/>
                  </a:lnTo>
                  <a:lnTo>
                    <a:pt x="224" y="38"/>
                  </a:lnTo>
                  <a:lnTo>
                    <a:pt x="216" y="30"/>
                  </a:lnTo>
                  <a:lnTo>
                    <a:pt x="206" y="22"/>
                  </a:lnTo>
                  <a:lnTo>
                    <a:pt x="194" y="16"/>
                  </a:lnTo>
                  <a:lnTo>
                    <a:pt x="182" y="10"/>
                  </a:lnTo>
                  <a:lnTo>
                    <a:pt x="170" y="6"/>
                  </a:lnTo>
                  <a:lnTo>
                    <a:pt x="158" y="2"/>
                  </a:lnTo>
                  <a:lnTo>
                    <a:pt x="144" y="0"/>
                  </a:lnTo>
                  <a:lnTo>
                    <a:pt x="132" y="0"/>
                  </a:lnTo>
                  <a:lnTo>
                    <a:pt x="1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6" name="Line 99">
              <a:extLst>
                <a:ext uri="{FF2B5EF4-FFF2-40B4-BE49-F238E27FC236}">
                  <a16:creationId xmlns:a16="http://schemas.microsoft.com/office/drawing/2014/main" id="{AAA022F7-D664-41E0-8B13-27286317CCC9}"/>
                </a:ext>
              </a:extLst>
            </p:cNvPr>
            <p:cNvSpPr>
              <a:spLocks noChangeShapeType="1"/>
            </p:cNvSpPr>
            <p:nvPr/>
          </p:nvSpPr>
          <p:spPr bwMode="auto">
            <a:xfrm>
              <a:off x="-819150" y="40449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7" name="Freeform 100">
              <a:extLst>
                <a:ext uri="{FF2B5EF4-FFF2-40B4-BE49-F238E27FC236}">
                  <a16:creationId xmlns:a16="http://schemas.microsoft.com/office/drawing/2014/main" id="{406F086F-407E-4A14-9246-4EF4B45E0D90}"/>
                </a:ext>
              </a:extLst>
            </p:cNvPr>
            <p:cNvSpPr>
              <a:spLocks noEditPoints="1"/>
            </p:cNvSpPr>
            <p:nvPr/>
          </p:nvSpPr>
          <p:spPr bwMode="auto">
            <a:xfrm>
              <a:off x="-4908550" y="5038725"/>
              <a:ext cx="771525" cy="774700"/>
            </a:xfrm>
            <a:custGeom>
              <a:avLst/>
              <a:gdLst>
                <a:gd name="T0" fmla="*/ 486 w 486"/>
                <a:gd name="T1" fmla="*/ 244 h 488"/>
                <a:gd name="T2" fmla="*/ 482 w 486"/>
                <a:gd name="T3" fmla="*/ 294 h 488"/>
                <a:gd name="T4" fmla="*/ 468 w 486"/>
                <a:gd name="T5" fmla="*/ 338 h 488"/>
                <a:gd name="T6" fmla="*/ 444 w 486"/>
                <a:gd name="T7" fmla="*/ 380 h 488"/>
                <a:gd name="T8" fmla="*/ 416 w 486"/>
                <a:gd name="T9" fmla="*/ 416 h 488"/>
                <a:gd name="T10" fmla="*/ 380 w 486"/>
                <a:gd name="T11" fmla="*/ 446 h 488"/>
                <a:gd name="T12" fmla="*/ 338 w 486"/>
                <a:gd name="T13" fmla="*/ 468 h 488"/>
                <a:gd name="T14" fmla="*/ 292 w 486"/>
                <a:gd name="T15" fmla="*/ 482 h 488"/>
                <a:gd name="T16" fmla="*/ 244 w 486"/>
                <a:gd name="T17" fmla="*/ 488 h 488"/>
                <a:gd name="T18" fmla="*/ 218 w 486"/>
                <a:gd name="T19" fmla="*/ 486 h 488"/>
                <a:gd name="T20" fmla="*/ 170 w 486"/>
                <a:gd name="T21" fmla="*/ 476 h 488"/>
                <a:gd name="T22" fmla="*/ 126 w 486"/>
                <a:gd name="T23" fmla="*/ 458 h 488"/>
                <a:gd name="T24" fmla="*/ 88 w 486"/>
                <a:gd name="T25" fmla="*/ 432 h 488"/>
                <a:gd name="T26" fmla="*/ 56 w 486"/>
                <a:gd name="T27" fmla="*/ 398 h 488"/>
                <a:gd name="T28" fmla="*/ 28 w 486"/>
                <a:gd name="T29" fmla="*/ 360 h 488"/>
                <a:gd name="T30" fmla="*/ 10 w 486"/>
                <a:gd name="T31" fmla="*/ 316 h 488"/>
                <a:gd name="T32" fmla="*/ 0 w 486"/>
                <a:gd name="T33" fmla="*/ 268 h 488"/>
                <a:gd name="T34" fmla="*/ 0 w 486"/>
                <a:gd name="T35" fmla="*/ 244 h 488"/>
                <a:gd name="T36" fmla="*/ 4 w 486"/>
                <a:gd name="T37" fmla="*/ 194 h 488"/>
                <a:gd name="T38" fmla="*/ 18 w 486"/>
                <a:gd name="T39" fmla="*/ 150 h 488"/>
                <a:gd name="T40" fmla="*/ 42 w 486"/>
                <a:gd name="T41" fmla="*/ 108 h 488"/>
                <a:gd name="T42" fmla="*/ 70 w 486"/>
                <a:gd name="T43" fmla="*/ 72 h 488"/>
                <a:gd name="T44" fmla="*/ 106 w 486"/>
                <a:gd name="T45" fmla="*/ 42 h 488"/>
                <a:gd name="T46" fmla="*/ 148 w 486"/>
                <a:gd name="T47" fmla="*/ 20 h 488"/>
                <a:gd name="T48" fmla="*/ 194 w 486"/>
                <a:gd name="T49" fmla="*/ 6 h 488"/>
                <a:gd name="T50" fmla="*/ 244 w 486"/>
                <a:gd name="T51" fmla="*/ 0 h 488"/>
                <a:gd name="T52" fmla="*/ 268 w 486"/>
                <a:gd name="T53" fmla="*/ 2 h 488"/>
                <a:gd name="T54" fmla="*/ 316 w 486"/>
                <a:gd name="T55" fmla="*/ 12 h 488"/>
                <a:gd name="T56" fmla="*/ 360 w 486"/>
                <a:gd name="T57" fmla="*/ 30 h 488"/>
                <a:gd name="T58" fmla="*/ 398 w 486"/>
                <a:gd name="T59" fmla="*/ 56 h 488"/>
                <a:gd name="T60" fmla="*/ 430 w 486"/>
                <a:gd name="T61" fmla="*/ 90 h 488"/>
                <a:gd name="T62" fmla="*/ 458 w 486"/>
                <a:gd name="T63" fmla="*/ 128 h 488"/>
                <a:gd name="T64" fmla="*/ 476 w 486"/>
                <a:gd name="T65" fmla="*/ 172 h 488"/>
                <a:gd name="T66" fmla="*/ 486 w 486"/>
                <a:gd name="T67" fmla="*/ 220 h 488"/>
                <a:gd name="T68" fmla="*/ 486 w 486"/>
                <a:gd name="T69" fmla="*/ 244 h 488"/>
                <a:gd name="T70" fmla="*/ 486 w 486"/>
                <a:gd name="T71" fmla="*/ 244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6" h="488">
                  <a:moveTo>
                    <a:pt x="486" y="244"/>
                  </a:moveTo>
                  <a:lnTo>
                    <a:pt x="486" y="244"/>
                  </a:lnTo>
                  <a:lnTo>
                    <a:pt x="486" y="268"/>
                  </a:lnTo>
                  <a:lnTo>
                    <a:pt x="482" y="294"/>
                  </a:lnTo>
                  <a:lnTo>
                    <a:pt x="476" y="316"/>
                  </a:lnTo>
                  <a:lnTo>
                    <a:pt x="468" y="338"/>
                  </a:lnTo>
                  <a:lnTo>
                    <a:pt x="458" y="360"/>
                  </a:lnTo>
                  <a:lnTo>
                    <a:pt x="444" y="380"/>
                  </a:lnTo>
                  <a:lnTo>
                    <a:pt x="430" y="398"/>
                  </a:lnTo>
                  <a:lnTo>
                    <a:pt x="416" y="416"/>
                  </a:lnTo>
                  <a:lnTo>
                    <a:pt x="398" y="432"/>
                  </a:lnTo>
                  <a:lnTo>
                    <a:pt x="380" y="446"/>
                  </a:lnTo>
                  <a:lnTo>
                    <a:pt x="360" y="458"/>
                  </a:lnTo>
                  <a:lnTo>
                    <a:pt x="338" y="468"/>
                  </a:lnTo>
                  <a:lnTo>
                    <a:pt x="316" y="476"/>
                  </a:lnTo>
                  <a:lnTo>
                    <a:pt x="292" y="482"/>
                  </a:lnTo>
                  <a:lnTo>
                    <a:pt x="268" y="486"/>
                  </a:lnTo>
                  <a:lnTo>
                    <a:pt x="244" y="488"/>
                  </a:lnTo>
                  <a:lnTo>
                    <a:pt x="244" y="488"/>
                  </a:lnTo>
                  <a:lnTo>
                    <a:pt x="218" y="486"/>
                  </a:lnTo>
                  <a:lnTo>
                    <a:pt x="194" y="482"/>
                  </a:lnTo>
                  <a:lnTo>
                    <a:pt x="170" y="476"/>
                  </a:lnTo>
                  <a:lnTo>
                    <a:pt x="148" y="468"/>
                  </a:lnTo>
                  <a:lnTo>
                    <a:pt x="126" y="458"/>
                  </a:lnTo>
                  <a:lnTo>
                    <a:pt x="106" y="446"/>
                  </a:lnTo>
                  <a:lnTo>
                    <a:pt x="88" y="432"/>
                  </a:lnTo>
                  <a:lnTo>
                    <a:pt x="70" y="416"/>
                  </a:lnTo>
                  <a:lnTo>
                    <a:pt x="56" y="398"/>
                  </a:lnTo>
                  <a:lnTo>
                    <a:pt x="42" y="380"/>
                  </a:lnTo>
                  <a:lnTo>
                    <a:pt x="28" y="360"/>
                  </a:lnTo>
                  <a:lnTo>
                    <a:pt x="18" y="338"/>
                  </a:lnTo>
                  <a:lnTo>
                    <a:pt x="10" y="316"/>
                  </a:lnTo>
                  <a:lnTo>
                    <a:pt x="4" y="294"/>
                  </a:lnTo>
                  <a:lnTo>
                    <a:pt x="0" y="268"/>
                  </a:lnTo>
                  <a:lnTo>
                    <a:pt x="0" y="244"/>
                  </a:lnTo>
                  <a:lnTo>
                    <a:pt x="0" y="244"/>
                  </a:lnTo>
                  <a:lnTo>
                    <a:pt x="0" y="220"/>
                  </a:lnTo>
                  <a:lnTo>
                    <a:pt x="4" y="194"/>
                  </a:lnTo>
                  <a:lnTo>
                    <a:pt x="10" y="172"/>
                  </a:lnTo>
                  <a:lnTo>
                    <a:pt x="18" y="150"/>
                  </a:lnTo>
                  <a:lnTo>
                    <a:pt x="28" y="128"/>
                  </a:lnTo>
                  <a:lnTo>
                    <a:pt x="42" y="108"/>
                  </a:lnTo>
                  <a:lnTo>
                    <a:pt x="56" y="90"/>
                  </a:lnTo>
                  <a:lnTo>
                    <a:pt x="70" y="72"/>
                  </a:lnTo>
                  <a:lnTo>
                    <a:pt x="88" y="56"/>
                  </a:lnTo>
                  <a:lnTo>
                    <a:pt x="106" y="42"/>
                  </a:lnTo>
                  <a:lnTo>
                    <a:pt x="126" y="30"/>
                  </a:lnTo>
                  <a:lnTo>
                    <a:pt x="148" y="20"/>
                  </a:lnTo>
                  <a:lnTo>
                    <a:pt x="170" y="12"/>
                  </a:lnTo>
                  <a:lnTo>
                    <a:pt x="194" y="6"/>
                  </a:lnTo>
                  <a:lnTo>
                    <a:pt x="218" y="2"/>
                  </a:lnTo>
                  <a:lnTo>
                    <a:pt x="244" y="0"/>
                  </a:lnTo>
                  <a:lnTo>
                    <a:pt x="244" y="0"/>
                  </a:lnTo>
                  <a:lnTo>
                    <a:pt x="268" y="2"/>
                  </a:lnTo>
                  <a:lnTo>
                    <a:pt x="292" y="6"/>
                  </a:lnTo>
                  <a:lnTo>
                    <a:pt x="316" y="12"/>
                  </a:lnTo>
                  <a:lnTo>
                    <a:pt x="338" y="20"/>
                  </a:lnTo>
                  <a:lnTo>
                    <a:pt x="360" y="30"/>
                  </a:lnTo>
                  <a:lnTo>
                    <a:pt x="380" y="42"/>
                  </a:lnTo>
                  <a:lnTo>
                    <a:pt x="398" y="56"/>
                  </a:lnTo>
                  <a:lnTo>
                    <a:pt x="416" y="72"/>
                  </a:lnTo>
                  <a:lnTo>
                    <a:pt x="430" y="90"/>
                  </a:lnTo>
                  <a:lnTo>
                    <a:pt x="444" y="108"/>
                  </a:lnTo>
                  <a:lnTo>
                    <a:pt x="458" y="128"/>
                  </a:lnTo>
                  <a:lnTo>
                    <a:pt x="468" y="150"/>
                  </a:lnTo>
                  <a:lnTo>
                    <a:pt x="476" y="172"/>
                  </a:lnTo>
                  <a:lnTo>
                    <a:pt x="482" y="194"/>
                  </a:lnTo>
                  <a:lnTo>
                    <a:pt x="486" y="220"/>
                  </a:lnTo>
                  <a:lnTo>
                    <a:pt x="486" y="244"/>
                  </a:lnTo>
                  <a:lnTo>
                    <a:pt x="486" y="244"/>
                  </a:lnTo>
                  <a:close/>
                  <a:moveTo>
                    <a:pt x="486" y="244"/>
                  </a:moveTo>
                  <a:lnTo>
                    <a:pt x="486" y="244"/>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8" name="Freeform 101">
              <a:extLst>
                <a:ext uri="{FF2B5EF4-FFF2-40B4-BE49-F238E27FC236}">
                  <a16:creationId xmlns:a16="http://schemas.microsoft.com/office/drawing/2014/main" id="{E991825F-AAF0-4FD0-817A-6A03B3A8BDA0}"/>
                </a:ext>
              </a:extLst>
            </p:cNvPr>
            <p:cNvSpPr>
              <a:spLocks/>
            </p:cNvSpPr>
            <p:nvPr/>
          </p:nvSpPr>
          <p:spPr bwMode="auto">
            <a:xfrm>
              <a:off x="-4908550" y="5038725"/>
              <a:ext cx="771525" cy="774700"/>
            </a:xfrm>
            <a:custGeom>
              <a:avLst/>
              <a:gdLst>
                <a:gd name="T0" fmla="*/ 486 w 486"/>
                <a:gd name="T1" fmla="*/ 244 h 488"/>
                <a:gd name="T2" fmla="*/ 482 w 486"/>
                <a:gd name="T3" fmla="*/ 294 h 488"/>
                <a:gd name="T4" fmla="*/ 468 w 486"/>
                <a:gd name="T5" fmla="*/ 338 h 488"/>
                <a:gd name="T6" fmla="*/ 444 w 486"/>
                <a:gd name="T7" fmla="*/ 380 h 488"/>
                <a:gd name="T8" fmla="*/ 416 w 486"/>
                <a:gd name="T9" fmla="*/ 416 h 488"/>
                <a:gd name="T10" fmla="*/ 380 w 486"/>
                <a:gd name="T11" fmla="*/ 446 h 488"/>
                <a:gd name="T12" fmla="*/ 338 w 486"/>
                <a:gd name="T13" fmla="*/ 468 h 488"/>
                <a:gd name="T14" fmla="*/ 292 w 486"/>
                <a:gd name="T15" fmla="*/ 482 h 488"/>
                <a:gd name="T16" fmla="*/ 244 w 486"/>
                <a:gd name="T17" fmla="*/ 488 h 488"/>
                <a:gd name="T18" fmla="*/ 218 w 486"/>
                <a:gd name="T19" fmla="*/ 486 h 488"/>
                <a:gd name="T20" fmla="*/ 170 w 486"/>
                <a:gd name="T21" fmla="*/ 476 h 488"/>
                <a:gd name="T22" fmla="*/ 126 w 486"/>
                <a:gd name="T23" fmla="*/ 458 h 488"/>
                <a:gd name="T24" fmla="*/ 88 w 486"/>
                <a:gd name="T25" fmla="*/ 432 h 488"/>
                <a:gd name="T26" fmla="*/ 56 w 486"/>
                <a:gd name="T27" fmla="*/ 398 h 488"/>
                <a:gd name="T28" fmla="*/ 28 w 486"/>
                <a:gd name="T29" fmla="*/ 360 h 488"/>
                <a:gd name="T30" fmla="*/ 10 w 486"/>
                <a:gd name="T31" fmla="*/ 316 h 488"/>
                <a:gd name="T32" fmla="*/ 0 w 486"/>
                <a:gd name="T33" fmla="*/ 268 h 488"/>
                <a:gd name="T34" fmla="*/ 0 w 486"/>
                <a:gd name="T35" fmla="*/ 244 h 488"/>
                <a:gd name="T36" fmla="*/ 4 w 486"/>
                <a:gd name="T37" fmla="*/ 194 h 488"/>
                <a:gd name="T38" fmla="*/ 18 w 486"/>
                <a:gd name="T39" fmla="*/ 150 h 488"/>
                <a:gd name="T40" fmla="*/ 42 w 486"/>
                <a:gd name="T41" fmla="*/ 108 h 488"/>
                <a:gd name="T42" fmla="*/ 70 w 486"/>
                <a:gd name="T43" fmla="*/ 72 h 488"/>
                <a:gd name="T44" fmla="*/ 106 w 486"/>
                <a:gd name="T45" fmla="*/ 42 h 488"/>
                <a:gd name="T46" fmla="*/ 148 w 486"/>
                <a:gd name="T47" fmla="*/ 20 h 488"/>
                <a:gd name="T48" fmla="*/ 194 w 486"/>
                <a:gd name="T49" fmla="*/ 6 h 488"/>
                <a:gd name="T50" fmla="*/ 244 w 486"/>
                <a:gd name="T51" fmla="*/ 0 h 488"/>
                <a:gd name="T52" fmla="*/ 268 w 486"/>
                <a:gd name="T53" fmla="*/ 2 h 488"/>
                <a:gd name="T54" fmla="*/ 316 w 486"/>
                <a:gd name="T55" fmla="*/ 12 h 488"/>
                <a:gd name="T56" fmla="*/ 360 w 486"/>
                <a:gd name="T57" fmla="*/ 30 h 488"/>
                <a:gd name="T58" fmla="*/ 398 w 486"/>
                <a:gd name="T59" fmla="*/ 56 h 488"/>
                <a:gd name="T60" fmla="*/ 430 w 486"/>
                <a:gd name="T61" fmla="*/ 90 h 488"/>
                <a:gd name="T62" fmla="*/ 458 w 486"/>
                <a:gd name="T63" fmla="*/ 128 h 488"/>
                <a:gd name="T64" fmla="*/ 476 w 486"/>
                <a:gd name="T65" fmla="*/ 172 h 488"/>
                <a:gd name="T66" fmla="*/ 486 w 486"/>
                <a:gd name="T67" fmla="*/ 220 h 488"/>
                <a:gd name="T68" fmla="*/ 486 w 486"/>
                <a:gd name="T69" fmla="*/ 244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6" h="488">
                  <a:moveTo>
                    <a:pt x="486" y="244"/>
                  </a:moveTo>
                  <a:lnTo>
                    <a:pt x="486" y="244"/>
                  </a:lnTo>
                  <a:lnTo>
                    <a:pt x="486" y="268"/>
                  </a:lnTo>
                  <a:lnTo>
                    <a:pt x="482" y="294"/>
                  </a:lnTo>
                  <a:lnTo>
                    <a:pt x="476" y="316"/>
                  </a:lnTo>
                  <a:lnTo>
                    <a:pt x="468" y="338"/>
                  </a:lnTo>
                  <a:lnTo>
                    <a:pt x="458" y="360"/>
                  </a:lnTo>
                  <a:lnTo>
                    <a:pt x="444" y="380"/>
                  </a:lnTo>
                  <a:lnTo>
                    <a:pt x="430" y="398"/>
                  </a:lnTo>
                  <a:lnTo>
                    <a:pt x="416" y="416"/>
                  </a:lnTo>
                  <a:lnTo>
                    <a:pt x="398" y="432"/>
                  </a:lnTo>
                  <a:lnTo>
                    <a:pt x="380" y="446"/>
                  </a:lnTo>
                  <a:lnTo>
                    <a:pt x="360" y="458"/>
                  </a:lnTo>
                  <a:lnTo>
                    <a:pt x="338" y="468"/>
                  </a:lnTo>
                  <a:lnTo>
                    <a:pt x="316" y="476"/>
                  </a:lnTo>
                  <a:lnTo>
                    <a:pt x="292" y="482"/>
                  </a:lnTo>
                  <a:lnTo>
                    <a:pt x="268" y="486"/>
                  </a:lnTo>
                  <a:lnTo>
                    <a:pt x="244" y="488"/>
                  </a:lnTo>
                  <a:lnTo>
                    <a:pt x="244" y="488"/>
                  </a:lnTo>
                  <a:lnTo>
                    <a:pt x="218" y="486"/>
                  </a:lnTo>
                  <a:lnTo>
                    <a:pt x="194" y="482"/>
                  </a:lnTo>
                  <a:lnTo>
                    <a:pt x="170" y="476"/>
                  </a:lnTo>
                  <a:lnTo>
                    <a:pt x="148" y="468"/>
                  </a:lnTo>
                  <a:lnTo>
                    <a:pt x="126" y="458"/>
                  </a:lnTo>
                  <a:lnTo>
                    <a:pt x="106" y="446"/>
                  </a:lnTo>
                  <a:lnTo>
                    <a:pt x="88" y="432"/>
                  </a:lnTo>
                  <a:lnTo>
                    <a:pt x="70" y="416"/>
                  </a:lnTo>
                  <a:lnTo>
                    <a:pt x="56" y="398"/>
                  </a:lnTo>
                  <a:lnTo>
                    <a:pt x="42" y="380"/>
                  </a:lnTo>
                  <a:lnTo>
                    <a:pt x="28" y="360"/>
                  </a:lnTo>
                  <a:lnTo>
                    <a:pt x="18" y="338"/>
                  </a:lnTo>
                  <a:lnTo>
                    <a:pt x="10" y="316"/>
                  </a:lnTo>
                  <a:lnTo>
                    <a:pt x="4" y="294"/>
                  </a:lnTo>
                  <a:lnTo>
                    <a:pt x="0" y="268"/>
                  </a:lnTo>
                  <a:lnTo>
                    <a:pt x="0" y="244"/>
                  </a:lnTo>
                  <a:lnTo>
                    <a:pt x="0" y="244"/>
                  </a:lnTo>
                  <a:lnTo>
                    <a:pt x="0" y="220"/>
                  </a:lnTo>
                  <a:lnTo>
                    <a:pt x="4" y="194"/>
                  </a:lnTo>
                  <a:lnTo>
                    <a:pt x="10" y="172"/>
                  </a:lnTo>
                  <a:lnTo>
                    <a:pt x="18" y="150"/>
                  </a:lnTo>
                  <a:lnTo>
                    <a:pt x="28" y="128"/>
                  </a:lnTo>
                  <a:lnTo>
                    <a:pt x="42" y="108"/>
                  </a:lnTo>
                  <a:lnTo>
                    <a:pt x="56" y="90"/>
                  </a:lnTo>
                  <a:lnTo>
                    <a:pt x="70" y="72"/>
                  </a:lnTo>
                  <a:lnTo>
                    <a:pt x="88" y="56"/>
                  </a:lnTo>
                  <a:lnTo>
                    <a:pt x="106" y="42"/>
                  </a:lnTo>
                  <a:lnTo>
                    <a:pt x="126" y="30"/>
                  </a:lnTo>
                  <a:lnTo>
                    <a:pt x="148" y="20"/>
                  </a:lnTo>
                  <a:lnTo>
                    <a:pt x="170" y="12"/>
                  </a:lnTo>
                  <a:lnTo>
                    <a:pt x="194" y="6"/>
                  </a:lnTo>
                  <a:lnTo>
                    <a:pt x="218" y="2"/>
                  </a:lnTo>
                  <a:lnTo>
                    <a:pt x="244" y="0"/>
                  </a:lnTo>
                  <a:lnTo>
                    <a:pt x="244" y="0"/>
                  </a:lnTo>
                  <a:lnTo>
                    <a:pt x="268" y="2"/>
                  </a:lnTo>
                  <a:lnTo>
                    <a:pt x="292" y="6"/>
                  </a:lnTo>
                  <a:lnTo>
                    <a:pt x="316" y="12"/>
                  </a:lnTo>
                  <a:lnTo>
                    <a:pt x="338" y="20"/>
                  </a:lnTo>
                  <a:lnTo>
                    <a:pt x="360" y="30"/>
                  </a:lnTo>
                  <a:lnTo>
                    <a:pt x="380" y="42"/>
                  </a:lnTo>
                  <a:lnTo>
                    <a:pt x="398" y="56"/>
                  </a:lnTo>
                  <a:lnTo>
                    <a:pt x="416" y="72"/>
                  </a:lnTo>
                  <a:lnTo>
                    <a:pt x="430" y="90"/>
                  </a:lnTo>
                  <a:lnTo>
                    <a:pt x="444" y="108"/>
                  </a:lnTo>
                  <a:lnTo>
                    <a:pt x="458" y="128"/>
                  </a:lnTo>
                  <a:lnTo>
                    <a:pt x="468" y="150"/>
                  </a:lnTo>
                  <a:lnTo>
                    <a:pt x="476" y="172"/>
                  </a:lnTo>
                  <a:lnTo>
                    <a:pt x="482" y="194"/>
                  </a:lnTo>
                  <a:lnTo>
                    <a:pt x="486" y="220"/>
                  </a:lnTo>
                  <a:lnTo>
                    <a:pt x="486" y="244"/>
                  </a:lnTo>
                  <a:lnTo>
                    <a:pt x="486" y="2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9" name="Line 102">
              <a:extLst>
                <a:ext uri="{FF2B5EF4-FFF2-40B4-BE49-F238E27FC236}">
                  <a16:creationId xmlns:a16="http://schemas.microsoft.com/office/drawing/2014/main" id="{CCC6693D-E53D-4011-81E7-5740484050CD}"/>
                </a:ext>
              </a:extLst>
            </p:cNvPr>
            <p:cNvSpPr>
              <a:spLocks noChangeShapeType="1"/>
            </p:cNvSpPr>
            <p:nvPr/>
          </p:nvSpPr>
          <p:spPr bwMode="auto">
            <a:xfrm>
              <a:off x="-4137025" y="542607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 name="Freeform 103">
              <a:extLst>
                <a:ext uri="{FF2B5EF4-FFF2-40B4-BE49-F238E27FC236}">
                  <a16:creationId xmlns:a16="http://schemas.microsoft.com/office/drawing/2014/main" id="{6711FEC8-1019-4D4A-97B0-1DEC2A8F5FF1}"/>
                </a:ext>
              </a:extLst>
            </p:cNvPr>
            <p:cNvSpPr>
              <a:spLocks noEditPoints="1"/>
            </p:cNvSpPr>
            <p:nvPr/>
          </p:nvSpPr>
          <p:spPr bwMode="auto">
            <a:xfrm>
              <a:off x="-5051425" y="4895850"/>
              <a:ext cx="1057275" cy="1060450"/>
            </a:xfrm>
            <a:custGeom>
              <a:avLst/>
              <a:gdLst>
                <a:gd name="T0" fmla="*/ 300 w 666"/>
                <a:gd name="T1" fmla="*/ 666 h 668"/>
                <a:gd name="T2" fmla="*/ 204 w 666"/>
                <a:gd name="T3" fmla="*/ 640 h 668"/>
                <a:gd name="T4" fmla="*/ 122 w 666"/>
                <a:gd name="T5" fmla="*/ 590 h 668"/>
                <a:gd name="T6" fmla="*/ 56 w 666"/>
                <a:gd name="T7" fmla="*/ 520 h 668"/>
                <a:gd name="T8" fmla="*/ 14 w 666"/>
                <a:gd name="T9" fmla="*/ 432 h 668"/>
                <a:gd name="T10" fmla="*/ 0 w 666"/>
                <a:gd name="T11" fmla="*/ 334 h 668"/>
                <a:gd name="T12" fmla="*/ 6 w 666"/>
                <a:gd name="T13" fmla="*/ 268 h 668"/>
                <a:gd name="T14" fmla="*/ 40 w 666"/>
                <a:gd name="T15" fmla="*/ 176 h 668"/>
                <a:gd name="T16" fmla="*/ 98 w 666"/>
                <a:gd name="T17" fmla="*/ 98 h 668"/>
                <a:gd name="T18" fmla="*/ 174 w 666"/>
                <a:gd name="T19" fmla="*/ 42 h 668"/>
                <a:gd name="T20" fmla="*/ 266 w 666"/>
                <a:gd name="T21" fmla="*/ 8 h 668"/>
                <a:gd name="T22" fmla="*/ 334 w 666"/>
                <a:gd name="T23" fmla="*/ 0 h 668"/>
                <a:gd name="T24" fmla="*/ 432 w 666"/>
                <a:gd name="T25" fmla="*/ 16 h 668"/>
                <a:gd name="T26" fmla="*/ 520 w 666"/>
                <a:gd name="T27" fmla="*/ 58 h 668"/>
                <a:gd name="T28" fmla="*/ 590 w 666"/>
                <a:gd name="T29" fmla="*/ 122 h 668"/>
                <a:gd name="T30" fmla="*/ 640 w 666"/>
                <a:gd name="T31" fmla="*/ 204 h 668"/>
                <a:gd name="T32" fmla="*/ 664 w 666"/>
                <a:gd name="T33" fmla="*/ 300 h 668"/>
                <a:gd name="T34" fmla="*/ 664 w 666"/>
                <a:gd name="T35" fmla="*/ 368 h 668"/>
                <a:gd name="T36" fmla="*/ 640 w 666"/>
                <a:gd name="T37" fmla="*/ 464 h 668"/>
                <a:gd name="T38" fmla="*/ 590 w 666"/>
                <a:gd name="T39" fmla="*/ 546 h 668"/>
                <a:gd name="T40" fmla="*/ 520 w 666"/>
                <a:gd name="T41" fmla="*/ 610 h 668"/>
                <a:gd name="T42" fmla="*/ 432 w 666"/>
                <a:gd name="T43" fmla="*/ 652 h 668"/>
                <a:gd name="T44" fmla="*/ 334 w 666"/>
                <a:gd name="T45" fmla="*/ 668 h 668"/>
                <a:gd name="T46" fmla="*/ 334 w 666"/>
                <a:gd name="T47" fmla="*/ 180 h 668"/>
                <a:gd name="T48" fmla="*/ 288 w 666"/>
                <a:gd name="T49" fmla="*/ 188 h 668"/>
                <a:gd name="T50" fmla="*/ 248 w 666"/>
                <a:gd name="T51" fmla="*/ 206 h 668"/>
                <a:gd name="T52" fmla="*/ 214 w 666"/>
                <a:gd name="T53" fmla="*/ 236 h 668"/>
                <a:gd name="T54" fmla="*/ 192 w 666"/>
                <a:gd name="T55" fmla="*/ 274 h 668"/>
                <a:gd name="T56" fmla="*/ 180 w 666"/>
                <a:gd name="T57" fmla="*/ 318 h 668"/>
                <a:gd name="T58" fmla="*/ 180 w 666"/>
                <a:gd name="T59" fmla="*/ 350 h 668"/>
                <a:gd name="T60" fmla="*/ 192 w 666"/>
                <a:gd name="T61" fmla="*/ 394 h 668"/>
                <a:gd name="T62" fmla="*/ 214 w 666"/>
                <a:gd name="T63" fmla="*/ 432 h 668"/>
                <a:gd name="T64" fmla="*/ 248 w 666"/>
                <a:gd name="T65" fmla="*/ 462 h 668"/>
                <a:gd name="T66" fmla="*/ 288 w 666"/>
                <a:gd name="T67" fmla="*/ 482 h 668"/>
                <a:gd name="T68" fmla="*/ 334 w 666"/>
                <a:gd name="T69" fmla="*/ 488 h 668"/>
                <a:gd name="T70" fmla="*/ 364 w 666"/>
                <a:gd name="T71" fmla="*/ 484 h 668"/>
                <a:gd name="T72" fmla="*/ 406 w 666"/>
                <a:gd name="T73" fmla="*/ 470 h 668"/>
                <a:gd name="T74" fmla="*/ 442 w 666"/>
                <a:gd name="T75" fmla="*/ 442 h 668"/>
                <a:gd name="T76" fmla="*/ 468 w 666"/>
                <a:gd name="T77" fmla="*/ 408 h 668"/>
                <a:gd name="T78" fmla="*/ 484 w 666"/>
                <a:gd name="T79" fmla="*/ 366 h 668"/>
                <a:gd name="T80" fmla="*/ 486 w 666"/>
                <a:gd name="T81" fmla="*/ 334 h 668"/>
                <a:gd name="T82" fmla="*/ 480 w 666"/>
                <a:gd name="T83" fmla="*/ 288 h 668"/>
                <a:gd name="T84" fmla="*/ 460 w 666"/>
                <a:gd name="T85" fmla="*/ 248 h 668"/>
                <a:gd name="T86" fmla="*/ 430 w 666"/>
                <a:gd name="T87" fmla="*/ 216 h 668"/>
                <a:gd name="T88" fmla="*/ 392 w 666"/>
                <a:gd name="T89" fmla="*/ 192 h 668"/>
                <a:gd name="T90" fmla="*/ 348 w 666"/>
                <a:gd name="T91" fmla="*/ 180 h 668"/>
                <a:gd name="T92" fmla="*/ 334 w 666"/>
                <a:gd name="T93" fmla="*/ 180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66" h="668">
                  <a:moveTo>
                    <a:pt x="334" y="668"/>
                  </a:moveTo>
                  <a:lnTo>
                    <a:pt x="334" y="668"/>
                  </a:lnTo>
                  <a:lnTo>
                    <a:pt x="300" y="666"/>
                  </a:lnTo>
                  <a:lnTo>
                    <a:pt x="266" y="660"/>
                  </a:lnTo>
                  <a:lnTo>
                    <a:pt x="234" y="652"/>
                  </a:lnTo>
                  <a:lnTo>
                    <a:pt x="204" y="640"/>
                  </a:lnTo>
                  <a:lnTo>
                    <a:pt x="174" y="626"/>
                  </a:lnTo>
                  <a:lnTo>
                    <a:pt x="146" y="610"/>
                  </a:lnTo>
                  <a:lnTo>
                    <a:pt x="122" y="590"/>
                  </a:lnTo>
                  <a:lnTo>
                    <a:pt x="98" y="570"/>
                  </a:lnTo>
                  <a:lnTo>
                    <a:pt x="76" y="546"/>
                  </a:lnTo>
                  <a:lnTo>
                    <a:pt x="56" y="520"/>
                  </a:lnTo>
                  <a:lnTo>
                    <a:pt x="40" y="492"/>
                  </a:lnTo>
                  <a:lnTo>
                    <a:pt x="26" y="464"/>
                  </a:lnTo>
                  <a:lnTo>
                    <a:pt x="14" y="432"/>
                  </a:lnTo>
                  <a:lnTo>
                    <a:pt x="6" y="402"/>
                  </a:lnTo>
                  <a:lnTo>
                    <a:pt x="2" y="368"/>
                  </a:lnTo>
                  <a:lnTo>
                    <a:pt x="0" y="334"/>
                  </a:lnTo>
                  <a:lnTo>
                    <a:pt x="0" y="334"/>
                  </a:lnTo>
                  <a:lnTo>
                    <a:pt x="2" y="300"/>
                  </a:lnTo>
                  <a:lnTo>
                    <a:pt x="6" y="268"/>
                  </a:lnTo>
                  <a:lnTo>
                    <a:pt x="14" y="236"/>
                  </a:lnTo>
                  <a:lnTo>
                    <a:pt x="26" y="204"/>
                  </a:lnTo>
                  <a:lnTo>
                    <a:pt x="40" y="176"/>
                  </a:lnTo>
                  <a:lnTo>
                    <a:pt x="56" y="148"/>
                  </a:lnTo>
                  <a:lnTo>
                    <a:pt x="76" y="122"/>
                  </a:lnTo>
                  <a:lnTo>
                    <a:pt x="98" y="98"/>
                  </a:lnTo>
                  <a:lnTo>
                    <a:pt x="122" y="78"/>
                  </a:lnTo>
                  <a:lnTo>
                    <a:pt x="146" y="58"/>
                  </a:lnTo>
                  <a:lnTo>
                    <a:pt x="174" y="42"/>
                  </a:lnTo>
                  <a:lnTo>
                    <a:pt x="204" y="28"/>
                  </a:lnTo>
                  <a:lnTo>
                    <a:pt x="234" y="16"/>
                  </a:lnTo>
                  <a:lnTo>
                    <a:pt x="266" y="8"/>
                  </a:lnTo>
                  <a:lnTo>
                    <a:pt x="300" y="2"/>
                  </a:lnTo>
                  <a:lnTo>
                    <a:pt x="334" y="0"/>
                  </a:lnTo>
                  <a:lnTo>
                    <a:pt x="334" y="0"/>
                  </a:lnTo>
                  <a:lnTo>
                    <a:pt x="368" y="2"/>
                  </a:lnTo>
                  <a:lnTo>
                    <a:pt x="400" y="8"/>
                  </a:lnTo>
                  <a:lnTo>
                    <a:pt x="432" y="16"/>
                  </a:lnTo>
                  <a:lnTo>
                    <a:pt x="462" y="28"/>
                  </a:lnTo>
                  <a:lnTo>
                    <a:pt x="492" y="42"/>
                  </a:lnTo>
                  <a:lnTo>
                    <a:pt x="520" y="58"/>
                  </a:lnTo>
                  <a:lnTo>
                    <a:pt x="544" y="78"/>
                  </a:lnTo>
                  <a:lnTo>
                    <a:pt x="568" y="98"/>
                  </a:lnTo>
                  <a:lnTo>
                    <a:pt x="590" y="122"/>
                  </a:lnTo>
                  <a:lnTo>
                    <a:pt x="610" y="148"/>
                  </a:lnTo>
                  <a:lnTo>
                    <a:pt x="626" y="176"/>
                  </a:lnTo>
                  <a:lnTo>
                    <a:pt x="640" y="204"/>
                  </a:lnTo>
                  <a:lnTo>
                    <a:pt x="652" y="236"/>
                  </a:lnTo>
                  <a:lnTo>
                    <a:pt x="660" y="268"/>
                  </a:lnTo>
                  <a:lnTo>
                    <a:pt x="664" y="300"/>
                  </a:lnTo>
                  <a:lnTo>
                    <a:pt x="666" y="334"/>
                  </a:lnTo>
                  <a:lnTo>
                    <a:pt x="666" y="334"/>
                  </a:lnTo>
                  <a:lnTo>
                    <a:pt x="664" y="368"/>
                  </a:lnTo>
                  <a:lnTo>
                    <a:pt x="660" y="402"/>
                  </a:lnTo>
                  <a:lnTo>
                    <a:pt x="652" y="432"/>
                  </a:lnTo>
                  <a:lnTo>
                    <a:pt x="640" y="464"/>
                  </a:lnTo>
                  <a:lnTo>
                    <a:pt x="626" y="492"/>
                  </a:lnTo>
                  <a:lnTo>
                    <a:pt x="610" y="520"/>
                  </a:lnTo>
                  <a:lnTo>
                    <a:pt x="590" y="546"/>
                  </a:lnTo>
                  <a:lnTo>
                    <a:pt x="568" y="570"/>
                  </a:lnTo>
                  <a:lnTo>
                    <a:pt x="544" y="590"/>
                  </a:lnTo>
                  <a:lnTo>
                    <a:pt x="520" y="610"/>
                  </a:lnTo>
                  <a:lnTo>
                    <a:pt x="492" y="626"/>
                  </a:lnTo>
                  <a:lnTo>
                    <a:pt x="462" y="640"/>
                  </a:lnTo>
                  <a:lnTo>
                    <a:pt x="432" y="652"/>
                  </a:lnTo>
                  <a:lnTo>
                    <a:pt x="400" y="660"/>
                  </a:lnTo>
                  <a:lnTo>
                    <a:pt x="368" y="666"/>
                  </a:lnTo>
                  <a:lnTo>
                    <a:pt x="334" y="668"/>
                  </a:lnTo>
                  <a:lnTo>
                    <a:pt x="334" y="668"/>
                  </a:lnTo>
                  <a:close/>
                  <a:moveTo>
                    <a:pt x="334" y="180"/>
                  </a:moveTo>
                  <a:lnTo>
                    <a:pt x="334" y="180"/>
                  </a:lnTo>
                  <a:lnTo>
                    <a:pt x="318" y="180"/>
                  </a:lnTo>
                  <a:lnTo>
                    <a:pt x="302" y="184"/>
                  </a:lnTo>
                  <a:lnTo>
                    <a:pt x="288" y="188"/>
                  </a:lnTo>
                  <a:lnTo>
                    <a:pt x="274" y="192"/>
                  </a:lnTo>
                  <a:lnTo>
                    <a:pt x="260" y="198"/>
                  </a:lnTo>
                  <a:lnTo>
                    <a:pt x="248" y="206"/>
                  </a:lnTo>
                  <a:lnTo>
                    <a:pt x="236" y="216"/>
                  </a:lnTo>
                  <a:lnTo>
                    <a:pt x="224" y="226"/>
                  </a:lnTo>
                  <a:lnTo>
                    <a:pt x="214" y="236"/>
                  </a:lnTo>
                  <a:lnTo>
                    <a:pt x="206" y="248"/>
                  </a:lnTo>
                  <a:lnTo>
                    <a:pt x="198" y="260"/>
                  </a:lnTo>
                  <a:lnTo>
                    <a:pt x="192" y="274"/>
                  </a:lnTo>
                  <a:lnTo>
                    <a:pt x="186" y="288"/>
                  </a:lnTo>
                  <a:lnTo>
                    <a:pt x="182" y="304"/>
                  </a:lnTo>
                  <a:lnTo>
                    <a:pt x="180" y="318"/>
                  </a:lnTo>
                  <a:lnTo>
                    <a:pt x="180" y="334"/>
                  </a:lnTo>
                  <a:lnTo>
                    <a:pt x="180" y="334"/>
                  </a:lnTo>
                  <a:lnTo>
                    <a:pt x="180" y="350"/>
                  </a:lnTo>
                  <a:lnTo>
                    <a:pt x="182" y="366"/>
                  </a:lnTo>
                  <a:lnTo>
                    <a:pt x="186" y="380"/>
                  </a:lnTo>
                  <a:lnTo>
                    <a:pt x="192" y="394"/>
                  </a:lnTo>
                  <a:lnTo>
                    <a:pt x="198" y="408"/>
                  </a:lnTo>
                  <a:lnTo>
                    <a:pt x="206" y="420"/>
                  </a:lnTo>
                  <a:lnTo>
                    <a:pt x="214" y="432"/>
                  </a:lnTo>
                  <a:lnTo>
                    <a:pt x="224" y="442"/>
                  </a:lnTo>
                  <a:lnTo>
                    <a:pt x="236" y="452"/>
                  </a:lnTo>
                  <a:lnTo>
                    <a:pt x="248" y="462"/>
                  </a:lnTo>
                  <a:lnTo>
                    <a:pt x="260" y="470"/>
                  </a:lnTo>
                  <a:lnTo>
                    <a:pt x="274" y="476"/>
                  </a:lnTo>
                  <a:lnTo>
                    <a:pt x="288" y="482"/>
                  </a:lnTo>
                  <a:lnTo>
                    <a:pt x="302" y="484"/>
                  </a:lnTo>
                  <a:lnTo>
                    <a:pt x="318" y="488"/>
                  </a:lnTo>
                  <a:lnTo>
                    <a:pt x="334" y="488"/>
                  </a:lnTo>
                  <a:lnTo>
                    <a:pt x="334" y="488"/>
                  </a:lnTo>
                  <a:lnTo>
                    <a:pt x="348" y="488"/>
                  </a:lnTo>
                  <a:lnTo>
                    <a:pt x="364" y="484"/>
                  </a:lnTo>
                  <a:lnTo>
                    <a:pt x="378" y="482"/>
                  </a:lnTo>
                  <a:lnTo>
                    <a:pt x="392" y="476"/>
                  </a:lnTo>
                  <a:lnTo>
                    <a:pt x="406" y="470"/>
                  </a:lnTo>
                  <a:lnTo>
                    <a:pt x="420" y="462"/>
                  </a:lnTo>
                  <a:lnTo>
                    <a:pt x="430" y="452"/>
                  </a:lnTo>
                  <a:lnTo>
                    <a:pt x="442" y="442"/>
                  </a:lnTo>
                  <a:lnTo>
                    <a:pt x="452" y="432"/>
                  </a:lnTo>
                  <a:lnTo>
                    <a:pt x="460" y="420"/>
                  </a:lnTo>
                  <a:lnTo>
                    <a:pt x="468" y="408"/>
                  </a:lnTo>
                  <a:lnTo>
                    <a:pt x="474" y="394"/>
                  </a:lnTo>
                  <a:lnTo>
                    <a:pt x="480" y="380"/>
                  </a:lnTo>
                  <a:lnTo>
                    <a:pt x="484" y="366"/>
                  </a:lnTo>
                  <a:lnTo>
                    <a:pt x="486" y="350"/>
                  </a:lnTo>
                  <a:lnTo>
                    <a:pt x="486" y="334"/>
                  </a:lnTo>
                  <a:lnTo>
                    <a:pt x="486" y="334"/>
                  </a:lnTo>
                  <a:lnTo>
                    <a:pt x="486" y="318"/>
                  </a:lnTo>
                  <a:lnTo>
                    <a:pt x="484" y="304"/>
                  </a:lnTo>
                  <a:lnTo>
                    <a:pt x="480" y="288"/>
                  </a:lnTo>
                  <a:lnTo>
                    <a:pt x="474" y="274"/>
                  </a:lnTo>
                  <a:lnTo>
                    <a:pt x="468" y="260"/>
                  </a:lnTo>
                  <a:lnTo>
                    <a:pt x="460" y="248"/>
                  </a:lnTo>
                  <a:lnTo>
                    <a:pt x="452" y="236"/>
                  </a:lnTo>
                  <a:lnTo>
                    <a:pt x="442" y="226"/>
                  </a:lnTo>
                  <a:lnTo>
                    <a:pt x="430" y="216"/>
                  </a:lnTo>
                  <a:lnTo>
                    <a:pt x="420" y="206"/>
                  </a:lnTo>
                  <a:lnTo>
                    <a:pt x="406" y="198"/>
                  </a:lnTo>
                  <a:lnTo>
                    <a:pt x="392" y="192"/>
                  </a:lnTo>
                  <a:lnTo>
                    <a:pt x="378" y="188"/>
                  </a:lnTo>
                  <a:lnTo>
                    <a:pt x="364" y="184"/>
                  </a:lnTo>
                  <a:lnTo>
                    <a:pt x="348" y="180"/>
                  </a:lnTo>
                  <a:lnTo>
                    <a:pt x="334" y="180"/>
                  </a:lnTo>
                  <a:lnTo>
                    <a:pt x="334" y="180"/>
                  </a:lnTo>
                  <a:close/>
                  <a:moveTo>
                    <a:pt x="334" y="180"/>
                  </a:moveTo>
                  <a:lnTo>
                    <a:pt x="334" y="18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1" name="Freeform 104">
              <a:extLst>
                <a:ext uri="{FF2B5EF4-FFF2-40B4-BE49-F238E27FC236}">
                  <a16:creationId xmlns:a16="http://schemas.microsoft.com/office/drawing/2014/main" id="{15677631-B7E4-4E26-A47C-7DE6E3307813}"/>
                </a:ext>
              </a:extLst>
            </p:cNvPr>
            <p:cNvSpPr>
              <a:spLocks/>
            </p:cNvSpPr>
            <p:nvPr/>
          </p:nvSpPr>
          <p:spPr bwMode="auto">
            <a:xfrm>
              <a:off x="-5051425" y="4895850"/>
              <a:ext cx="1057275" cy="1060450"/>
            </a:xfrm>
            <a:custGeom>
              <a:avLst/>
              <a:gdLst>
                <a:gd name="T0" fmla="*/ 334 w 666"/>
                <a:gd name="T1" fmla="*/ 668 h 668"/>
                <a:gd name="T2" fmla="*/ 266 w 666"/>
                <a:gd name="T3" fmla="*/ 660 h 668"/>
                <a:gd name="T4" fmla="*/ 204 w 666"/>
                <a:gd name="T5" fmla="*/ 640 h 668"/>
                <a:gd name="T6" fmla="*/ 146 w 666"/>
                <a:gd name="T7" fmla="*/ 610 h 668"/>
                <a:gd name="T8" fmla="*/ 98 w 666"/>
                <a:gd name="T9" fmla="*/ 570 h 668"/>
                <a:gd name="T10" fmla="*/ 56 w 666"/>
                <a:gd name="T11" fmla="*/ 520 h 668"/>
                <a:gd name="T12" fmla="*/ 26 w 666"/>
                <a:gd name="T13" fmla="*/ 464 h 668"/>
                <a:gd name="T14" fmla="*/ 6 w 666"/>
                <a:gd name="T15" fmla="*/ 402 h 668"/>
                <a:gd name="T16" fmla="*/ 0 w 666"/>
                <a:gd name="T17" fmla="*/ 334 h 668"/>
                <a:gd name="T18" fmla="*/ 2 w 666"/>
                <a:gd name="T19" fmla="*/ 300 h 668"/>
                <a:gd name="T20" fmla="*/ 14 w 666"/>
                <a:gd name="T21" fmla="*/ 236 h 668"/>
                <a:gd name="T22" fmla="*/ 40 w 666"/>
                <a:gd name="T23" fmla="*/ 176 h 668"/>
                <a:gd name="T24" fmla="*/ 76 w 666"/>
                <a:gd name="T25" fmla="*/ 122 h 668"/>
                <a:gd name="T26" fmla="*/ 122 w 666"/>
                <a:gd name="T27" fmla="*/ 78 h 668"/>
                <a:gd name="T28" fmla="*/ 174 w 666"/>
                <a:gd name="T29" fmla="*/ 42 h 668"/>
                <a:gd name="T30" fmla="*/ 234 w 666"/>
                <a:gd name="T31" fmla="*/ 16 h 668"/>
                <a:gd name="T32" fmla="*/ 300 w 666"/>
                <a:gd name="T33" fmla="*/ 2 h 668"/>
                <a:gd name="T34" fmla="*/ 334 w 666"/>
                <a:gd name="T35" fmla="*/ 0 h 668"/>
                <a:gd name="T36" fmla="*/ 400 w 666"/>
                <a:gd name="T37" fmla="*/ 8 h 668"/>
                <a:gd name="T38" fmla="*/ 462 w 666"/>
                <a:gd name="T39" fmla="*/ 28 h 668"/>
                <a:gd name="T40" fmla="*/ 520 w 666"/>
                <a:gd name="T41" fmla="*/ 58 h 668"/>
                <a:gd name="T42" fmla="*/ 568 w 666"/>
                <a:gd name="T43" fmla="*/ 98 h 668"/>
                <a:gd name="T44" fmla="*/ 610 w 666"/>
                <a:gd name="T45" fmla="*/ 148 h 668"/>
                <a:gd name="T46" fmla="*/ 640 w 666"/>
                <a:gd name="T47" fmla="*/ 204 h 668"/>
                <a:gd name="T48" fmla="*/ 660 w 666"/>
                <a:gd name="T49" fmla="*/ 268 h 668"/>
                <a:gd name="T50" fmla="*/ 666 w 666"/>
                <a:gd name="T51" fmla="*/ 334 h 668"/>
                <a:gd name="T52" fmla="*/ 664 w 666"/>
                <a:gd name="T53" fmla="*/ 368 h 668"/>
                <a:gd name="T54" fmla="*/ 652 w 666"/>
                <a:gd name="T55" fmla="*/ 432 h 668"/>
                <a:gd name="T56" fmla="*/ 626 w 666"/>
                <a:gd name="T57" fmla="*/ 492 h 668"/>
                <a:gd name="T58" fmla="*/ 590 w 666"/>
                <a:gd name="T59" fmla="*/ 546 h 668"/>
                <a:gd name="T60" fmla="*/ 544 w 666"/>
                <a:gd name="T61" fmla="*/ 590 h 668"/>
                <a:gd name="T62" fmla="*/ 492 w 666"/>
                <a:gd name="T63" fmla="*/ 626 h 668"/>
                <a:gd name="T64" fmla="*/ 432 w 666"/>
                <a:gd name="T65" fmla="*/ 652 h 668"/>
                <a:gd name="T66" fmla="*/ 368 w 666"/>
                <a:gd name="T67" fmla="*/ 666 h 668"/>
                <a:gd name="T68" fmla="*/ 334 w 666"/>
                <a:gd name="T69" fmla="*/ 66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6" h="668">
                  <a:moveTo>
                    <a:pt x="334" y="668"/>
                  </a:moveTo>
                  <a:lnTo>
                    <a:pt x="334" y="668"/>
                  </a:lnTo>
                  <a:lnTo>
                    <a:pt x="300" y="666"/>
                  </a:lnTo>
                  <a:lnTo>
                    <a:pt x="266" y="660"/>
                  </a:lnTo>
                  <a:lnTo>
                    <a:pt x="234" y="652"/>
                  </a:lnTo>
                  <a:lnTo>
                    <a:pt x="204" y="640"/>
                  </a:lnTo>
                  <a:lnTo>
                    <a:pt x="174" y="626"/>
                  </a:lnTo>
                  <a:lnTo>
                    <a:pt x="146" y="610"/>
                  </a:lnTo>
                  <a:lnTo>
                    <a:pt x="122" y="590"/>
                  </a:lnTo>
                  <a:lnTo>
                    <a:pt x="98" y="570"/>
                  </a:lnTo>
                  <a:lnTo>
                    <a:pt x="76" y="546"/>
                  </a:lnTo>
                  <a:lnTo>
                    <a:pt x="56" y="520"/>
                  </a:lnTo>
                  <a:lnTo>
                    <a:pt x="40" y="492"/>
                  </a:lnTo>
                  <a:lnTo>
                    <a:pt x="26" y="464"/>
                  </a:lnTo>
                  <a:lnTo>
                    <a:pt x="14" y="432"/>
                  </a:lnTo>
                  <a:lnTo>
                    <a:pt x="6" y="402"/>
                  </a:lnTo>
                  <a:lnTo>
                    <a:pt x="2" y="368"/>
                  </a:lnTo>
                  <a:lnTo>
                    <a:pt x="0" y="334"/>
                  </a:lnTo>
                  <a:lnTo>
                    <a:pt x="0" y="334"/>
                  </a:lnTo>
                  <a:lnTo>
                    <a:pt x="2" y="300"/>
                  </a:lnTo>
                  <a:lnTo>
                    <a:pt x="6" y="268"/>
                  </a:lnTo>
                  <a:lnTo>
                    <a:pt x="14" y="236"/>
                  </a:lnTo>
                  <a:lnTo>
                    <a:pt x="26" y="204"/>
                  </a:lnTo>
                  <a:lnTo>
                    <a:pt x="40" y="176"/>
                  </a:lnTo>
                  <a:lnTo>
                    <a:pt x="56" y="148"/>
                  </a:lnTo>
                  <a:lnTo>
                    <a:pt x="76" y="122"/>
                  </a:lnTo>
                  <a:lnTo>
                    <a:pt x="98" y="98"/>
                  </a:lnTo>
                  <a:lnTo>
                    <a:pt x="122" y="78"/>
                  </a:lnTo>
                  <a:lnTo>
                    <a:pt x="146" y="58"/>
                  </a:lnTo>
                  <a:lnTo>
                    <a:pt x="174" y="42"/>
                  </a:lnTo>
                  <a:lnTo>
                    <a:pt x="204" y="28"/>
                  </a:lnTo>
                  <a:lnTo>
                    <a:pt x="234" y="16"/>
                  </a:lnTo>
                  <a:lnTo>
                    <a:pt x="266" y="8"/>
                  </a:lnTo>
                  <a:lnTo>
                    <a:pt x="300" y="2"/>
                  </a:lnTo>
                  <a:lnTo>
                    <a:pt x="334" y="0"/>
                  </a:lnTo>
                  <a:lnTo>
                    <a:pt x="334" y="0"/>
                  </a:lnTo>
                  <a:lnTo>
                    <a:pt x="368" y="2"/>
                  </a:lnTo>
                  <a:lnTo>
                    <a:pt x="400" y="8"/>
                  </a:lnTo>
                  <a:lnTo>
                    <a:pt x="432" y="16"/>
                  </a:lnTo>
                  <a:lnTo>
                    <a:pt x="462" y="28"/>
                  </a:lnTo>
                  <a:lnTo>
                    <a:pt x="492" y="42"/>
                  </a:lnTo>
                  <a:lnTo>
                    <a:pt x="520" y="58"/>
                  </a:lnTo>
                  <a:lnTo>
                    <a:pt x="544" y="78"/>
                  </a:lnTo>
                  <a:lnTo>
                    <a:pt x="568" y="98"/>
                  </a:lnTo>
                  <a:lnTo>
                    <a:pt x="590" y="122"/>
                  </a:lnTo>
                  <a:lnTo>
                    <a:pt x="610" y="148"/>
                  </a:lnTo>
                  <a:lnTo>
                    <a:pt x="626" y="176"/>
                  </a:lnTo>
                  <a:lnTo>
                    <a:pt x="640" y="204"/>
                  </a:lnTo>
                  <a:lnTo>
                    <a:pt x="652" y="236"/>
                  </a:lnTo>
                  <a:lnTo>
                    <a:pt x="660" y="268"/>
                  </a:lnTo>
                  <a:lnTo>
                    <a:pt x="664" y="300"/>
                  </a:lnTo>
                  <a:lnTo>
                    <a:pt x="666" y="334"/>
                  </a:lnTo>
                  <a:lnTo>
                    <a:pt x="666" y="334"/>
                  </a:lnTo>
                  <a:lnTo>
                    <a:pt x="664" y="368"/>
                  </a:lnTo>
                  <a:lnTo>
                    <a:pt x="660" y="402"/>
                  </a:lnTo>
                  <a:lnTo>
                    <a:pt x="652" y="432"/>
                  </a:lnTo>
                  <a:lnTo>
                    <a:pt x="640" y="464"/>
                  </a:lnTo>
                  <a:lnTo>
                    <a:pt x="626" y="492"/>
                  </a:lnTo>
                  <a:lnTo>
                    <a:pt x="610" y="520"/>
                  </a:lnTo>
                  <a:lnTo>
                    <a:pt x="590" y="546"/>
                  </a:lnTo>
                  <a:lnTo>
                    <a:pt x="568" y="570"/>
                  </a:lnTo>
                  <a:lnTo>
                    <a:pt x="544" y="590"/>
                  </a:lnTo>
                  <a:lnTo>
                    <a:pt x="520" y="610"/>
                  </a:lnTo>
                  <a:lnTo>
                    <a:pt x="492" y="626"/>
                  </a:lnTo>
                  <a:lnTo>
                    <a:pt x="462" y="640"/>
                  </a:lnTo>
                  <a:lnTo>
                    <a:pt x="432" y="652"/>
                  </a:lnTo>
                  <a:lnTo>
                    <a:pt x="400" y="660"/>
                  </a:lnTo>
                  <a:lnTo>
                    <a:pt x="368" y="666"/>
                  </a:lnTo>
                  <a:lnTo>
                    <a:pt x="334" y="668"/>
                  </a:lnTo>
                  <a:lnTo>
                    <a:pt x="334" y="66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2" name="Freeform 105">
              <a:extLst>
                <a:ext uri="{FF2B5EF4-FFF2-40B4-BE49-F238E27FC236}">
                  <a16:creationId xmlns:a16="http://schemas.microsoft.com/office/drawing/2014/main" id="{38FD7696-2C1C-422E-94E1-8939BF59B61C}"/>
                </a:ext>
              </a:extLst>
            </p:cNvPr>
            <p:cNvSpPr>
              <a:spLocks/>
            </p:cNvSpPr>
            <p:nvPr/>
          </p:nvSpPr>
          <p:spPr bwMode="auto">
            <a:xfrm>
              <a:off x="-4765675" y="5181600"/>
              <a:ext cx="485775" cy="488950"/>
            </a:xfrm>
            <a:custGeom>
              <a:avLst/>
              <a:gdLst>
                <a:gd name="T0" fmla="*/ 154 w 306"/>
                <a:gd name="T1" fmla="*/ 0 h 308"/>
                <a:gd name="T2" fmla="*/ 122 w 306"/>
                <a:gd name="T3" fmla="*/ 4 h 308"/>
                <a:gd name="T4" fmla="*/ 94 w 306"/>
                <a:gd name="T5" fmla="*/ 12 h 308"/>
                <a:gd name="T6" fmla="*/ 68 w 306"/>
                <a:gd name="T7" fmla="*/ 26 h 308"/>
                <a:gd name="T8" fmla="*/ 44 w 306"/>
                <a:gd name="T9" fmla="*/ 46 h 308"/>
                <a:gd name="T10" fmla="*/ 26 w 306"/>
                <a:gd name="T11" fmla="*/ 68 h 308"/>
                <a:gd name="T12" fmla="*/ 12 w 306"/>
                <a:gd name="T13" fmla="*/ 94 h 308"/>
                <a:gd name="T14" fmla="*/ 2 w 306"/>
                <a:gd name="T15" fmla="*/ 124 h 308"/>
                <a:gd name="T16" fmla="*/ 0 w 306"/>
                <a:gd name="T17" fmla="*/ 154 h 308"/>
                <a:gd name="T18" fmla="*/ 0 w 306"/>
                <a:gd name="T19" fmla="*/ 170 h 308"/>
                <a:gd name="T20" fmla="*/ 6 w 306"/>
                <a:gd name="T21" fmla="*/ 200 h 308"/>
                <a:gd name="T22" fmla="*/ 18 w 306"/>
                <a:gd name="T23" fmla="*/ 228 h 308"/>
                <a:gd name="T24" fmla="*/ 34 w 306"/>
                <a:gd name="T25" fmla="*/ 252 h 308"/>
                <a:gd name="T26" fmla="*/ 56 w 306"/>
                <a:gd name="T27" fmla="*/ 272 h 308"/>
                <a:gd name="T28" fmla="*/ 80 w 306"/>
                <a:gd name="T29" fmla="*/ 290 h 308"/>
                <a:gd name="T30" fmla="*/ 108 w 306"/>
                <a:gd name="T31" fmla="*/ 302 h 308"/>
                <a:gd name="T32" fmla="*/ 138 w 306"/>
                <a:gd name="T33" fmla="*/ 308 h 308"/>
                <a:gd name="T34" fmla="*/ 154 w 306"/>
                <a:gd name="T35" fmla="*/ 308 h 308"/>
                <a:gd name="T36" fmla="*/ 184 w 306"/>
                <a:gd name="T37" fmla="*/ 304 h 308"/>
                <a:gd name="T38" fmla="*/ 212 w 306"/>
                <a:gd name="T39" fmla="*/ 296 h 308"/>
                <a:gd name="T40" fmla="*/ 240 w 306"/>
                <a:gd name="T41" fmla="*/ 282 h 308"/>
                <a:gd name="T42" fmla="*/ 262 w 306"/>
                <a:gd name="T43" fmla="*/ 262 h 308"/>
                <a:gd name="T44" fmla="*/ 280 w 306"/>
                <a:gd name="T45" fmla="*/ 240 h 308"/>
                <a:gd name="T46" fmla="*/ 294 w 306"/>
                <a:gd name="T47" fmla="*/ 214 h 308"/>
                <a:gd name="T48" fmla="*/ 304 w 306"/>
                <a:gd name="T49" fmla="*/ 186 h 308"/>
                <a:gd name="T50" fmla="*/ 306 w 306"/>
                <a:gd name="T51" fmla="*/ 154 h 308"/>
                <a:gd name="T52" fmla="*/ 306 w 306"/>
                <a:gd name="T53" fmla="*/ 138 h 308"/>
                <a:gd name="T54" fmla="*/ 300 w 306"/>
                <a:gd name="T55" fmla="*/ 108 h 308"/>
                <a:gd name="T56" fmla="*/ 288 w 306"/>
                <a:gd name="T57" fmla="*/ 80 h 308"/>
                <a:gd name="T58" fmla="*/ 272 w 306"/>
                <a:gd name="T59" fmla="*/ 56 h 308"/>
                <a:gd name="T60" fmla="*/ 250 w 306"/>
                <a:gd name="T61" fmla="*/ 36 h 308"/>
                <a:gd name="T62" fmla="*/ 226 w 306"/>
                <a:gd name="T63" fmla="*/ 18 h 308"/>
                <a:gd name="T64" fmla="*/ 198 w 306"/>
                <a:gd name="T65" fmla="*/ 8 h 308"/>
                <a:gd name="T66" fmla="*/ 168 w 306"/>
                <a:gd name="T67" fmla="*/ 0 h 308"/>
                <a:gd name="T68" fmla="*/ 154 w 306"/>
                <a:gd name="T69"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6" h="308">
                  <a:moveTo>
                    <a:pt x="154" y="0"/>
                  </a:moveTo>
                  <a:lnTo>
                    <a:pt x="154" y="0"/>
                  </a:lnTo>
                  <a:lnTo>
                    <a:pt x="138" y="0"/>
                  </a:lnTo>
                  <a:lnTo>
                    <a:pt x="122" y="4"/>
                  </a:lnTo>
                  <a:lnTo>
                    <a:pt x="108" y="8"/>
                  </a:lnTo>
                  <a:lnTo>
                    <a:pt x="94" y="12"/>
                  </a:lnTo>
                  <a:lnTo>
                    <a:pt x="80" y="18"/>
                  </a:lnTo>
                  <a:lnTo>
                    <a:pt x="68" y="26"/>
                  </a:lnTo>
                  <a:lnTo>
                    <a:pt x="56" y="36"/>
                  </a:lnTo>
                  <a:lnTo>
                    <a:pt x="44" y="46"/>
                  </a:lnTo>
                  <a:lnTo>
                    <a:pt x="34" y="56"/>
                  </a:lnTo>
                  <a:lnTo>
                    <a:pt x="26" y="68"/>
                  </a:lnTo>
                  <a:lnTo>
                    <a:pt x="18" y="80"/>
                  </a:lnTo>
                  <a:lnTo>
                    <a:pt x="12" y="94"/>
                  </a:lnTo>
                  <a:lnTo>
                    <a:pt x="6" y="108"/>
                  </a:lnTo>
                  <a:lnTo>
                    <a:pt x="2" y="124"/>
                  </a:lnTo>
                  <a:lnTo>
                    <a:pt x="0" y="138"/>
                  </a:lnTo>
                  <a:lnTo>
                    <a:pt x="0" y="154"/>
                  </a:lnTo>
                  <a:lnTo>
                    <a:pt x="0" y="154"/>
                  </a:lnTo>
                  <a:lnTo>
                    <a:pt x="0" y="170"/>
                  </a:lnTo>
                  <a:lnTo>
                    <a:pt x="2" y="186"/>
                  </a:lnTo>
                  <a:lnTo>
                    <a:pt x="6" y="200"/>
                  </a:lnTo>
                  <a:lnTo>
                    <a:pt x="12" y="214"/>
                  </a:lnTo>
                  <a:lnTo>
                    <a:pt x="18" y="228"/>
                  </a:lnTo>
                  <a:lnTo>
                    <a:pt x="26" y="240"/>
                  </a:lnTo>
                  <a:lnTo>
                    <a:pt x="34" y="252"/>
                  </a:lnTo>
                  <a:lnTo>
                    <a:pt x="44" y="262"/>
                  </a:lnTo>
                  <a:lnTo>
                    <a:pt x="56" y="272"/>
                  </a:lnTo>
                  <a:lnTo>
                    <a:pt x="68" y="282"/>
                  </a:lnTo>
                  <a:lnTo>
                    <a:pt x="80" y="290"/>
                  </a:lnTo>
                  <a:lnTo>
                    <a:pt x="94" y="296"/>
                  </a:lnTo>
                  <a:lnTo>
                    <a:pt x="108" y="302"/>
                  </a:lnTo>
                  <a:lnTo>
                    <a:pt x="122" y="304"/>
                  </a:lnTo>
                  <a:lnTo>
                    <a:pt x="138" y="308"/>
                  </a:lnTo>
                  <a:lnTo>
                    <a:pt x="154" y="308"/>
                  </a:lnTo>
                  <a:lnTo>
                    <a:pt x="154" y="308"/>
                  </a:lnTo>
                  <a:lnTo>
                    <a:pt x="168" y="308"/>
                  </a:lnTo>
                  <a:lnTo>
                    <a:pt x="184" y="304"/>
                  </a:lnTo>
                  <a:lnTo>
                    <a:pt x="198" y="302"/>
                  </a:lnTo>
                  <a:lnTo>
                    <a:pt x="212" y="296"/>
                  </a:lnTo>
                  <a:lnTo>
                    <a:pt x="226" y="290"/>
                  </a:lnTo>
                  <a:lnTo>
                    <a:pt x="240" y="282"/>
                  </a:lnTo>
                  <a:lnTo>
                    <a:pt x="250" y="272"/>
                  </a:lnTo>
                  <a:lnTo>
                    <a:pt x="262" y="262"/>
                  </a:lnTo>
                  <a:lnTo>
                    <a:pt x="272" y="252"/>
                  </a:lnTo>
                  <a:lnTo>
                    <a:pt x="280" y="240"/>
                  </a:lnTo>
                  <a:lnTo>
                    <a:pt x="288" y="228"/>
                  </a:lnTo>
                  <a:lnTo>
                    <a:pt x="294" y="214"/>
                  </a:lnTo>
                  <a:lnTo>
                    <a:pt x="300" y="200"/>
                  </a:lnTo>
                  <a:lnTo>
                    <a:pt x="304" y="186"/>
                  </a:lnTo>
                  <a:lnTo>
                    <a:pt x="306" y="170"/>
                  </a:lnTo>
                  <a:lnTo>
                    <a:pt x="306" y="154"/>
                  </a:lnTo>
                  <a:lnTo>
                    <a:pt x="306" y="154"/>
                  </a:lnTo>
                  <a:lnTo>
                    <a:pt x="306" y="138"/>
                  </a:lnTo>
                  <a:lnTo>
                    <a:pt x="304" y="124"/>
                  </a:lnTo>
                  <a:lnTo>
                    <a:pt x="300" y="108"/>
                  </a:lnTo>
                  <a:lnTo>
                    <a:pt x="294" y="94"/>
                  </a:lnTo>
                  <a:lnTo>
                    <a:pt x="288" y="80"/>
                  </a:lnTo>
                  <a:lnTo>
                    <a:pt x="280" y="68"/>
                  </a:lnTo>
                  <a:lnTo>
                    <a:pt x="272" y="56"/>
                  </a:lnTo>
                  <a:lnTo>
                    <a:pt x="262" y="46"/>
                  </a:lnTo>
                  <a:lnTo>
                    <a:pt x="250" y="36"/>
                  </a:lnTo>
                  <a:lnTo>
                    <a:pt x="240" y="26"/>
                  </a:lnTo>
                  <a:lnTo>
                    <a:pt x="226" y="18"/>
                  </a:lnTo>
                  <a:lnTo>
                    <a:pt x="212" y="12"/>
                  </a:lnTo>
                  <a:lnTo>
                    <a:pt x="198" y="8"/>
                  </a:lnTo>
                  <a:lnTo>
                    <a:pt x="184" y="4"/>
                  </a:lnTo>
                  <a:lnTo>
                    <a:pt x="168" y="0"/>
                  </a:lnTo>
                  <a:lnTo>
                    <a:pt x="154" y="0"/>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3" name="Line 106">
              <a:extLst>
                <a:ext uri="{FF2B5EF4-FFF2-40B4-BE49-F238E27FC236}">
                  <a16:creationId xmlns:a16="http://schemas.microsoft.com/office/drawing/2014/main" id="{83459623-EC64-4EB8-9907-BC31076AAFCE}"/>
                </a:ext>
              </a:extLst>
            </p:cNvPr>
            <p:cNvSpPr>
              <a:spLocks noChangeShapeType="1"/>
            </p:cNvSpPr>
            <p:nvPr/>
          </p:nvSpPr>
          <p:spPr bwMode="auto">
            <a:xfrm>
              <a:off x="-4521200" y="51816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94" name="Group 293">
            <a:extLst>
              <a:ext uri="{FF2B5EF4-FFF2-40B4-BE49-F238E27FC236}">
                <a16:creationId xmlns:a16="http://schemas.microsoft.com/office/drawing/2014/main" id="{0F44536C-9BD0-4670-BB25-F78831484738}"/>
              </a:ext>
            </a:extLst>
          </p:cNvPr>
          <p:cNvGrpSpPr/>
          <p:nvPr/>
        </p:nvGrpSpPr>
        <p:grpSpPr>
          <a:xfrm>
            <a:off x="3567482" y="3495729"/>
            <a:ext cx="421532" cy="382316"/>
            <a:chOff x="10652773" y="5125812"/>
            <a:chExt cx="600917" cy="545017"/>
          </a:xfrm>
        </p:grpSpPr>
        <p:sp>
          <p:nvSpPr>
            <p:cNvPr id="295" name="Freeform 64">
              <a:extLst>
                <a:ext uri="{FF2B5EF4-FFF2-40B4-BE49-F238E27FC236}">
                  <a16:creationId xmlns:a16="http://schemas.microsoft.com/office/drawing/2014/main" id="{0C57ED8A-4C75-42BC-9BFB-C76E254F9E16}"/>
                </a:ext>
              </a:extLst>
            </p:cNvPr>
            <p:cNvSpPr>
              <a:spLocks noEditPoints="1"/>
            </p:cNvSpPr>
            <p:nvPr/>
          </p:nvSpPr>
          <p:spPr bwMode="auto">
            <a:xfrm>
              <a:off x="10652773" y="5135793"/>
              <a:ext cx="353364" cy="523057"/>
            </a:xfrm>
            <a:custGeom>
              <a:avLst/>
              <a:gdLst>
                <a:gd name="T0" fmla="*/ 109 w 118"/>
                <a:gd name="T1" fmla="*/ 47 h 174"/>
                <a:gd name="T2" fmla="*/ 114 w 118"/>
                <a:gd name="T3" fmla="*/ 44 h 174"/>
                <a:gd name="T4" fmla="*/ 114 w 118"/>
                <a:gd name="T5" fmla="*/ 40 h 174"/>
                <a:gd name="T6" fmla="*/ 34 w 118"/>
                <a:gd name="T7" fmla="*/ 87 h 174"/>
                <a:gd name="T8" fmla="*/ 114 w 118"/>
                <a:gd name="T9" fmla="*/ 134 h 174"/>
                <a:gd name="T10" fmla="*/ 114 w 118"/>
                <a:gd name="T11" fmla="*/ 130 h 174"/>
                <a:gd name="T12" fmla="*/ 109 w 118"/>
                <a:gd name="T13" fmla="*/ 127 h 174"/>
                <a:gd name="T14" fmla="*/ 42 w 118"/>
                <a:gd name="T15" fmla="*/ 87 h 174"/>
                <a:gd name="T16" fmla="*/ 116 w 118"/>
                <a:gd name="T17" fmla="*/ 156 h 174"/>
                <a:gd name="T18" fmla="*/ 114 w 118"/>
                <a:gd name="T19" fmla="*/ 151 h 174"/>
                <a:gd name="T20" fmla="*/ 95 w 118"/>
                <a:gd name="T21" fmla="*/ 159 h 174"/>
                <a:gd name="T22" fmla="*/ 92 w 118"/>
                <a:gd name="T23" fmla="*/ 166 h 174"/>
                <a:gd name="T24" fmla="*/ 82 w 118"/>
                <a:gd name="T25" fmla="*/ 163 h 174"/>
                <a:gd name="T26" fmla="*/ 78 w 118"/>
                <a:gd name="T27" fmla="*/ 156 h 174"/>
                <a:gd name="T28" fmla="*/ 42 w 118"/>
                <a:gd name="T29" fmla="*/ 143 h 174"/>
                <a:gd name="T30" fmla="*/ 33 w 118"/>
                <a:gd name="T31" fmla="*/ 145 h 174"/>
                <a:gd name="T32" fmla="*/ 30 w 118"/>
                <a:gd name="T33" fmla="*/ 137 h 174"/>
                <a:gd name="T34" fmla="*/ 32 w 118"/>
                <a:gd name="T35" fmla="*/ 129 h 174"/>
                <a:gd name="T36" fmla="*/ 16 w 118"/>
                <a:gd name="T37" fmla="*/ 94 h 174"/>
                <a:gd name="T38" fmla="*/ 8 w 118"/>
                <a:gd name="T39" fmla="*/ 89 h 174"/>
                <a:gd name="T40" fmla="*/ 11 w 118"/>
                <a:gd name="T41" fmla="*/ 81 h 174"/>
                <a:gd name="T42" fmla="*/ 19 w 118"/>
                <a:gd name="T43" fmla="*/ 77 h 174"/>
                <a:gd name="T44" fmla="*/ 32 w 118"/>
                <a:gd name="T45" fmla="*/ 41 h 174"/>
                <a:gd name="T46" fmla="*/ 30 w 118"/>
                <a:gd name="T47" fmla="*/ 33 h 174"/>
                <a:gd name="T48" fmla="*/ 38 w 118"/>
                <a:gd name="T49" fmla="*/ 29 h 174"/>
                <a:gd name="T50" fmla="*/ 46 w 118"/>
                <a:gd name="T51" fmla="*/ 31 h 174"/>
                <a:gd name="T52" fmla="*/ 81 w 118"/>
                <a:gd name="T53" fmla="*/ 16 h 174"/>
                <a:gd name="T54" fmla="*/ 83 w 118"/>
                <a:gd name="T55" fmla="*/ 8 h 174"/>
                <a:gd name="T56" fmla="*/ 94 w 118"/>
                <a:gd name="T57" fmla="*/ 11 h 174"/>
                <a:gd name="T58" fmla="*/ 98 w 118"/>
                <a:gd name="T59" fmla="*/ 18 h 174"/>
                <a:gd name="T60" fmla="*/ 114 w 118"/>
                <a:gd name="T61" fmla="*/ 23 h 174"/>
                <a:gd name="T62" fmla="*/ 118 w 118"/>
                <a:gd name="T63" fmla="*/ 16 h 174"/>
                <a:gd name="T64" fmla="*/ 107 w 118"/>
                <a:gd name="T65" fmla="*/ 9 h 174"/>
                <a:gd name="T66" fmla="*/ 103 w 118"/>
                <a:gd name="T67" fmla="*/ 1 h 174"/>
                <a:gd name="T68" fmla="*/ 92 w 118"/>
                <a:gd name="T69" fmla="*/ 0 h 174"/>
                <a:gd name="T70" fmla="*/ 92 w 118"/>
                <a:gd name="T71" fmla="*/ 0 h 174"/>
                <a:gd name="T72" fmla="*/ 83 w 118"/>
                <a:gd name="T73" fmla="*/ 0 h 174"/>
                <a:gd name="T74" fmla="*/ 83 w 118"/>
                <a:gd name="T75" fmla="*/ 0 h 174"/>
                <a:gd name="T76" fmla="*/ 83 w 118"/>
                <a:gd name="T77" fmla="*/ 0 h 174"/>
                <a:gd name="T78" fmla="*/ 69 w 118"/>
                <a:gd name="T79" fmla="*/ 4 h 174"/>
                <a:gd name="T80" fmla="*/ 66 w 118"/>
                <a:gd name="T81" fmla="*/ 12 h 174"/>
                <a:gd name="T82" fmla="*/ 47 w 118"/>
                <a:gd name="T83" fmla="*/ 19 h 174"/>
                <a:gd name="T84" fmla="*/ 38 w 118"/>
                <a:gd name="T85" fmla="*/ 15 h 174"/>
                <a:gd name="T86" fmla="*/ 16 w 118"/>
                <a:gd name="T87" fmla="*/ 42 h 174"/>
                <a:gd name="T88" fmla="*/ 20 w 118"/>
                <a:gd name="T89" fmla="*/ 50 h 174"/>
                <a:gd name="T90" fmla="*/ 10 w 118"/>
                <a:gd name="T91" fmla="*/ 68 h 174"/>
                <a:gd name="T92" fmla="*/ 2 w 118"/>
                <a:gd name="T93" fmla="*/ 71 h 174"/>
                <a:gd name="T94" fmla="*/ 2 w 118"/>
                <a:gd name="T95" fmla="*/ 103 h 174"/>
                <a:gd name="T96" fmla="*/ 10 w 118"/>
                <a:gd name="T97" fmla="*/ 106 h 174"/>
                <a:gd name="T98" fmla="*/ 20 w 118"/>
                <a:gd name="T99" fmla="*/ 124 h 174"/>
                <a:gd name="T100" fmla="*/ 16 w 118"/>
                <a:gd name="T101" fmla="*/ 132 h 174"/>
                <a:gd name="T102" fmla="*/ 38 w 118"/>
                <a:gd name="T103" fmla="*/ 159 h 174"/>
                <a:gd name="T104" fmla="*/ 47 w 118"/>
                <a:gd name="T105" fmla="*/ 155 h 174"/>
                <a:gd name="T106" fmla="*/ 66 w 118"/>
                <a:gd name="T107" fmla="*/ 162 h 174"/>
                <a:gd name="T108" fmla="*/ 69 w 118"/>
                <a:gd name="T109" fmla="*/ 170 h 174"/>
                <a:gd name="T110" fmla="*/ 83 w 118"/>
                <a:gd name="T111" fmla="*/ 174 h 174"/>
                <a:gd name="T112" fmla="*/ 92 w 118"/>
                <a:gd name="T113" fmla="*/ 174 h 174"/>
                <a:gd name="T114" fmla="*/ 103 w 118"/>
                <a:gd name="T115" fmla="*/ 173 h 174"/>
                <a:gd name="T116" fmla="*/ 107 w 118"/>
                <a:gd name="T117" fmla="*/ 165 h 174"/>
                <a:gd name="T118" fmla="*/ 118 w 118"/>
                <a:gd name="T119" fmla="*/ 15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 h="174">
                  <a:moveTo>
                    <a:pt x="88" y="42"/>
                  </a:moveTo>
                  <a:cubicBezTo>
                    <a:pt x="96" y="42"/>
                    <a:pt x="103" y="44"/>
                    <a:pt x="109" y="47"/>
                  </a:cubicBezTo>
                  <a:cubicBezTo>
                    <a:pt x="110" y="46"/>
                    <a:pt x="110" y="46"/>
                    <a:pt x="110" y="46"/>
                  </a:cubicBezTo>
                  <a:cubicBezTo>
                    <a:pt x="111" y="45"/>
                    <a:pt x="113" y="44"/>
                    <a:pt x="114" y="44"/>
                  </a:cubicBezTo>
                  <a:cubicBezTo>
                    <a:pt x="114" y="44"/>
                    <a:pt x="114" y="44"/>
                    <a:pt x="114" y="44"/>
                  </a:cubicBezTo>
                  <a:cubicBezTo>
                    <a:pt x="114" y="40"/>
                    <a:pt x="114" y="40"/>
                    <a:pt x="114" y="40"/>
                  </a:cubicBezTo>
                  <a:cubicBezTo>
                    <a:pt x="106" y="36"/>
                    <a:pt x="97" y="33"/>
                    <a:pt x="88" y="33"/>
                  </a:cubicBezTo>
                  <a:cubicBezTo>
                    <a:pt x="58" y="33"/>
                    <a:pt x="34" y="57"/>
                    <a:pt x="34" y="87"/>
                  </a:cubicBezTo>
                  <a:cubicBezTo>
                    <a:pt x="34" y="117"/>
                    <a:pt x="58" y="141"/>
                    <a:pt x="88" y="141"/>
                  </a:cubicBezTo>
                  <a:cubicBezTo>
                    <a:pt x="97" y="141"/>
                    <a:pt x="106" y="138"/>
                    <a:pt x="114" y="134"/>
                  </a:cubicBezTo>
                  <a:cubicBezTo>
                    <a:pt x="114" y="130"/>
                    <a:pt x="114" y="130"/>
                    <a:pt x="114" y="130"/>
                  </a:cubicBezTo>
                  <a:cubicBezTo>
                    <a:pt x="114" y="130"/>
                    <a:pt x="114" y="130"/>
                    <a:pt x="114" y="130"/>
                  </a:cubicBezTo>
                  <a:cubicBezTo>
                    <a:pt x="113" y="130"/>
                    <a:pt x="111" y="129"/>
                    <a:pt x="110" y="128"/>
                  </a:cubicBezTo>
                  <a:cubicBezTo>
                    <a:pt x="109" y="127"/>
                    <a:pt x="109" y="127"/>
                    <a:pt x="109" y="127"/>
                  </a:cubicBezTo>
                  <a:cubicBezTo>
                    <a:pt x="103" y="131"/>
                    <a:pt x="96" y="133"/>
                    <a:pt x="88" y="133"/>
                  </a:cubicBezTo>
                  <a:cubicBezTo>
                    <a:pt x="63" y="133"/>
                    <a:pt x="42" y="112"/>
                    <a:pt x="42" y="87"/>
                  </a:cubicBezTo>
                  <a:cubicBezTo>
                    <a:pt x="42" y="62"/>
                    <a:pt x="63" y="42"/>
                    <a:pt x="88" y="42"/>
                  </a:cubicBezTo>
                  <a:close/>
                  <a:moveTo>
                    <a:pt x="116" y="156"/>
                  </a:moveTo>
                  <a:cubicBezTo>
                    <a:pt x="115" y="155"/>
                    <a:pt x="114" y="153"/>
                    <a:pt x="114" y="151"/>
                  </a:cubicBezTo>
                  <a:cubicBezTo>
                    <a:pt x="114" y="151"/>
                    <a:pt x="114" y="151"/>
                    <a:pt x="114" y="151"/>
                  </a:cubicBezTo>
                  <a:cubicBezTo>
                    <a:pt x="109" y="153"/>
                    <a:pt x="104" y="155"/>
                    <a:pt x="98" y="156"/>
                  </a:cubicBezTo>
                  <a:cubicBezTo>
                    <a:pt x="96" y="156"/>
                    <a:pt x="95" y="157"/>
                    <a:pt x="95" y="159"/>
                  </a:cubicBezTo>
                  <a:cubicBezTo>
                    <a:pt x="94" y="160"/>
                    <a:pt x="94" y="162"/>
                    <a:pt x="94" y="163"/>
                  </a:cubicBezTo>
                  <a:cubicBezTo>
                    <a:pt x="94" y="165"/>
                    <a:pt x="93" y="166"/>
                    <a:pt x="92" y="166"/>
                  </a:cubicBezTo>
                  <a:cubicBezTo>
                    <a:pt x="90" y="167"/>
                    <a:pt x="85" y="167"/>
                    <a:pt x="83" y="166"/>
                  </a:cubicBezTo>
                  <a:cubicBezTo>
                    <a:pt x="82" y="166"/>
                    <a:pt x="82" y="165"/>
                    <a:pt x="82" y="163"/>
                  </a:cubicBezTo>
                  <a:cubicBezTo>
                    <a:pt x="81" y="162"/>
                    <a:pt x="81" y="160"/>
                    <a:pt x="81" y="159"/>
                  </a:cubicBezTo>
                  <a:cubicBezTo>
                    <a:pt x="80" y="157"/>
                    <a:pt x="79" y="156"/>
                    <a:pt x="78" y="156"/>
                  </a:cubicBezTo>
                  <a:cubicBezTo>
                    <a:pt x="66" y="154"/>
                    <a:pt x="55" y="150"/>
                    <a:pt x="46" y="143"/>
                  </a:cubicBezTo>
                  <a:cubicBezTo>
                    <a:pt x="45" y="142"/>
                    <a:pt x="44" y="142"/>
                    <a:pt x="42" y="143"/>
                  </a:cubicBezTo>
                  <a:cubicBezTo>
                    <a:pt x="41" y="143"/>
                    <a:pt x="40" y="144"/>
                    <a:pt x="38" y="145"/>
                  </a:cubicBezTo>
                  <a:cubicBezTo>
                    <a:pt x="37" y="146"/>
                    <a:pt x="35" y="146"/>
                    <a:pt x="33" y="145"/>
                  </a:cubicBezTo>
                  <a:cubicBezTo>
                    <a:pt x="32" y="144"/>
                    <a:pt x="31" y="143"/>
                    <a:pt x="30" y="141"/>
                  </a:cubicBezTo>
                  <a:cubicBezTo>
                    <a:pt x="29" y="140"/>
                    <a:pt x="29" y="138"/>
                    <a:pt x="30" y="137"/>
                  </a:cubicBezTo>
                  <a:cubicBezTo>
                    <a:pt x="31" y="135"/>
                    <a:pt x="32" y="134"/>
                    <a:pt x="32" y="133"/>
                  </a:cubicBezTo>
                  <a:cubicBezTo>
                    <a:pt x="33" y="131"/>
                    <a:pt x="33" y="130"/>
                    <a:pt x="32" y="129"/>
                  </a:cubicBezTo>
                  <a:cubicBezTo>
                    <a:pt x="25" y="120"/>
                    <a:pt x="21" y="109"/>
                    <a:pt x="19" y="97"/>
                  </a:cubicBezTo>
                  <a:cubicBezTo>
                    <a:pt x="19" y="96"/>
                    <a:pt x="18" y="94"/>
                    <a:pt x="16" y="94"/>
                  </a:cubicBezTo>
                  <a:cubicBezTo>
                    <a:pt x="15" y="94"/>
                    <a:pt x="13" y="93"/>
                    <a:pt x="11" y="93"/>
                  </a:cubicBezTo>
                  <a:cubicBezTo>
                    <a:pt x="10" y="93"/>
                    <a:pt x="8" y="91"/>
                    <a:pt x="8" y="89"/>
                  </a:cubicBezTo>
                  <a:cubicBezTo>
                    <a:pt x="8" y="88"/>
                    <a:pt x="8" y="86"/>
                    <a:pt x="8" y="85"/>
                  </a:cubicBezTo>
                  <a:cubicBezTo>
                    <a:pt x="8" y="83"/>
                    <a:pt x="10" y="81"/>
                    <a:pt x="11" y="81"/>
                  </a:cubicBezTo>
                  <a:cubicBezTo>
                    <a:pt x="13" y="81"/>
                    <a:pt x="15" y="80"/>
                    <a:pt x="16" y="80"/>
                  </a:cubicBezTo>
                  <a:cubicBezTo>
                    <a:pt x="18" y="80"/>
                    <a:pt x="19" y="78"/>
                    <a:pt x="19" y="77"/>
                  </a:cubicBezTo>
                  <a:cubicBezTo>
                    <a:pt x="21" y="65"/>
                    <a:pt x="25" y="55"/>
                    <a:pt x="32" y="46"/>
                  </a:cubicBezTo>
                  <a:cubicBezTo>
                    <a:pt x="33" y="44"/>
                    <a:pt x="33" y="43"/>
                    <a:pt x="32" y="41"/>
                  </a:cubicBezTo>
                  <a:cubicBezTo>
                    <a:pt x="32" y="40"/>
                    <a:pt x="31" y="39"/>
                    <a:pt x="30" y="37"/>
                  </a:cubicBezTo>
                  <a:cubicBezTo>
                    <a:pt x="29" y="36"/>
                    <a:pt x="29" y="34"/>
                    <a:pt x="30" y="33"/>
                  </a:cubicBezTo>
                  <a:cubicBezTo>
                    <a:pt x="31" y="31"/>
                    <a:pt x="32" y="30"/>
                    <a:pt x="33" y="29"/>
                  </a:cubicBezTo>
                  <a:cubicBezTo>
                    <a:pt x="35" y="28"/>
                    <a:pt x="37" y="28"/>
                    <a:pt x="38" y="29"/>
                  </a:cubicBezTo>
                  <a:cubicBezTo>
                    <a:pt x="40" y="30"/>
                    <a:pt x="41" y="31"/>
                    <a:pt x="42" y="32"/>
                  </a:cubicBezTo>
                  <a:cubicBezTo>
                    <a:pt x="43" y="32"/>
                    <a:pt x="45" y="32"/>
                    <a:pt x="46" y="31"/>
                  </a:cubicBezTo>
                  <a:cubicBezTo>
                    <a:pt x="55" y="25"/>
                    <a:pt x="66" y="20"/>
                    <a:pt x="78" y="18"/>
                  </a:cubicBezTo>
                  <a:cubicBezTo>
                    <a:pt x="79" y="18"/>
                    <a:pt x="80" y="17"/>
                    <a:pt x="81" y="16"/>
                  </a:cubicBezTo>
                  <a:cubicBezTo>
                    <a:pt x="81" y="14"/>
                    <a:pt x="81" y="12"/>
                    <a:pt x="82" y="11"/>
                  </a:cubicBezTo>
                  <a:cubicBezTo>
                    <a:pt x="82" y="10"/>
                    <a:pt x="82" y="8"/>
                    <a:pt x="83" y="8"/>
                  </a:cubicBezTo>
                  <a:cubicBezTo>
                    <a:pt x="85" y="8"/>
                    <a:pt x="90" y="7"/>
                    <a:pt x="92" y="8"/>
                  </a:cubicBezTo>
                  <a:cubicBezTo>
                    <a:pt x="93" y="8"/>
                    <a:pt x="94" y="10"/>
                    <a:pt x="94" y="11"/>
                  </a:cubicBezTo>
                  <a:cubicBezTo>
                    <a:pt x="94" y="12"/>
                    <a:pt x="94" y="14"/>
                    <a:pt x="95" y="16"/>
                  </a:cubicBezTo>
                  <a:cubicBezTo>
                    <a:pt x="95" y="17"/>
                    <a:pt x="96" y="18"/>
                    <a:pt x="98" y="18"/>
                  </a:cubicBezTo>
                  <a:cubicBezTo>
                    <a:pt x="104" y="19"/>
                    <a:pt x="109" y="21"/>
                    <a:pt x="114" y="23"/>
                  </a:cubicBezTo>
                  <a:cubicBezTo>
                    <a:pt x="114" y="23"/>
                    <a:pt x="114" y="23"/>
                    <a:pt x="114" y="23"/>
                  </a:cubicBezTo>
                  <a:cubicBezTo>
                    <a:pt x="114" y="21"/>
                    <a:pt x="115" y="19"/>
                    <a:pt x="116" y="18"/>
                  </a:cubicBezTo>
                  <a:cubicBezTo>
                    <a:pt x="118" y="16"/>
                    <a:pt x="118" y="16"/>
                    <a:pt x="118" y="16"/>
                  </a:cubicBezTo>
                  <a:cubicBezTo>
                    <a:pt x="116" y="14"/>
                    <a:pt x="113" y="13"/>
                    <a:pt x="110" y="12"/>
                  </a:cubicBezTo>
                  <a:cubicBezTo>
                    <a:pt x="108" y="12"/>
                    <a:pt x="107" y="11"/>
                    <a:pt x="107" y="9"/>
                  </a:cubicBezTo>
                  <a:cubicBezTo>
                    <a:pt x="107" y="8"/>
                    <a:pt x="107" y="6"/>
                    <a:pt x="106" y="4"/>
                  </a:cubicBezTo>
                  <a:cubicBezTo>
                    <a:pt x="106" y="2"/>
                    <a:pt x="105" y="2"/>
                    <a:pt x="103" y="1"/>
                  </a:cubicBezTo>
                  <a:cubicBezTo>
                    <a:pt x="100" y="0"/>
                    <a:pt x="96" y="0"/>
                    <a:pt x="92" y="0"/>
                  </a:cubicBezTo>
                  <a:cubicBezTo>
                    <a:pt x="92" y="0"/>
                    <a:pt x="92" y="0"/>
                    <a:pt x="92" y="0"/>
                  </a:cubicBezTo>
                  <a:cubicBezTo>
                    <a:pt x="92" y="0"/>
                    <a:pt x="92" y="0"/>
                    <a:pt x="92" y="0"/>
                  </a:cubicBezTo>
                  <a:cubicBezTo>
                    <a:pt x="92" y="0"/>
                    <a:pt x="92" y="0"/>
                    <a:pt x="92" y="0"/>
                  </a:cubicBezTo>
                  <a:cubicBezTo>
                    <a:pt x="92" y="0"/>
                    <a:pt x="92" y="0"/>
                    <a:pt x="92"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79" y="0"/>
                    <a:pt x="76" y="0"/>
                    <a:pt x="72" y="1"/>
                  </a:cubicBezTo>
                  <a:cubicBezTo>
                    <a:pt x="70" y="2"/>
                    <a:pt x="69" y="2"/>
                    <a:pt x="69" y="4"/>
                  </a:cubicBezTo>
                  <a:cubicBezTo>
                    <a:pt x="69" y="6"/>
                    <a:pt x="69" y="8"/>
                    <a:pt x="68" y="9"/>
                  </a:cubicBezTo>
                  <a:cubicBezTo>
                    <a:pt x="68" y="11"/>
                    <a:pt x="67" y="12"/>
                    <a:pt x="66" y="12"/>
                  </a:cubicBezTo>
                  <a:cubicBezTo>
                    <a:pt x="60" y="14"/>
                    <a:pt x="55" y="16"/>
                    <a:pt x="50" y="19"/>
                  </a:cubicBezTo>
                  <a:cubicBezTo>
                    <a:pt x="49" y="19"/>
                    <a:pt x="48" y="19"/>
                    <a:pt x="47" y="19"/>
                  </a:cubicBezTo>
                  <a:cubicBezTo>
                    <a:pt x="45" y="18"/>
                    <a:pt x="44" y="17"/>
                    <a:pt x="42" y="15"/>
                  </a:cubicBezTo>
                  <a:cubicBezTo>
                    <a:pt x="41" y="14"/>
                    <a:pt x="39" y="14"/>
                    <a:pt x="38" y="15"/>
                  </a:cubicBezTo>
                  <a:cubicBezTo>
                    <a:pt x="29" y="21"/>
                    <a:pt x="22" y="29"/>
                    <a:pt x="16" y="37"/>
                  </a:cubicBezTo>
                  <a:cubicBezTo>
                    <a:pt x="15" y="39"/>
                    <a:pt x="15" y="41"/>
                    <a:pt x="16" y="42"/>
                  </a:cubicBezTo>
                  <a:cubicBezTo>
                    <a:pt x="17" y="43"/>
                    <a:pt x="18" y="45"/>
                    <a:pt x="19" y="46"/>
                  </a:cubicBezTo>
                  <a:cubicBezTo>
                    <a:pt x="20" y="47"/>
                    <a:pt x="20" y="49"/>
                    <a:pt x="20" y="50"/>
                  </a:cubicBezTo>
                  <a:cubicBezTo>
                    <a:pt x="17" y="55"/>
                    <a:pt x="15" y="60"/>
                    <a:pt x="13" y="65"/>
                  </a:cubicBezTo>
                  <a:cubicBezTo>
                    <a:pt x="13" y="66"/>
                    <a:pt x="12" y="68"/>
                    <a:pt x="10" y="68"/>
                  </a:cubicBezTo>
                  <a:cubicBezTo>
                    <a:pt x="9" y="68"/>
                    <a:pt x="7" y="68"/>
                    <a:pt x="5" y="68"/>
                  </a:cubicBezTo>
                  <a:cubicBezTo>
                    <a:pt x="4" y="69"/>
                    <a:pt x="2" y="70"/>
                    <a:pt x="2" y="71"/>
                  </a:cubicBezTo>
                  <a:cubicBezTo>
                    <a:pt x="1" y="77"/>
                    <a:pt x="0" y="82"/>
                    <a:pt x="0" y="87"/>
                  </a:cubicBezTo>
                  <a:cubicBezTo>
                    <a:pt x="0" y="92"/>
                    <a:pt x="1" y="98"/>
                    <a:pt x="2" y="103"/>
                  </a:cubicBezTo>
                  <a:cubicBezTo>
                    <a:pt x="2" y="104"/>
                    <a:pt x="4" y="105"/>
                    <a:pt x="5" y="106"/>
                  </a:cubicBezTo>
                  <a:cubicBezTo>
                    <a:pt x="7" y="106"/>
                    <a:pt x="9" y="106"/>
                    <a:pt x="10" y="106"/>
                  </a:cubicBezTo>
                  <a:cubicBezTo>
                    <a:pt x="12" y="107"/>
                    <a:pt x="13" y="108"/>
                    <a:pt x="13" y="109"/>
                  </a:cubicBezTo>
                  <a:cubicBezTo>
                    <a:pt x="15" y="114"/>
                    <a:pt x="17" y="119"/>
                    <a:pt x="20" y="124"/>
                  </a:cubicBezTo>
                  <a:cubicBezTo>
                    <a:pt x="20" y="126"/>
                    <a:pt x="20" y="127"/>
                    <a:pt x="19" y="128"/>
                  </a:cubicBezTo>
                  <a:cubicBezTo>
                    <a:pt x="18" y="130"/>
                    <a:pt x="17" y="131"/>
                    <a:pt x="16" y="132"/>
                  </a:cubicBezTo>
                  <a:cubicBezTo>
                    <a:pt x="15" y="134"/>
                    <a:pt x="15" y="135"/>
                    <a:pt x="16" y="137"/>
                  </a:cubicBezTo>
                  <a:cubicBezTo>
                    <a:pt x="22" y="145"/>
                    <a:pt x="29" y="153"/>
                    <a:pt x="38" y="159"/>
                  </a:cubicBezTo>
                  <a:cubicBezTo>
                    <a:pt x="39" y="160"/>
                    <a:pt x="41" y="160"/>
                    <a:pt x="42" y="159"/>
                  </a:cubicBezTo>
                  <a:cubicBezTo>
                    <a:pt x="44" y="157"/>
                    <a:pt x="46" y="156"/>
                    <a:pt x="47" y="155"/>
                  </a:cubicBezTo>
                  <a:cubicBezTo>
                    <a:pt x="48" y="155"/>
                    <a:pt x="49" y="155"/>
                    <a:pt x="51" y="155"/>
                  </a:cubicBezTo>
                  <a:cubicBezTo>
                    <a:pt x="55" y="158"/>
                    <a:pt x="60" y="160"/>
                    <a:pt x="66" y="162"/>
                  </a:cubicBezTo>
                  <a:cubicBezTo>
                    <a:pt x="67" y="162"/>
                    <a:pt x="68" y="163"/>
                    <a:pt x="68" y="165"/>
                  </a:cubicBezTo>
                  <a:cubicBezTo>
                    <a:pt x="69" y="166"/>
                    <a:pt x="69" y="168"/>
                    <a:pt x="69" y="170"/>
                  </a:cubicBezTo>
                  <a:cubicBezTo>
                    <a:pt x="69" y="171"/>
                    <a:pt x="70" y="173"/>
                    <a:pt x="72" y="173"/>
                  </a:cubicBezTo>
                  <a:cubicBezTo>
                    <a:pt x="76" y="174"/>
                    <a:pt x="79" y="174"/>
                    <a:pt x="83" y="174"/>
                  </a:cubicBezTo>
                  <a:cubicBezTo>
                    <a:pt x="83" y="174"/>
                    <a:pt x="83" y="174"/>
                    <a:pt x="83" y="174"/>
                  </a:cubicBezTo>
                  <a:cubicBezTo>
                    <a:pt x="92" y="174"/>
                    <a:pt x="92" y="174"/>
                    <a:pt x="92" y="174"/>
                  </a:cubicBezTo>
                  <a:cubicBezTo>
                    <a:pt x="92" y="174"/>
                    <a:pt x="92" y="174"/>
                    <a:pt x="92" y="174"/>
                  </a:cubicBezTo>
                  <a:cubicBezTo>
                    <a:pt x="96" y="174"/>
                    <a:pt x="100" y="174"/>
                    <a:pt x="103" y="173"/>
                  </a:cubicBezTo>
                  <a:cubicBezTo>
                    <a:pt x="105" y="173"/>
                    <a:pt x="106" y="171"/>
                    <a:pt x="106" y="170"/>
                  </a:cubicBezTo>
                  <a:cubicBezTo>
                    <a:pt x="107" y="168"/>
                    <a:pt x="107" y="166"/>
                    <a:pt x="107" y="165"/>
                  </a:cubicBezTo>
                  <a:cubicBezTo>
                    <a:pt x="107" y="163"/>
                    <a:pt x="108" y="162"/>
                    <a:pt x="110" y="162"/>
                  </a:cubicBezTo>
                  <a:cubicBezTo>
                    <a:pt x="113" y="161"/>
                    <a:pt x="116" y="160"/>
                    <a:pt x="118" y="159"/>
                  </a:cubicBezTo>
                  <a:lnTo>
                    <a:pt x="116" y="156"/>
                  </a:ln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6" name="Freeform 65">
              <a:extLst>
                <a:ext uri="{FF2B5EF4-FFF2-40B4-BE49-F238E27FC236}">
                  <a16:creationId xmlns:a16="http://schemas.microsoft.com/office/drawing/2014/main" id="{52A7580F-1591-4718-A56A-98F780DDEEE3}"/>
                </a:ext>
              </a:extLst>
            </p:cNvPr>
            <p:cNvSpPr>
              <a:spLocks noEditPoints="1"/>
            </p:cNvSpPr>
            <p:nvPr/>
          </p:nvSpPr>
          <p:spPr bwMode="auto">
            <a:xfrm>
              <a:off x="11145884" y="5343419"/>
              <a:ext cx="107806" cy="107806"/>
            </a:xfrm>
            <a:custGeom>
              <a:avLst/>
              <a:gdLst>
                <a:gd name="T0" fmla="*/ 18 w 36"/>
                <a:gd name="T1" fmla="*/ 0 h 36"/>
                <a:gd name="T2" fmla="*/ 0 w 36"/>
                <a:gd name="T3" fmla="*/ 18 h 36"/>
                <a:gd name="T4" fmla="*/ 18 w 36"/>
                <a:gd name="T5" fmla="*/ 36 h 36"/>
                <a:gd name="T6" fmla="*/ 36 w 36"/>
                <a:gd name="T7" fmla="*/ 18 h 36"/>
                <a:gd name="T8" fmla="*/ 18 w 36"/>
                <a:gd name="T9" fmla="*/ 0 h 36"/>
                <a:gd name="T10" fmla="*/ 18 w 36"/>
                <a:gd name="T11" fmla="*/ 30 h 36"/>
                <a:gd name="T12" fmla="*/ 6 w 36"/>
                <a:gd name="T13" fmla="*/ 18 h 36"/>
                <a:gd name="T14" fmla="*/ 18 w 36"/>
                <a:gd name="T15" fmla="*/ 6 h 36"/>
                <a:gd name="T16" fmla="*/ 30 w 36"/>
                <a:gd name="T17" fmla="*/ 18 h 36"/>
                <a:gd name="T18" fmla="*/ 18 w 36"/>
                <a:gd name="T19"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0"/>
                  </a:moveTo>
                  <a:cubicBezTo>
                    <a:pt x="8" y="0"/>
                    <a:pt x="0" y="8"/>
                    <a:pt x="0" y="18"/>
                  </a:cubicBezTo>
                  <a:cubicBezTo>
                    <a:pt x="0" y="28"/>
                    <a:pt x="8" y="36"/>
                    <a:pt x="18" y="36"/>
                  </a:cubicBezTo>
                  <a:cubicBezTo>
                    <a:pt x="28" y="36"/>
                    <a:pt x="36" y="28"/>
                    <a:pt x="36" y="18"/>
                  </a:cubicBezTo>
                  <a:cubicBezTo>
                    <a:pt x="36" y="8"/>
                    <a:pt x="28" y="0"/>
                    <a:pt x="18" y="0"/>
                  </a:cubicBezTo>
                  <a:close/>
                  <a:moveTo>
                    <a:pt x="18" y="30"/>
                  </a:moveTo>
                  <a:cubicBezTo>
                    <a:pt x="12" y="30"/>
                    <a:pt x="6" y="25"/>
                    <a:pt x="6" y="18"/>
                  </a:cubicBezTo>
                  <a:cubicBezTo>
                    <a:pt x="6" y="11"/>
                    <a:pt x="12" y="6"/>
                    <a:pt x="18" y="6"/>
                  </a:cubicBezTo>
                  <a:cubicBezTo>
                    <a:pt x="25" y="6"/>
                    <a:pt x="30" y="11"/>
                    <a:pt x="30" y="18"/>
                  </a:cubicBezTo>
                  <a:cubicBezTo>
                    <a:pt x="30" y="25"/>
                    <a:pt x="25" y="30"/>
                    <a:pt x="18" y="3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97" name="Freeform 66">
              <a:extLst>
                <a:ext uri="{FF2B5EF4-FFF2-40B4-BE49-F238E27FC236}">
                  <a16:creationId xmlns:a16="http://schemas.microsoft.com/office/drawing/2014/main" id="{7E2C5CB7-542D-4DB4-B865-7A9048C0A3D5}"/>
                </a:ext>
              </a:extLst>
            </p:cNvPr>
            <p:cNvSpPr>
              <a:spLocks noEditPoints="1"/>
            </p:cNvSpPr>
            <p:nvPr/>
          </p:nvSpPr>
          <p:spPr bwMode="auto">
            <a:xfrm>
              <a:off x="10860399" y="5343419"/>
              <a:ext cx="267518" cy="107806"/>
            </a:xfrm>
            <a:custGeom>
              <a:avLst/>
              <a:gdLst>
                <a:gd name="T0" fmla="*/ 89 w 89"/>
                <a:gd name="T1" fmla="*/ 18 h 36"/>
                <a:gd name="T2" fmla="*/ 89 w 89"/>
                <a:gd name="T3" fmla="*/ 15 h 36"/>
                <a:gd name="T4" fmla="*/ 36 w 89"/>
                <a:gd name="T5" fmla="*/ 15 h 36"/>
                <a:gd name="T6" fmla="*/ 18 w 89"/>
                <a:gd name="T7" fmla="*/ 0 h 36"/>
                <a:gd name="T8" fmla="*/ 0 w 89"/>
                <a:gd name="T9" fmla="*/ 18 h 36"/>
                <a:gd name="T10" fmla="*/ 18 w 89"/>
                <a:gd name="T11" fmla="*/ 36 h 36"/>
                <a:gd name="T12" fmla="*/ 36 w 89"/>
                <a:gd name="T13" fmla="*/ 22 h 36"/>
                <a:gd name="T14" fmla="*/ 89 w 89"/>
                <a:gd name="T15" fmla="*/ 22 h 36"/>
                <a:gd name="T16" fmla="*/ 89 w 89"/>
                <a:gd name="T17" fmla="*/ 18 h 36"/>
                <a:gd name="T18" fmla="*/ 18 w 89"/>
                <a:gd name="T19" fmla="*/ 30 h 36"/>
                <a:gd name="T20" fmla="*/ 6 w 89"/>
                <a:gd name="T21" fmla="*/ 18 h 36"/>
                <a:gd name="T22" fmla="*/ 18 w 89"/>
                <a:gd name="T23" fmla="*/ 6 h 36"/>
                <a:gd name="T24" fmla="*/ 31 w 89"/>
                <a:gd name="T25" fmla="*/ 18 h 36"/>
                <a:gd name="T26" fmla="*/ 18 w 89"/>
                <a:gd name="T27"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36">
                  <a:moveTo>
                    <a:pt x="89" y="18"/>
                  </a:moveTo>
                  <a:cubicBezTo>
                    <a:pt x="89" y="17"/>
                    <a:pt x="89" y="16"/>
                    <a:pt x="89" y="15"/>
                  </a:cubicBezTo>
                  <a:cubicBezTo>
                    <a:pt x="36" y="15"/>
                    <a:pt x="36" y="15"/>
                    <a:pt x="36" y="15"/>
                  </a:cubicBezTo>
                  <a:cubicBezTo>
                    <a:pt x="35" y="6"/>
                    <a:pt x="27" y="0"/>
                    <a:pt x="18" y="0"/>
                  </a:cubicBezTo>
                  <a:cubicBezTo>
                    <a:pt x="8" y="0"/>
                    <a:pt x="0" y="8"/>
                    <a:pt x="0" y="18"/>
                  </a:cubicBezTo>
                  <a:cubicBezTo>
                    <a:pt x="0" y="28"/>
                    <a:pt x="8" y="36"/>
                    <a:pt x="18" y="36"/>
                  </a:cubicBezTo>
                  <a:cubicBezTo>
                    <a:pt x="27" y="36"/>
                    <a:pt x="35" y="30"/>
                    <a:pt x="36" y="22"/>
                  </a:cubicBezTo>
                  <a:cubicBezTo>
                    <a:pt x="89" y="22"/>
                    <a:pt x="89" y="22"/>
                    <a:pt x="89" y="22"/>
                  </a:cubicBezTo>
                  <a:cubicBezTo>
                    <a:pt x="89" y="20"/>
                    <a:pt x="89" y="19"/>
                    <a:pt x="89" y="18"/>
                  </a:cubicBezTo>
                  <a:close/>
                  <a:moveTo>
                    <a:pt x="18" y="30"/>
                  </a:moveTo>
                  <a:cubicBezTo>
                    <a:pt x="12" y="30"/>
                    <a:pt x="6" y="25"/>
                    <a:pt x="6" y="18"/>
                  </a:cubicBezTo>
                  <a:cubicBezTo>
                    <a:pt x="6" y="11"/>
                    <a:pt x="12" y="6"/>
                    <a:pt x="18" y="6"/>
                  </a:cubicBezTo>
                  <a:cubicBezTo>
                    <a:pt x="25" y="6"/>
                    <a:pt x="31" y="11"/>
                    <a:pt x="31" y="18"/>
                  </a:cubicBezTo>
                  <a:cubicBezTo>
                    <a:pt x="31" y="25"/>
                    <a:pt x="25" y="30"/>
                    <a:pt x="18" y="3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98" name="Freeform 67">
              <a:extLst>
                <a:ext uri="{FF2B5EF4-FFF2-40B4-BE49-F238E27FC236}">
                  <a16:creationId xmlns:a16="http://schemas.microsoft.com/office/drawing/2014/main" id="{91858D43-1DB2-41C6-832B-ED9390537059}"/>
                </a:ext>
              </a:extLst>
            </p:cNvPr>
            <p:cNvSpPr>
              <a:spLocks noEditPoints="1"/>
            </p:cNvSpPr>
            <p:nvPr/>
          </p:nvSpPr>
          <p:spPr bwMode="auto">
            <a:xfrm>
              <a:off x="11058043" y="5243599"/>
              <a:ext cx="111799" cy="111799"/>
            </a:xfrm>
            <a:custGeom>
              <a:avLst/>
              <a:gdLst>
                <a:gd name="T0" fmla="*/ 18 w 37"/>
                <a:gd name="T1" fmla="*/ 0 h 37"/>
                <a:gd name="T2" fmla="*/ 0 w 37"/>
                <a:gd name="T3" fmla="*/ 18 h 37"/>
                <a:gd name="T4" fmla="*/ 18 w 37"/>
                <a:gd name="T5" fmla="*/ 37 h 37"/>
                <a:gd name="T6" fmla="*/ 37 w 37"/>
                <a:gd name="T7" fmla="*/ 18 h 37"/>
                <a:gd name="T8" fmla="*/ 18 w 37"/>
                <a:gd name="T9" fmla="*/ 0 h 37"/>
                <a:gd name="T10" fmla="*/ 18 w 37"/>
                <a:gd name="T11" fmla="*/ 31 h 37"/>
                <a:gd name="T12" fmla="*/ 6 w 37"/>
                <a:gd name="T13" fmla="*/ 18 h 37"/>
                <a:gd name="T14" fmla="*/ 18 w 37"/>
                <a:gd name="T15" fmla="*/ 6 h 37"/>
                <a:gd name="T16" fmla="*/ 31 w 37"/>
                <a:gd name="T17" fmla="*/ 18 h 37"/>
                <a:gd name="T18" fmla="*/ 18 w 37"/>
                <a:gd name="T19"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7">
                  <a:moveTo>
                    <a:pt x="18" y="0"/>
                  </a:moveTo>
                  <a:cubicBezTo>
                    <a:pt x="8" y="0"/>
                    <a:pt x="0" y="8"/>
                    <a:pt x="0" y="18"/>
                  </a:cubicBezTo>
                  <a:cubicBezTo>
                    <a:pt x="0" y="28"/>
                    <a:pt x="8" y="37"/>
                    <a:pt x="18" y="37"/>
                  </a:cubicBezTo>
                  <a:cubicBezTo>
                    <a:pt x="28" y="37"/>
                    <a:pt x="37" y="28"/>
                    <a:pt x="37" y="18"/>
                  </a:cubicBezTo>
                  <a:cubicBezTo>
                    <a:pt x="37" y="8"/>
                    <a:pt x="28" y="0"/>
                    <a:pt x="18" y="0"/>
                  </a:cubicBezTo>
                  <a:close/>
                  <a:moveTo>
                    <a:pt x="18" y="31"/>
                  </a:moveTo>
                  <a:cubicBezTo>
                    <a:pt x="12" y="31"/>
                    <a:pt x="6" y="25"/>
                    <a:pt x="6" y="18"/>
                  </a:cubicBezTo>
                  <a:cubicBezTo>
                    <a:pt x="6" y="12"/>
                    <a:pt x="12" y="6"/>
                    <a:pt x="18" y="6"/>
                  </a:cubicBezTo>
                  <a:cubicBezTo>
                    <a:pt x="25" y="6"/>
                    <a:pt x="31" y="12"/>
                    <a:pt x="31" y="18"/>
                  </a:cubicBezTo>
                  <a:cubicBezTo>
                    <a:pt x="31" y="25"/>
                    <a:pt x="25" y="31"/>
                    <a:pt x="18" y="3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99" name="Freeform 68">
              <a:extLst>
                <a:ext uri="{FF2B5EF4-FFF2-40B4-BE49-F238E27FC236}">
                  <a16:creationId xmlns:a16="http://schemas.microsoft.com/office/drawing/2014/main" id="{9F74AA29-D57E-43F5-B586-7FD2778DE479}"/>
                </a:ext>
              </a:extLst>
            </p:cNvPr>
            <p:cNvSpPr>
              <a:spLocks noEditPoints="1"/>
            </p:cNvSpPr>
            <p:nvPr/>
          </p:nvSpPr>
          <p:spPr bwMode="auto">
            <a:xfrm>
              <a:off x="11109949" y="5125812"/>
              <a:ext cx="109803" cy="109803"/>
            </a:xfrm>
            <a:custGeom>
              <a:avLst/>
              <a:gdLst>
                <a:gd name="T0" fmla="*/ 19 w 37"/>
                <a:gd name="T1" fmla="*/ 0 h 36"/>
                <a:gd name="T2" fmla="*/ 0 w 37"/>
                <a:gd name="T3" fmla="*/ 18 h 36"/>
                <a:gd name="T4" fmla="*/ 19 w 37"/>
                <a:gd name="T5" fmla="*/ 36 h 36"/>
                <a:gd name="T6" fmla="*/ 37 w 37"/>
                <a:gd name="T7" fmla="*/ 18 h 36"/>
                <a:gd name="T8" fmla="*/ 19 w 37"/>
                <a:gd name="T9" fmla="*/ 0 h 36"/>
                <a:gd name="T10" fmla="*/ 19 w 37"/>
                <a:gd name="T11" fmla="*/ 30 h 36"/>
                <a:gd name="T12" fmla="*/ 6 w 37"/>
                <a:gd name="T13" fmla="*/ 18 h 36"/>
                <a:gd name="T14" fmla="*/ 19 w 37"/>
                <a:gd name="T15" fmla="*/ 6 h 36"/>
                <a:gd name="T16" fmla="*/ 31 w 37"/>
                <a:gd name="T17" fmla="*/ 18 h 36"/>
                <a:gd name="T18" fmla="*/ 19 w 37"/>
                <a:gd name="T19"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0"/>
                  </a:moveTo>
                  <a:cubicBezTo>
                    <a:pt x="9" y="0"/>
                    <a:pt x="0" y="8"/>
                    <a:pt x="0" y="18"/>
                  </a:cubicBezTo>
                  <a:cubicBezTo>
                    <a:pt x="0" y="28"/>
                    <a:pt x="9" y="36"/>
                    <a:pt x="19" y="36"/>
                  </a:cubicBezTo>
                  <a:cubicBezTo>
                    <a:pt x="29" y="36"/>
                    <a:pt x="37" y="28"/>
                    <a:pt x="37" y="18"/>
                  </a:cubicBezTo>
                  <a:cubicBezTo>
                    <a:pt x="37" y="8"/>
                    <a:pt x="29" y="0"/>
                    <a:pt x="19" y="0"/>
                  </a:cubicBezTo>
                  <a:close/>
                  <a:moveTo>
                    <a:pt x="19" y="30"/>
                  </a:moveTo>
                  <a:cubicBezTo>
                    <a:pt x="12" y="30"/>
                    <a:pt x="6" y="24"/>
                    <a:pt x="6" y="18"/>
                  </a:cubicBezTo>
                  <a:cubicBezTo>
                    <a:pt x="6" y="11"/>
                    <a:pt x="12" y="6"/>
                    <a:pt x="19" y="6"/>
                  </a:cubicBezTo>
                  <a:cubicBezTo>
                    <a:pt x="25" y="6"/>
                    <a:pt x="31" y="11"/>
                    <a:pt x="31" y="18"/>
                  </a:cubicBezTo>
                  <a:cubicBezTo>
                    <a:pt x="31" y="24"/>
                    <a:pt x="25" y="30"/>
                    <a:pt x="19" y="3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00" name="Freeform 69">
              <a:extLst>
                <a:ext uri="{FF2B5EF4-FFF2-40B4-BE49-F238E27FC236}">
                  <a16:creationId xmlns:a16="http://schemas.microsoft.com/office/drawing/2014/main" id="{E3173C41-E860-49BF-AE5C-A7AAF9680F78}"/>
                </a:ext>
              </a:extLst>
            </p:cNvPr>
            <p:cNvSpPr>
              <a:spLocks noEditPoints="1"/>
            </p:cNvSpPr>
            <p:nvPr/>
          </p:nvSpPr>
          <p:spPr bwMode="auto">
            <a:xfrm>
              <a:off x="11058043" y="5443239"/>
              <a:ext cx="111799" cy="107806"/>
            </a:xfrm>
            <a:custGeom>
              <a:avLst/>
              <a:gdLst>
                <a:gd name="T0" fmla="*/ 37 w 37"/>
                <a:gd name="T1" fmla="*/ 18 h 36"/>
                <a:gd name="T2" fmla="*/ 18 w 37"/>
                <a:gd name="T3" fmla="*/ 0 h 36"/>
                <a:gd name="T4" fmla="*/ 0 w 37"/>
                <a:gd name="T5" fmla="*/ 18 h 36"/>
                <a:gd name="T6" fmla="*/ 18 w 37"/>
                <a:gd name="T7" fmla="*/ 36 h 36"/>
                <a:gd name="T8" fmla="*/ 37 w 37"/>
                <a:gd name="T9" fmla="*/ 18 h 36"/>
                <a:gd name="T10" fmla="*/ 31 w 37"/>
                <a:gd name="T11" fmla="*/ 18 h 36"/>
                <a:gd name="T12" fmla="*/ 18 w 37"/>
                <a:gd name="T13" fmla="*/ 30 h 36"/>
                <a:gd name="T14" fmla="*/ 6 w 37"/>
                <a:gd name="T15" fmla="*/ 18 h 36"/>
                <a:gd name="T16" fmla="*/ 18 w 37"/>
                <a:gd name="T17" fmla="*/ 6 h 36"/>
                <a:gd name="T18" fmla="*/ 31 w 37"/>
                <a:gd name="T1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37" y="18"/>
                  </a:moveTo>
                  <a:cubicBezTo>
                    <a:pt x="37" y="8"/>
                    <a:pt x="28" y="0"/>
                    <a:pt x="18" y="0"/>
                  </a:cubicBezTo>
                  <a:cubicBezTo>
                    <a:pt x="8" y="0"/>
                    <a:pt x="0" y="8"/>
                    <a:pt x="0" y="18"/>
                  </a:cubicBezTo>
                  <a:cubicBezTo>
                    <a:pt x="0" y="28"/>
                    <a:pt x="8" y="36"/>
                    <a:pt x="18" y="36"/>
                  </a:cubicBezTo>
                  <a:cubicBezTo>
                    <a:pt x="28" y="36"/>
                    <a:pt x="37" y="28"/>
                    <a:pt x="37" y="18"/>
                  </a:cubicBezTo>
                  <a:close/>
                  <a:moveTo>
                    <a:pt x="31" y="18"/>
                  </a:moveTo>
                  <a:cubicBezTo>
                    <a:pt x="31" y="25"/>
                    <a:pt x="25" y="30"/>
                    <a:pt x="18" y="30"/>
                  </a:cubicBezTo>
                  <a:cubicBezTo>
                    <a:pt x="12" y="30"/>
                    <a:pt x="6" y="25"/>
                    <a:pt x="6" y="18"/>
                  </a:cubicBezTo>
                  <a:cubicBezTo>
                    <a:pt x="6" y="11"/>
                    <a:pt x="12" y="6"/>
                    <a:pt x="18" y="6"/>
                  </a:cubicBezTo>
                  <a:cubicBezTo>
                    <a:pt x="25" y="6"/>
                    <a:pt x="31" y="11"/>
                    <a:pt x="31" y="1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01" name="Freeform 70">
              <a:extLst>
                <a:ext uri="{FF2B5EF4-FFF2-40B4-BE49-F238E27FC236}">
                  <a16:creationId xmlns:a16="http://schemas.microsoft.com/office/drawing/2014/main" id="{BBD03C89-33A4-4948-9C63-2E7E2782CCB7}"/>
                </a:ext>
              </a:extLst>
            </p:cNvPr>
            <p:cNvSpPr>
              <a:spLocks noEditPoints="1"/>
            </p:cNvSpPr>
            <p:nvPr/>
          </p:nvSpPr>
          <p:spPr bwMode="auto">
            <a:xfrm>
              <a:off x="11109949" y="5563023"/>
              <a:ext cx="109803" cy="107806"/>
            </a:xfrm>
            <a:custGeom>
              <a:avLst/>
              <a:gdLst>
                <a:gd name="T0" fmla="*/ 37 w 37"/>
                <a:gd name="T1" fmla="*/ 18 h 36"/>
                <a:gd name="T2" fmla="*/ 19 w 37"/>
                <a:gd name="T3" fmla="*/ 0 h 36"/>
                <a:gd name="T4" fmla="*/ 0 w 37"/>
                <a:gd name="T5" fmla="*/ 18 h 36"/>
                <a:gd name="T6" fmla="*/ 19 w 37"/>
                <a:gd name="T7" fmla="*/ 36 h 36"/>
                <a:gd name="T8" fmla="*/ 37 w 37"/>
                <a:gd name="T9" fmla="*/ 18 h 36"/>
                <a:gd name="T10" fmla="*/ 31 w 37"/>
                <a:gd name="T11" fmla="*/ 18 h 36"/>
                <a:gd name="T12" fmla="*/ 19 w 37"/>
                <a:gd name="T13" fmla="*/ 30 h 36"/>
                <a:gd name="T14" fmla="*/ 6 w 37"/>
                <a:gd name="T15" fmla="*/ 18 h 36"/>
                <a:gd name="T16" fmla="*/ 19 w 37"/>
                <a:gd name="T17" fmla="*/ 6 h 36"/>
                <a:gd name="T18" fmla="*/ 31 w 37"/>
                <a:gd name="T1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37" y="18"/>
                  </a:moveTo>
                  <a:cubicBezTo>
                    <a:pt x="37" y="8"/>
                    <a:pt x="29" y="0"/>
                    <a:pt x="19" y="0"/>
                  </a:cubicBezTo>
                  <a:cubicBezTo>
                    <a:pt x="9" y="0"/>
                    <a:pt x="0" y="8"/>
                    <a:pt x="0" y="18"/>
                  </a:cubicBezTo>
                  <a:cubicBezTo>
                    <a:pt x="0" y="28"/>
                    <a:pt x="9" y="36"/>
                    <a:pt x="19" y="36"/>
                  </a:cubicBezTo>
                  <a:cubicBezTo>
                    <a:pt x="29" y="36"/>
                    <a:pt x="37" y="28"/>
                    <a:pt x="37" y="18"/>
                  </a:cubicBezTo>
                  <a:close/>
                  <a:moveTo>
                    <a:pt x="31" y="18"/>
                  </a:moveTo>
                  <a:cubicBezTo>
                    <a:pt x="31" y="25"/>
                    <a:pt x="25" y="30"/>
                    <a:pt x="19" y="30"/>
                  </a:cubicBezTo>
                  <a:cubicBezTo>
                    <a:pt x="12" y="30"/>
                    <a:pt x="6" y="25"/>
                    <a:pt x="6" y="18"/>
                  </a:cubicBezTo>
                  <a:cubicBezTo>
                    <a:pt x="6" y="11"/>
                    <a:pt x="12" y="6"/>
                    <a:pt x="19" y="6"/>
                  </a:cubicBezTo>
                  <a:cubicBezTo>
                    <a:pt x="25" y="6"/>
                    <a:pt x="31" y="11"/>
                    <a:pt x="31" y="1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02" name="Freeform 71">
              <a:extLst>
                <a:ext uri="{FF2B5EF4-FFF2-40B4-BE49-F238E27FC236}">
                  <a16:creationId xmlns:a16="http://schemas.microsoft.com/office/drawing/2014/main" id="{BE47261E-CAF0-4DD6-9DE2-697E5BB0129F}"/>
                </a:ext>
              </a:extLst>
            </p:cNvPr>
            <p:cNvSpPr>
              <a:spLocks/>
            </p:cNvSpPr>
            <p:nvPr/>
          </p:nvSpPr>
          <p:spPr bwMode="auto">
            <a:xfrm>
              <a:off x="10952234" y="5289517"/>
              <a:ext cx="91835" cy="59892"/>
            </a:xfrm>
            <a:custGeom>
              <a:avLst/>
              <a:gdLst>
                <a:gd name="T0" fmla="*/ 29 w 30"/>
                <a:gd name="T1" fmla="*/ 3 h 20"/>
                <a:gd name="T2" fmla="*/ 30 w 30"/>
                <a:gd name="T3" fmla="*/ 0 h 20"/>
                <a:gd name="T4" fmla="*/ 15 w 30"/>
                <a:gd name="T5" fmla="*/ 0 h 20"/>
                <a:gd name="T6" fmla="*/ 0 w 30"/>
                <a:gd name="T7" fmla="*/ 15 h 20"/>
                <a:gd name="T8" fmla="*/ 5 w 30"/>
                <a:gd name="T9" fmla="*/ 20 h 20"/>
                <a:gd name="T10" fmla="*/ 18 w 30"/>
                <a:gd name="T11" fmla="*/ 7 h 20"/>
                <a:gd name="T12" fmla="*/ 30 w 30"/>
                <a:gd name="T13" fmla="*/ 7 h 20"/>
                <a:gd name="T14" fmla="*/ 29 w 30"/>
                <a:gd name="T15" fmla="*/ 3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0">
                  <a:moveTo>
                    <a:pt x="29" y="3"/>
                  </a:moveTo>
                  <a:cubicBezTo>
                    <a:pt x="29" y="2"/>
                    <a:pt x="29" y="1"/>
                    <a:pt x="30" y="0"/>
                  </a:cubicBezTo>
                  <a:cubicBezTo>
                    <a:pt x="15" y="0"/>
                    <a:pt x="15" y="0"/>
                    <a:pt x="15" y="0"/>
                  </a:cubicBezTo>
                  <a:cubicBezTo>
                    <a:pt x="0" y="15"/>
                    <a:pt x="0" y="15"/>
                    <a:pt x="0" y="15"/>
                  </a:cubicBezTo>
                  <a:cubicBezTo>
                    <a:pt x="2" y="16"/>
                    <a:pt x="4" y="18"/>
                    <a:pt x="5" y="20"/>
                  </a:cubicBezTo>
                  <a:cubicBezTo>
                    <a:pt x="18" y="7"/>
                    <a:pt x="18" y="7"/>
                    <a:pt x="18" y="7"/>
                  </a:cubicBezTo>
                  <a:cubicBezTo>
                    <a:pt x="30" y="7"/>
                    <a:pt x="30" y="7"/>
                    <a:pt x="30" y="7"/>
                  </a:cubicBezTo>
                  <a:cubicBezTo>
                    <a:pt x="29" y="6"/>
                    <a:pt x="29" y="5"/>
                    <a:pt x="29" y="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03" name="Freeform 72">
              <a:extLst>
                <a:ext uri="{FF2B5EF4-FFF2-40B4-BE49-F238E27FC236}">
                  <a16:creationId xmlns:a16="http://schemas.microsoft.com/office/drawing/2014/main" id="{DA8F3A97-EF31-42EB-AFA1-000D311B1497}"/>
                </a:ext>
              </a:extLst>
            </p:cNvPr>
            <p:cNvSpPr>
              <a:spLocks/>
            </p:cNvSpPr>
            <p:nvPr/>
          </p:nvSpPr>
          <p:spPr bwMode="auto">
            <a:xfrm>
              <a:off x="11016119" y="5167736"/>
              <a:ext cx="77860" cy="99820"/>
            </a:xfrm>
            <a:custGeom>
              <a:avLst/>
              <a:gdLst>
                <a:gd name="T0" fmla="*/ 26 w 26"/>
                <a:gd name="T1" fmla="*/ 0 h 33"/>
                <a:gd name="T2" fmla="*/ 11 w 26"/>
                <a:gd name="T3" fmla="*/ 0 h 33"/>
                <a:gd name="T4" fmla="*/ 0 w 26"/>
                <a:gd name="T5" fmla="*/ 12 h 33"/>
                <a:gd name="T6" fmla="*/ 0 w 26"/>
                <a:gd name="T7" fmla="*/ 33 h 33"/>
                <a:gd name="T8" fmla="*/ 7 w 26"/>
                <a:gd name="T9" fmla="*/ 33 h 33"/>
                <a:gd name="T10" fmla="*/ 7 w 26"/>
                <a:gd name="T11" fmla="*/ 15 h 33"/>
                <a:gd name="T12" fmla="*/ 14 w 26"/>
                <a:gd name="T13" fmla="*/ 7 h 33"/>
                <a:gd name="T14" fmla="*/ 26 w 26"/>
                <a:gd name="T15" fmla="*/ 7 h 33"/>
                <a:gd name="T16" fmla="*/ 25 w 26"/>
                <a:gd name="T17" fmla="*/ 4 h 33"/>
                <a:gd name="T18" fmla="*/ 26 w 26"/>
                <a:gd name="T1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3">
                  <a:moveTo>
                    <a:pt x="26" y="0"/>
                  </a:moveTo>
                  <a:cubicBezTo>
                    <a:pt x="11" y="0"/>
                    <a:pt x="11" y="0"/>
                    <a:pt x="11" y="0"/>
                  </a:cubicBezTo>
                  <a:cubicBezTo>
                    <a:pt x="0" y="12"/>
                    <a:pt x="0" y="12"/>
                    <a:pt x="0" y="12"/>
                  </a:cubicBezTo>
                  <a:cubicBezTo>
                    <a:pt x="0" y="33"/>
                    <a:pt x="0" y="33"/>
                    <a:pt x="0" y="33"/>
                  </a:cubicBezTo>
                  <a:cubicBezTo>
                    <a:pt x="7" y="33"/>
                    <a:pt x="7" y="33"/>
                    <a:pt x="7" y="33"/>
                  </a:cubicBezTo>
                  <a:cubicBezTo>
                    <a:pt x="7" y="15"/>
                    <a:pt x="7" y="15"/>
                    <a:pt x="7" y="15"/>
                  </a:cubicBezTo>
                  <a:cubicBezTo>
                    <a:pt x="14" y="7"/>
                    <a:pt x="14" y="7"/>
                    <a:pt x="14" y="7"/>
                  </a:cubicBezTo>
                  <a:cubicBezTo>
                    <a:pt x="26" y="7"/>
                    <a:pt x="26" y="7"/>
                    <a:pt x="26" y="7"/>
                  </a:cubicBezTo>
                  <a:cubicBezTo>
                    <a:pt x="26" y="6"/>
                    <a:pt x="25" y="5"/>
                    <a:pt x="25" y="4"/>
                  </a:cubicBezTo>
                  <a:cubicBezTo>
                    <a:pt x="25" y="3"/>
                    <a:pt x="26" y="1"/>
                    <a:pt x="26"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04" name="Freeform 73">
              <a:extLst>
                <a:ext uri="{FF2B5EF4-FFF2-40B4-BE49-F238E27FC236}">
                  <a16:creationId xmlns:a16="http://schemas.microsoft.com/office/drawing/2014/main" id="{0AA95C1D-03F7-4C5C-928B-BB08E32B0BF5}"/>
                </a:ext>
              </a:extLst>
            </p:cNvPr>
            <p:cNvSpPr>
              <a:spLocks/>
            </p:cNvSpPr>
            <p:nvPr/>
          </p:nvSpPr>
          <p:spPr bwMode="auto">
            <a:xfrm>
              <a:off x="10952234" y="5445237"/>
              <a:ext cx="91835" cy="59892"/>
            </a:xfrm>
            <a:custGeom>
              <a:avLst/>
              <a:gdLst>
                <a:gd name="T0" fmla="*/ 29 w 30"/>
                <a:gd name="T1" fmla="*/ 17 h 20"/>
                <a:gd name="T2" fmla="*/ 30 w 30"/>
                <a:gd name="T3" fmla="*/ 20 h 20"/>
                <a:gd name="T4" fmla="*/ 15 w 30"/>
                <a:gd name="T5" fmla="*/ 20 h 20"/>
                <a:gd name="T6" fmla="*/ 0 w 30"/>
                <a:gd name="T7" fmla="*/ 5 h 20"/>
                <a:gd name="T8" fmla="*/ 5 w 30"/>
                <a:gd name="T9" fmla="*/ 0 h 20"/>
                <a:gd name="T10" fmla="*/ 18 w 30"/>
                <a:gd name="T11" fmla="*/ 13 h 20"/>
                <a:gd name="T12" fmla="*/ 30 w 30"/>
                <a:gd name="T13" fmla="*/ 13 h 20"/>
                <a:gd name="T14" fmla="*/ 29 w 30"/>
                <a:gd name="T15" fmla="*/ 17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0">
                  <a:moveTo>
                    <a:pt x="29" y="17"/>
                  </a:moveTo>
                  <a:cubicBezTo>
                    <a:pt x="29" y="18"/>
                    <a:pt x="29" y="19"/>
                    <a:pt x="30" y="20"/>
                  </a:cubicBezTo>
                  <a:cubicBezTo>
                    <a:pt x="15" y="20"/>
                    <a:pt x="15" y="20"/>
                    <a:pt x="15" y="20"/>
                  </a:cubicBezTo>
                  <a:cubicBezTo>
                    <a:pt x="0" y="5"/>
                    <a:pt x="0" y="5"/>
                    <a:pt x="0" y="5"/>
                  </a:cubicBezTo>
                  <a:cubicBezTo>
                    <a:pt x="2" y="4"/>
                    <a:pt x="4" y="2"/>
                    <a:pt x="5" y="0"/>
                  </a:cubicBezTo>
                  <a:cubicBezTo>
                    <a:pt x="18" y="13"/>
                    <a:pt x="18" y="13"/>
                    <a:pt x="18" y="13"/>
                  </a:cubicBezTo>
                  <a:cubicBezTo>
                    <a:pt x="30" y="13"/>
                    <a:pt x="30" y="13"/>
                    <a:pt x="30" y="13"/>
                  </a:cubicBezTo>
                  <a:cubicBezTo>
                    <a:pt x="29" y="14"/>
                    <a:pt x="29" y="15"/>
                    <a:pt x="29" y="1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05" name="Freeform 74">
              <a:extLst>
                <a:ext uri="{FF2B5EF4-FFF2-40B4-BE49-F238E27FC236}">
                  <a16:creationId xmlns:a16="http://schemas.microsoft.com/office/drawing/2014/main" id="{EF745DAE-9B25-4B1F-8653-3FAC86D1C811}"/>
                </a:ext>
              </a:extLst>
            </p:cNvPr>
            <p:cNvSpPr>
              <a:spLocks/>
            </p:cNvSpPr>
            <p:nvPr/>
          </p:nvSpPr>
          <p:spPr bwMode="auto">
            <a:xfrm>
              <a:off x="11016119" y="5527089"/>
              <a:ext cx="77860" cy="99820"/>
            </a:xfrm>
            <a:custGeom>
              <a:avLst/>
              <a:gdLst>
                <a:gd name="T0" fmla="*/ 26 w 26"/>
                <a:gd name="T1" fmla="*/ 33 h 33"/>
                <a:gd name="T2" fmla="*/ 11 w 26"/>
                <a:gd name="T3" fmla="*/ 33 h 33"/>
                <a:gd name="T4" fmla="*/ 0 w 26"/>
                <a:gd name="T5" fmla="*/ 21 h 33"/>
                <a:gd name="T6" fmla="*/ 0 w 26"/>
                <a:gd name="T7" fmla="*/ 0 h 33"/>
                <a:gd name="T8" fmla="*/ 7 w 26"/>
                <a:gd name="T9" fmla="*/ 0 h 33"/>
                <a:gd name="T10" fmla="*/ 7 w 26"/>
                <a:gd name="T11" fmla="*/ 19 h 33"/>
                <a:gd name="T12" fmla="*/ 14 w 26"/>
                <a:gd name="T13" fmla="*/ 26 h 33"/>
                <a:gd name="T14" fmla="*/ 26 w 26"/>
                <a:gd name="T15" fmla="*/ 26 h 33"/>
                <a:gd name="T16" fmla="*/ 25 w 26"/>
                <a:gd name="T17" fmla="*/ 29 h 33"/>
                <a:gd name="T18" fmla="*/ 26 w 26"/>
                <a:gd name="T1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3">
                  <a:moveTo>
                    <a:pt x="26" y="33"/>
                  </a:moveTo>
                  <a:cubicBezTo>
                    <a:pt x="11" y="33"/>
                    <a:pt x="11" y="33"/>
                    <a:pt x="11" y="33"/>
                  </a:cubicBezTo>
                  <a:cubicBezTo>
                    <a:pt x="0" y="21"/>
                    <a:pt x="0" y="21"/>
                    <a:pt x="0" y="21"/>
                  </a:cubicBezTo>
                  <a:cubicBezTo>
                    <a:pt x="0" y="0"/>
                    <a:pt x="0" y="0"/>
                    <a:pt x="0" y="0"/>
                  </a:cubicBezTo>
                  <a:cubicBezTo>
                    <a:pt x="7" y="0"/>
                    <a:pt x="7" y="0"/>
                    <a:pt x="7" y="0"/>
                  </a:cubicBezTo>
                  <a:cubicBezTo>
                    <a:pt x="7" y="19"/>
                    <a:pt x="7" y="19"/>
                    <a:pt x="7" y="19"/>
                  </a:cubicBezTo>
                  <a:cubicBezTo>
                    <a:pt x="14" y="26"/>
                    <a:pt x="14" y="26"/>
                    <a:pt x="14" y="26"/>
                  </a:cubicBezTo>
                  <a:cubicBezTo>
                    <a:pt x="26" y="26"/>
                    <a:pt x="26" y="26"/>
                    <a:pt x="26" y="26"/>
                  </a:cubicBezTo>
                  <a:cubicBezTo>
                    <a:pt x="26" y="27"/>
                    <a:pt x="25" y="28"/>
                    <a:pt x="25" y="29"/>
                  </a:cubicBezTo>
                  <a:cubicBezTo>
                    <a:pt x="25" y="31"/>
                    <a:pt x="26" y="32"/>
                    <a:pt x="26" y="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306" name="Group 305">
            <a:extLst>
              <a:ext uri="{FF2B5EF4-FFF2-40B4-BE49-F238E27FC236}">
                <a16:creationId xmlns:a16="http://schemas.microsoft.com/office/drawing/2014/main" id="{ABF97EE5-39AF-4120-A602-24247E597D37}"/>
              </a:ext>
            </a:extLst>
          </p:cNvPr>
          <p:cNvGrpSpPr/>
          <p:nvPr/>
        </p:nvGrpSpPr>
        <p:grpSpPr>
          <a:xfrm>
            <a:off x="3581957" y="4598371"/>
            <a:ext cx="392580" cy="392580"/>
            <a:chOff x="813278" y="5118242"/>
            <a:chExt cx="653991" cy="653991"/>
          </a:xfrm>
        </p:grpSpPr>
        <p:sp>
          <p:nvSpPr>
            <p:cNvPr id="307" name="Freeform 82">
              <a:extLst>
                <a:ext uri="{FF2B5EF4-FFF2-40B4-BE49-F238E27FC236}">
                  <a16:creationId xmlns:a16="http://schemas.microsoft.com/office/drawing/2014/main" id="{54ACAD0E-D546-4EE4-AD82-008729819BEA}"/>
                </a:ext>
              </a:extLst>
            </p:cNvPr>
            <p:cNvSpPr>
              <a:spLocks noEditPoints="1"/>
            </p:cNvSpPr>
            <p:nvPr/>
          </p:nvSpPr>
          <p:spPr bwMode="auto">
            <a:xfrm>
              <a:off x="813278" y="5118242"/>
              <a:ext cx="653991" cy="653991"/>
            </a:xfrm>
            <a:custGeom>
              <a:avLst/>
              <a:gdLst>
                <a:gd name="T0" fmla="*/ 189 w 200"/>
                <a:gd name="T1" fmla="*/ 78 h 200"/>
                <a:gd name="T2" fmla="*/ 178 w 200"/>
                <a:gd name="T3" fmla="*/ 53 h 200"/>
                <a:gd name="T4" fmla="*/ 157 w 200"/>
                <a:gd name="T5" fmla="*/ 18 h 200"/>
                <a:gd name="T6" fmla="*/ 143 w 200"/>
                <a:gd name="T7" fmla="*/ 22 h 200"/>
                <a:gd name="T8" fmla="*/ 121 w 200"/>
                <a:gd name="T9" fmla="*/ 5 h 200"/>
                <a:gd name="T10" fmla="*/ 105 w 200"/>
                <a:gd name="T11" fmla="*/ 0 h 200"/>
                <a:gd name="T12" fmla="*/ 105 w 200"/>
                <a:gd name="T13" fmla="*/ 0 h 200"/>
                <a:gd name="T14" fmla="*/ 95 w 200"/>
                <a:gd name="T15" fmla="*/ 0 h 200"/>
                <a:gd name="T16" fmla="*/ 82 w 200"/>
                <a:gd name="T17" fmla="*/ 1 h 200"/>
                <a:gd name="T18" fmla="*/ 75 w 200"/>
                <a:gd name="T19" fmla="*/ 14 h 200"/>
                <a:gd name="T20" fmla="*/ 48 w 200"/>
                <a:gd name="T21" fmla="*/ 18 h 200"/>
                <a:gd name="T22" fmla="*/ 18 w 200"/>
                <a:gd name="T23" fmla="*/ 48 h 200"/>
                <a:gd name="T24" fmla="*/ 15 w 200"/>
                <a:gd name="T25" fmla="*/ 75 h 200"/>
                <a:gd name="T26" fmla="*/ 2 w 200"/>
                <a:gd name="T27" fmla="*/ 82 h 200"/>
                <a:gd name="T28" fmla="*/ 5 w 200"/>
                <a:gd name="T29" fmla="*/ 121 h 200"/>
                <a:gd name="T30" fmla="*/ 22 w 200"/>
                <a:gd name="T31" fmla="*/ 143 h 200"/>
                <a:gd name="T32" fmla="*/ 18 w 200"/>
                <a:gd name="T33" fmla="*/ 157 h 200"/>
                <a:gd name="T34" fmla="*/ 53 w 200"/>
                <a:gd name="T35" fmla="*/ 178 h 200"/>
                <a:gd name="T36" fmla="*/ 78 w 200"/>
                <a:gd name="T37" fmla="*/ 189 h 200"/>
                <a:gd name="T38" fmla="*/ 95 w 200"/>
                <a:gd name="T39" fmla="*/ 200 h 200"/>
                <a:gd name="T40" fmla="*/ 105 w 200"/>
                <a:gd name="T41" fmla="*/ 200 h 200"/>
                <a:gd name="T42" fmla="*/ 122 w 200"/>
                <a:gd name="T43" fmla="*/ 189 h 200"/>
                <a:gd name="T44" fmla="*/ 147 w 200"/>
                <a:gd name="T45" fmla="*/ 178 h 200"/>
                <a:gd name="T46" fmla="*/ 182 w 200"/>
                <a:gd name="T47" fmla="*/ 157 h 200"/>
                <a:gd name="T48" fmla="*/ 178 w 200"/>
                <a:gd name="T49" fmla="*/ 143 h 200"/>
                <a:gd name="T50" fmla="*/ 195 w 200"/>
                <a:gd name="T51" fmla="*/ 121 h 200"/>
                <a:gd name="T52" fmla="*/ 198 w 200"/>
                <a:gd name="T53" fmla="*/ 82 h 200"/>
                <a:gd name="T54" fmla="*/ 182 w 200"/>
                <a:gd name="T55" fmla="*/ 108 h 200"/>
                <a:gd name="T56" fmla="*/ 164 w 200"/>
                <a:gd name="T57" fmla="*/ 152 h 200"/>
                <a:gd name="T58" fmla="*/ 162 w 200"/>
                <a:gd name="T59" fmla="*/ 166 h 200"/>
                <a:gd name="T60" fmla="*/ 147 w 200"/>
                <a:gd name="T61" fmla="*/ 164 h 200"/>
                <a:gd name="T62" fmla="*/ 107 w 200"/>
                <a:gd name="T63" fmla="*/ 188 h 200"/>
                <a:gd name="T64" fmla="*/ 93 w 200"/>
                <a:gd name="T65" fmla="*/ 188 h 200"/>
                <a:gd name="T66" fmla="*/ 53 w 200"/>
                <a:gd name="T67" fmla="*/ 164 h 200"/>
                <a:gd name="T68" fmla="*/ 38 w 200"/>
                <a:gd name="T69" fmla="*/ 166 h 200"/>
                <a:gd name="T70" fmla="*/ 37 w 200"/>
                <a:gd name="T71" fmla="*/ 152 h 200"/>
                <a:gd name="T72" fmla="*/ 18 w 200"/>
                <a:gd name="T73" fmla="*/ 108 h 200"/>
                <a:gd name="T74" fmla="*/ 9 w 200"/>
                <a:gd name="T75" fmla="*/ 97 h 200"/>
                <a:gd name="T76" fmla="*/ 21 w 200"/>
                <a:gd name="T77" fmla="*/ 88 h 200"/>
                <a:gd name="T78" fmla="*/ 33 w 200"/>
                <a:gd name="T79" fmla="*/ 43 h 200"/>
                <a:gd name="T80" fmla="*/ 43 w 200"/>
                <a:gd name="T81" fmla="*/ 33 h 200"/>
                <a:gd name="T82" fmla="*/ 88 w 200"/>
                <a:gd name="T83" fmla="*/ 21 h 200"/>
                <a:gd name="T84" fmla="*/ 95 w 200"/>
                <a:gd name="T85" fmla="*/ 9 h 200"/>
                <a:gd name="T86" fmla="*/ 108 w 200"/>
                <a:gd name="T87" fmla="*/ 18 h 200"/>
                <a:gd name="T88" fmla="*/ 152 w 200"/>
                <a:gd name="T89" fmla="*/ 36 h 200"/>
                <a:gd name="T90" fmla="*/ 166 w 200"/>
                <a:gd name="T91" fmla="*/ 38 h 200"/>
                <a:gd name="T92" fmla="*/ 164 w 200"/>
                <a:gd name="T93" fmla="*/ 52 h 200"/>
                <a:gd name="T94" fmla="*/ 187 w 200"/>
                <a:gd name="T95" fmla="*/ 9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 h="200">
                  <a:moveTo>
                    <a:pt x="198" y="82"/>
                  </a:moveTo>
                  <a:cubicBezTo>
                    <a:pt x="198" y="80"/>
                    <a:pt x="197" y="79"/>
                    <a:pt x="195" y="79"/>
                  </a:cubicBezTo>
                  <a:cubicBezTo>
                    <a:pt x="192" y="78"/>
                    <a:pt x="190" y="78"/>
                    <a:pt x="189" y="78"/>
                  </a:cubicBezTo>
                  <a:cubicBezTo>
                    <a:pt x="187" y="78"/>
                    <a:pt x="186" y="76"/>
                    <a:pt x="185" y="75"/>
                  </a:cubicBezTo>
                  <a:cubicBezTo>
                    <a:pt x="184" y="69"/>
                    <a:pt x="181" y="63"/>
                    <a:pt x="178" y="57"/>
                  </a:cubicBezTo>
                  <a:cubicBezTo>
                    <a:pt x="177" y="56"/>
                    <a:pt x="177" y="54"/>
                    <a:pt x="178" y="53"/>
                  </a:cubicBezTo>
                  <a:cubicBezTo>
                    <a:pt x="180" y="51"/>
                    <a:pt x="181" y="49"/>
                    <a:pt x="182" y="48"/>
                  </a:cubicBezTo>
                  <a:cubicBezTo>
                    <a:pt x="183" y="47"/>
                    <a:pt x="183" y="45"/>
                    <a:pt x="182" y="43"/>
                  </a:cubicBezTo>
                  <a:cubicBezTo>
                    <a:pt x="175" y="33"/>
                    <a:pt x="167" y="25"/>
                    <a:pt x="157" y="18"/>
                  </a:cubicBezTo>
                  <a:cubicBezTo>
                    <a:pt x="156" y="17"/>
                    <a:pt x="153" y="17"/>
                    <a:pt x="152" y="18"/>
                  </a:cubicBezTo>
                  <a:cubicBezTo>
                    <a:pt x="150" y="19"/>
                    <a:pt x="148" y="21"/>
                    <a:pt x="147" y="21"/>
                  </a:cubicBezTo>
                  <a:cubicBezTo>
                    <a:pt x="146" y="22"/>
                    <a:pt x="144" y="22"/>
                    <a:pt x="143" y="22"/>
                  </a:cubicBezTo>
                  <a:cubicBezTo>
                    <a:pt x="137" y="19"/>
                    <a:pt x="131" y="16"/>
                    <a:pt x="125" y="14"/>
                  </a:cubicBezTo>
                  <a:cubicBezTo>
                    <a:pt x="124" y="14"/>
                    <a:pt x="122" y="13"/>
                    <a:pt x="122" y="11"/>
                  </a:cubicBezTo>
                  <a:cubicBezTo>
                    <a:pt x="122" y="9"/>
                    <a:pt x="122" y="8"/>
                    <a:pt x="121" y="5"/>
                  </a:cubicBezTo>
                  <a:cubicBezTo>
                    <a:pt x="121" y="3"/>
                    <a:pt x="120" y="2"/>
                    <a:pt x="118" y="1"/>
                  </a:cubicBezTo>
                  <a:cubicBezTo>
                    <a:pt x="114" y="1"/>
                    <a:pt x="109" y="0"/>
                    <a:pt x="105" y="0"/>
                  </a:cubicBezTo>
                  <a:cubicBezTo>
                    <a:pt x="105" y="0"/>
                    <a:pt x="105" y="0"/>
                    <a:pt x="105" y="0"/>
                  </a:cubicBezTo>
                  <a:cubicBezTo>
                    <a:pt x="105" y="0"/>
                    <a:pt x="105" y="0"/>
                    <a:pt x="105" y="0"/>
                  </a:cubicBezTo>
                  <a:cubicBezTo>
                    <a:pt x="105" y="0"/>
                    <a:pt x="105" y="0"/>
                    <a:pt x="105" y="0"/>
                  </a:cubicBezTo>
                  <a:cubicBezTo>
                    <a:pt x="105" y="0"/>
                    <a:pt x="105" y="0"/>
                    <a:pt x="10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1" y="0"/>
                    <a:pt x="86" y="1"/>
                    <a:pt x="82" y="1"/>
                  </a:cubicBezTo>
                  <a:cubicBezTo>
                    <a:pt x="80" y="2"/>
                    <a:pt x="79" y="3"/>
                    <a:pt x="79" y="5"/>
                  </a:cubicBezTo>
                  <a:cubicBezTo>
                    <a:pt x="78" y="8"/>
                    <a:pt x="78" y="9"/>
                    <a:pt x="78" y="11"/>
                  </a:cubicBezTo>
                  <a:cubicBezTo>
                    <a:pt x="78" y="13"/>
                    <a:pt x="76" y="14"/>
                    <a:pt x="75" y="14"/>
                  </a:cubicBezTo>
                  <a:cubicBezTo>
                    <a:pt x="69" y="16"/>
                    <a:pt x="63" y="19"/>
                    <a:pt x="57" y="22"/>
                  </a:cubicBezTo>
                  <a:cubicBezTo>
                    <a:pt x="56" y="22"/>
                    <a:pt x="54" y="22"/>
                    <a:pt x="53" y="21"/>
                  </a:cubicBezTo>
                  <a:cubicBezTo>
                    <a:pt x="52" y="21"/>
                    <a:pt x="50" y="19"/>
                    <a:pt x="48" y="18"/>
                  </a:cubicBezTo>
                  <a:cubicBezTo>
                    <a:pt x="47" y="17"/>
                    <a:pt x="45" y="17"/>
                    <a:pt x="43" y="18"/>
                  </a:cubicBezTo>
                  <a:cubicBezTo>
                    <a:pt x="33" y="25"/>
                    <a:pt x="25" y="33"/>
                    <a:pt x="18" y="43"/>
                  </a:cubicBezTo>
                  <a:cubicBezTo>
                    <a:pt x="17" y="45"/>
                    <a:pt x="17" y="47"/>
                    <a:pt x="18" y="48"/>
                  </a:cubicBezTo>
                  <a:cubicBezTo>
                    <a:pt x="19" y="49"/>
                    <a:pt x="21" y="51"/>
                    <a:pt x="22" y="53"/>
                  </a:cubicBezTo>
                  <a:cubicBezTo>
                    <a:pt x="23" y="54"/>
                    <a:pt x="23" y="56"/>
                    <a:pt x="22" y="57"/>
                  </a:cubicBezTo>
                  <a:cubicBezTo>
                    <a:pt x="19" y="63"/>
                    <a:pt x="16" y="69"/>
                    <a:pt x="15" y="75"/>
                  </a:cubicBezTo>
                  <a:cubicBezTo>
                    <a:pt x="14" y="76"/>
                    <a:pt x="13" y="78"/>
                    <a:pt x="11" y="78"/>
                  </a:cubicBezTo>
                  <a:cubicBezTo>
                    <a:pt x="10" y="78"/>
                    <a:pt x="8" y="78"/>
                    <a:pt x="5" y="79"/>
                  </a:cubicBezTo>
                  <a:cubicBezTo>
                    <a:pt x="4" y="79"/>
                    <a:pt x="2" y="80"/>
                    <a:pt x="2" y="82"/>
                  </a:cubicBezTo>
                  <a:cubicBezTo>
                    <a:pt x="1" y="88"/>
                    <a:pt x="0" y="94"/>
                    <a:pt x="0" y="100"/>
                  </a:cubicBezTo>
                  <a:cubicBezTo>
                    <a:pt x="0" y="106"/>
                    <a:pt x="1" y="112"/>
                    <a:pt x="2" y="118"/>
                  </a:cubicBezTo>
                  <a:cubicBezTo>
                    <a:pt x="2" y="120"/>
                    <a:pt x="4" y="121"/>
                    <a:pt x="5" y="121"/>
                  </a:cubicBezTo>
                  <a:cubicBezTo>
                    <a:pt x="8" y="122"/>
                    <a:pt x="10" y="122"/>
                    <a:pt x="11" y="122"/>
                  </a:cubicBezTo>
                  <a:cubicBezTo>
                    <a:pt x="13" y="122"/>
                    <a:pt x="14" y="124"/>
                    <a:pt x="15" y="125"/>
                  </a:cubicBezTo>
                  <a:cubicBezTo>
                    <a:pt x="17" y="131"/>
                    <a:pt x="19" y="137"/>
                    <a:pt x="22" y="143"/>
                  </a:cubicBezTo>
                  <a:cubicBezTo>
                    <a:pt x="23" y="144"/>
                    <a:pt x="23" y="146"/>
                    <a:pt x="22" y="147"/>
                  </a:cubicBezTo>
                  <a:cubicBezTo>
                    <a:pt x="21" y="149"/>
                    <a:pt x="19" y="150"/>
                    <a:pt x="18" y="152"/>
                  </a:cubicBezTo>
                  <a:cubicBezTo>
                    <a:pt x="17" y="153"/>
                    <a:pt x="17" y="155"/>
                    <a:pt x="18" y="157"/>
                  </a:cubicBezTo>
                  <a:cubicBezTo>
                    <a:pt x="25" y="167"/>
                    <a:pt x="33" y="175"/>
                    <a:pt x="43" y="182"/>
                  </a:cubicBezTo>
                  <a:cubicBezTo>
                    <a:pt x="45" y="183"/>
                    <a:pt x="47" y="183"/>
                    <a:pt x="48" y="182"/>
                  </a:cubicBezTo>
                  <a:cubicBezTo>
                    <a:pt x="50" y="180"/>
                    <a:pt x="52" y="179"/>
                    <a:pt x="53" y="178"/>
                  </a:cubicBezTo>
                  <a:cubicBezTo>
                    <a:pt x="54" y="177"/>
                    <a:pt x="56" y="177"/>
                    <a:pt x="57" y="178"/>
                  </a:cubicBezTo>
                  <a:cubicBezTo>
                    <a:pt x="63" y="181"/>
                    <a:pt x="69" y="184"/>
                    <a:pt x="75" y="186"/>
                  </a:cubicBezTo>
                  <a:cubicBezTo>
                    <a:pt x="76" y="186"/>
                    <a:pt x="78" y="187"/>
                    <a:pt x="78" y="189"/>
                  </a:cubicBezTo>
                  <a:cubicBezTo>
                    <a:pt x="78" y="190"/>
                    <a:pt x="78" y="192"/>
                    <a:pt x="79" y="195"/>
                  </a:cubicBezTo>
                  <a:cubicBezTo>
                    <a:pt x="79" y="197"/>
                    <a:pt x="80" y="198"/>
                    <a:pt x="82" y="198"/>
                  </a:cubicBezTo>
                  <a:cubicBezTo>
                    <a:pt x="86" y="199"/>
                    <a:pt x="91" y="200"/>
                    <a:pt x="95" y="200"/>
                  </a:cubicBezTo>
                  <a:cubicBezTo>
                    <a:pt x="95" y="200"/>
                    <a:pt x="95" y="200"/>
                    <a:pt x="95" y="200"/>
                  </a:cubicBezTo>
                  <a:cubicBezTo>
                    <a:pt x="105" y="200"/>
                    <a:pt x="105" y="200"/>
                    <a:pt x="105" y="200"/>
                  </a:cubicBezTo>
                  <a:cubicBezTo>
                    <a:pt x="105" y="200"/>
                    <a:pt x="105" y="200"/>
                    <a:pt x="105" y="200"/>
                  </a:cubicBezTo>
                  <a:cubicBezTo>
                    <a:pt x="109" y="200"/>
                    <a:pt x="114" y="199"/>
                    <a:pt x="118" y="198"/>
                  </a:cubicBezTo>
                  <a:cubicBezTo>
                    <a:pt x="120" y="198"/>
                    <a:pt x="121" y="197"/>
                    <a:pt x="121" y="195"/>
                  </a:cubicBezTo>
                  <a:cubicBezTo>
                    <a:pt x="122" y="192"/>
                    <a:pt x="122" y="190"/>
                    <a:pt x="122" y="189"/>
                  </a:cubicBezTo>
                  <a:cubicBezTo>
                    <a:pt x="122" y="187"/>
                    <a:pt x="124" y="186"/>
                    <a:pt x="125" y="186"/>
                  </a:cubicBezTo>
                  <a:cubicBezTo>
                    <a:pt x="131" y="184"/>
                    <a:pt x="137" y="181"/>
                    <a:pt x="143" y="178"/>
                  </a:cubicBezTo>
                  <a:cubicBezTo>
                    <a:pt x="144" y="177"/>
                    <a:pt x="146" y="177"/>
                    <a:pt x="147" y="178"/>
                  </a:cubicBezTo>
                  <a:cubicBezTo>
                    <a:pt x="148" y="179"/>
                    <a:pt x="150" y="180"/>
                    <a:pt x="152" y="182"/>
                  </a:cubicBezTo>
                  <a:cubicBezTo>
                    <a:pt x="153" y="183"/>
                    <a:pt x="155" y="183"/>
                    <a:pt x="157" y="182"/>
                  </a:cubicBezTo>
                  <a:cubicBezTo>
                    <a:pt x="167" y="175"/>
                    <a:pt x="175" y="167"/>
                    <a:pt x="182" y="157"/>
                  </a:cubicBezTo>
                  <a:cubicBezTo>
                    <a:pt x="183" y="155"/>
                    <a:pt x="183" y="153"/>
                    <a:pt x="182" y="152"/>
                  </a:cubicBezTo>
                  <a:cubicBezTo>
                    <a:pt x="181" y="150"/>
                    <a:pt x="180" y="149"/>
                    <a:pt x="178" y="147"/>
                  </a:cubicBezTo>
                  <a:cubicBezTo>
                    <a:pt x="177" y="146"/>
                    <a:pt x="177" y="144"/>
                    <a:pt x="178" y="143"/>
                  </a:cubicBezTo>
                  <a:cubicBezTo>
                    <a:pt x="181" y="137"/>
                    <a:pt x="184" y="131"/>
                    <a:pt x="185" y="125"/>
                  </a:cubicBezTo>
                  <a:cubicBezTo>
                    <a:pt x="186" y="124"/>
                    <a:pt x="187" y="122"/>
                    <a:pt x="189" y="122"/>
                  </a:cubicBezTo>
                  <a:cubicBezTo>
                    <a:pt x="190" y="122"/>
                    <a:pt x="192" y="122"/>
                    <a:pt x="195" y="121"/>
                  </a:cubicBezTo>
                  <a:cubicBezTo>
                    <a:pt x="197" y="121"/>
                    <a:pt x="198" y="120"/>
                    <a:pt x="198" y="118"/>
                  </a:cubicBezTo>
                  <a:cubicBezTo>
                    <a:pt x="199" y="112"/>
                    <a:pt x="200" y="106"/>
                    <a:pt x="200" y="100"/>
                  </a:cubicBezTo>
                  <a:cubicBezTo>
                    <a:pt x="200" y="94"/>
                    <a:pt x="199" y="88"/>
                    <a:pt x="198" y="82"/>
                  </a:cubicBezTo>
                  <a:close/>
                  <a:moveTo>
                    <a:pt x="191" y="103"/>
                  </a:moveTo>
                  <a:cubicBezTo>
                    <a:pt x="191" y="105"/>
                    <a:pt x="190" y="106"/>
                    <a:pt x="188" y="107"/>
                  </a:cubicBezTo>
                  <a:cubicBezTo>
                    <a:pt x="185" y="107"/>
                    <a:pt x="183" y="107"/>
                    <a:pt x="182" y="108"/>
                  </a:cubicBezTo>
                  <a:cubicBezTo>
                    <a:pt x="180" y="108"/>
                    <a:pt x="179" y="110"/>
                    <a:pt x="179" y="111"/>
                  </a:cubicBezTo>
                  <a:cubicBezTo>
                    <a:pt x="177" y="125"/>
                    <a:pt x="172" y="137"/>
                    <a:pt x="164" y="148"/>
                  </a:cubicBezTo>
                  <a:cubicBezTo>
                    <a:pt x="163" y="149"/>
                    <a:pt x="163" y="151"/>
                    <a:pt x="164" y="152"/>
                  </a:cubicBezTo>
                  <a:cubicBezTo>
                    <a:pt x="164" y="154"/>
                    <a:pt x="165" y="155"/>
                    <a:pt x="167" y="157"/>
                  </a:cubicBezTo>
                  <a:cubicBezTo>
                    <a:pt x="168" y="158"/>
                    <a:pt x="168" y="161"/>
                    <a:pt x="166" y="162"/>
                  </a:cubicBezTo>
                  <a:cubicBezTo>
                    <a:pt x="165" y="164"/>
                    <a:pt x="164" y="165"/>
                    <a:pt x="162" y="166"/>
                  </a:cubicBezTo>
                  <a:cubicBezTo>
                    <a:pt x="161" y="168"/>
                    <a:pt x="158" y="168"/>
                    <a:pt x="157" y="167"/>
                  </a:cubicBezTo>
                  <a:cubicBezTo>
                    <a:pt x="155" y="165"/>
                    <a:pt x="153" y="164"/>
                    <a:pt x="152" y="164"/>
                  </a:cubicBezTo>
                  <a:cubicBezTo>
                    <a:pt x="151" y="163"/>
                    <a:pt x="149" y="163"/>
                    <a:pt x="147" y="164"/>
                  </a:cubicBezTo>
                  <a:cubicBezTo>
                    <a:pt x="137" y="172"/>
                    <a:pt x="125" y="177"/>
                    <a:pt x="112" y="179"/>
                  </a:cubicBezTo>
                  <a:cubicBezTo>
                    <a:pt x="110" y="179"/>
                    <a:pt x="109" y="180"/>
                    <a:pt x="108" y="182"/>
                  </a:cubicBezTo>
                  <a:cubicBezTo>
                    <a:pt x="108" y="184"/>
                    <a:pt x="107" y="185"/>
                    <a:pt x="107" y="188"/>
                  </a:cubicBezTo>
                  <a:cubicBezTo>
                    <a:pt x="107" y="189"/>
                    <a:pt x="106" y="190"/>
                    <a:pt x="105" y="190"/>
                  </a:cubicBezTo>
                  <a:cubicBezTo>
                    <a:pt x="103" y="191"/>
                    <a:pt x="97" y="191"/>
                    <a:pt x="95" y="190"/>
                  </a:cubicBezTo>
                  <a:cubicBezTo>
                    <a:pt x="94" y="190"/>
                    <a:pt x="93" y="189"/>
                    <a:pt x="93" y="188"/>
                  </a:cubicBezTo>
                  <a:cubicBezTo>
                    <a:pt x="93" y="185"/>
                    <a:pt x="92" y="184"/>
                    <a:pt x="92" y="182"/>
                  </a:cubicBezTo>
                  <a:cubicBezTo>
                    <a:pt x="91" y="180"/>
                    <a:pt x="90" y="179"/>
                    <a:pt x="88" y="179"/>
                  </a:cubicBezTo>
                  <a:cubicBezTo>
                    <a:pt x="75" y="177"/>
                    <a:pt x="63" y="172"/>
                    <a:pt x="53" y="164"/>
                  </a:cubicBezTo>
                  <a:cubicBezTo>
                    <a:pt x="51" y="163"/>
                    <a:pt x="49" y="163"/>
                    <a:pt x="48" y="164"/>
                  </a:cubicBezTo>
                  <a:cubicBezTo>
                    <a:pt x="47" y="164"/>
                    <a:pt x="45" y="165"/>
                    <a:pt x="43" y="167"/>
                  </a:cubicBezTo>
                  <a:cubicBezTo>
                    <a:pt x="42" y="168"/>
                    <a:pt x="39" y="168"/>
                    <a:pt x="38" y="166"/>
                  </a:cubicBezTo>
                  <a:cubicBezTo>
                    <a:pt x="36" y="165"/>
                    <a:pt x="35" y="164"/>
                    <a:pt x="34" y="162"/>
                  </a:cubicBezTo>
                  <a:cubicBezTo>
                    <a:pt x="32" y="161"/>
                    <a:pt x="32" y="158"/>
                    <a:pt x="33" y="157"/>
                  </a:cubicBezTo>
                  <a:cubicBezTo>
                    <a:pt x="35" y="155"/>
                    <a:pt x="36" y="154"/>
                    <a:pt x="37" y="152"/>
                  </a:cubicBezTo>
                  <a:cubicBezTo>
                    <a:pt x="37" y="151"/>
                    <a:pt x="37" y="149"/>
                    <a:pt x="36" y="148"/>
                  </a:cubicBezTo>
                  <a:cubicBezTo>
                    <a:pt x="29" y="137"/>
                    <a:pt x="23" y="125"/>
                    <a:pt x="21" y="111"/>
                  </a:cubicBezTo>
                  <a:cubicBezTo>
                    <a:pt x="21" y="110"/>
                    <a:pt x="20" y="108"/>
                    <a:pt x="18" y="108"/>
                  </a:cubicBezTo>
                  <a:cubicBezTo>
                    <a:pt x="17" y="107"/>
                    <a:pt x="15" y="107"/>
                    <a:pt x="12" y="107"/>
                  </a:cubicBezTo>
                  <a:cubicBezTo>
                    <a:pt x="10" y="106"/>
                    <a:pt x="9" y="105"/>
                    <a:pt x="9" y="103"/>
                  </a:cubicBezTo>
                  <a:cubicBezTo>
                    <a:pt x="9" y="101"/>
                    <a:pt x="9" y="99"/>
                    <a:pt x="9" y="97"/>
                  </a:cubicBezTo>
                  <a:cubicBezTo>
                    <a:pt x="9" y="95"/>
                    <a:pt x="11" y="93"/>
                    <a:pt x="13" y="93"/>
                  </a:cubicBezTo>
                  <a:cubicBezTo>
                    <a:pt x="15" y="93"/>
                    <a:pt x="16" y="92"/>
                    <a:pt x="18" y="92"/>
                  </a:cubicBezTo>
                  <a:cubicBezTo>
                    <a:pt x="20" y="91"/>
                    <a:pt x="21" y="90"/>
                    <a:pt x="21" y="88"/>
                  </a:cubicBezTo>
                  <a:cubicBezTo>
                    <a:pt x="23" y="75"/>
                    <a:pt x="29" y="63"/>
                    <a:pt x="36" y="52"/>
                  </a:cubicBezTo>
                  <a:cubicBezTo>
                    <a:pt x="37" y="51"/>
                    <a:pt x="37" y="49"/>
                    <a:pt x="37" y="47"/>
                  </a:cubicBezTo>
                  <a:cubicBezTo>
                    <a:pt x="36" y="46"/>
                    <a:pt x="35" y="44"/>
                    <a:pt x="33" y="43"/>
                  </a:cubicBezTo>
                  <a:cubicBezTo>
                    <a:pt x="32" y="41"/>
                    <a:pt x="32" y="39"/>
                    <a:pt x="34" y="38"/>
                  </a:cubicBezTo>
                  <a:cubicBezTo>
                    <a:pt x="35" y="36"/>
                    <a:pt x="36" y="35"/>
                    <a:pt x="38" y="34"/>
                  </a:cubicBezTo>
                  <a:cubicBezTo>
                    <a:pt x="39" y="32"/>
                    <a:pt x="42" y="32"/>
                    <a:pt x="43" y="33"/>
                  </a:cubicBezTo>
                  <a:cubicBezTo>
                    <a:pt x="45" y="35"/>
                    <a:pt x="47" y="36"/>
                    <a:pt x="48" y="36"/>
                  </a:cubicBezTo>
                  <a:cubicBezTo>
                    <a:pt x="49" y="37"/>
                    <a:pt x="51" y="37"/>
                    <a:pt x="53" y="36"/>
                  </a:cubicBezTo>
                  <a:cubicBezTo>
                    <a:pt x="63" y="28"/>
                    <a:pt x="75" y="23"/>
                    <a:pt x="88" y="21"/>
                  </a:cubicBezTo>
                  <a:cubicBezTo>
                    <a:pt x="90" y="21"/>
                    <a:pt x="91" y="20"/>
                    <a:pt x="92" y="18"/>
                  </a:cubicBezTo>
                  <a:cubicBezTo>
                    <a:pt x="92" y="16"/>
                    <a:pt x="93" y="14"/>
                    <a:pt x="93" y="12"/>
                  </a:cubicBezTo>
                  <a:cubicBezTo>
                    <a:pt x="93" y="11"/>
                    <a:pt x="94" y="10"/>
                    <a:pt x="95" y="9"/>
                  </a:cubicBezTo>
                  <a:cubicBezTo>
                    <a:pt x="97" y="9"/>
                    <a:pt x="103" y="9"/>
                    <a:pt x="105" y="9"/>
                  </a:cubicBezTo>
                  <a:cubicBezTo>
                    <a:pt x="106" y="10"/>
                    <a:pt x="107" y="11"/>
                    <a:pt x="107" y="12"/>
                  </a:cubicBezTo>
                  <a:cubicBezTo>
                    <a:pt x="107" y="14"/>
                    <a:pt x="108" y="16"/>
                    <a:pt x="108" y="18"/>
                  </a:cubicBezTo>
                  <a:cubicBezTo>
                    <a:pt x="109" y="20"/>
                    <a:pt x="110" y="21"/>
                    <a:pt x="112" y="21"/>
                  </a:cubicBezTo>
                  <a:cubicBezTo>
                    <a:pt x="125" y="23"/>
                    <a:pt x="137" y="28"/>
                    <a:pt x="148" y="36"/>
                  </a:cubicBezTo>
                  <a:cubicBezTo>
                    <a:pt x="149" y="37"/>
                    <a:pt x="151" y="37"/>
                    <a:pt x="152" y="36"/>
                  </a:cubicBezTo>
                  <a:cubicBezTo>
                    <a:pt x="154" y="36"/>
                    <a:pt x="155" y="35"/>
                    <a:pt x="157" y="33"/>
                  </a:cubicBezTo>
                  <a:cubicBezTo>
                    <a:pt x="159" y="32"/>
                    <a:pt x="161" y="32"/>
                    <a:pt x="162" y="34"/>
                  </a:cubicBezTo>
                  <a:cubicBezTo>
                    <a:pt x="164" y="35"/>
                    <a:pt x="165" y="36"/>
                    <a:pt x="166" y="38"/>
                  </a:cubicBezTo>
                  <a:cubicBezTo>
                    <a:pt x="168" y="39"/>
                    <a:pt x="168" y="41"/>
                    <a:pt x="167" y="43"/>
                  </a:cubicBezTo>
                  <a:cubicBezTo>
                    <a:pt x="165" y="44"/>
                    <a:pt x="164" y="46"/>
                    <a:pt x="164" y="47"/>
                  </a:cubicBezTo>
                  <a:cubicBezTo>
                    <a:pt x="163" y="49"/>
                    <a:pt x="163" y="51"/>
                    <a:pt x="164" y="52"/>
                  </a:cubicBezTo>
                  <a:cubicBezTo>
                    <a:pt x="172" y="63"/>
                    <a:pt x="177" y="75"/>
                    <a:pt x="179" y="88"/>
                  </a:cubicBezTo>
                  <a:cubicBezTo>
                    <a:pt x="179" y="90"/>
                    <a:pt x="180" y="91"/>
                    <a:pt x="182" y="92"/>
                  </a:cubicBezTo>
                  <a:cubicBezTo>
                    <a:pt x="184" y="92"/>
                    <a:pt x="185" y="93"/>
                    <a:pt x="187" y="93"/>
                  </a:cubicBezTo>
                  <a:cubicBezTo>
                    <a:pt x="190" y="93"/>
                    <a:pt x="191" y="95"/>
                    <a:pt x="191" y="97"/>
                  </a:cubicBezTo>
                  <a:cubicBezTo>
                    <a:pt x="191" y="99"/>
                    <a:pt x="191" y="101"/>
                    <a:pt x="191" y="103"/>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08" name="Freeform 83">
              <a:extLst>
                <a:ext uri="{FF2B5EF4-FFF2-40B4-BE49-F238E27FC236}">
                  <a16:creationId xmlns:a16="http://schemas.microsoft.com/office/drawing/2014/main" id="{777FFEE3-BE63-4F3D-B0E0-F035DCA882A6}"/>
                </a:ext>
              </a:extLst>
            </p:cNvPr>
            <p:cNvSpPr>
              <a:spLocks noEditPoints="1"/>
            </p:cNvSpPr>
            <p:nvPr/>
          </p:nvSpPr>
          <p:spPr bwMode="auto">
            <a:xfrm>
              <a:off x="951872" y="5254671"/>
              <a:ext cx="378969" cy="378969"/>
            </a:xfrm>
            <a:custGeom>
              <a:avLst/>
              <a:gdLst>
                <a:gd name="T0" fmla="*/ 99 w 116"/>
                <a:gd name="T1" fmla="*/ 17 h 116"/>
                <a:gd name="T2" fmla="*/ 58 w 116"/>
                <a:gd name="T3" fmla="*/ 0 h 116"/>
                <a:gd name="T4" fmla="*/ 58 w 116"/>
                <a:gd name="T5" fmla="*/ 0 h 116"/>
                <a:gd name="T6" fmla="*/ 17 w 116"/>
                <a:gd name="T7" fmla="*/ 17 h 116"/>
                <a:gd name="T8" fmla="*/ 0 w 116"/>
                <a:gd name="T9" fmla="*/ 58 h 116"/>
                <a:gd name="T10" fmla="*/ 58 w 116"/>
                <a:gd name="T11" fmla="*/ 116 h 116"/>
                <a:gd name="T12" fmla="*/ 58 w 116"/>
                <a:gd name="T13" fmla="*/ 116 h 116"/>
                <a:gd name="T14" fmla="*/ 99 w 116"/>
                <a:gd name="T15" fmla="*/ 99 h 116"/>
                <a:gd name="T16" fmla="*/ 116 w 116"/>
                <a:gd name="T17" fmla="*/ 58 h 116"/>
                <a:gd name="T18" fmla="*/ 99 w 116"/>
                <a:gd name="T19" fmla="*/ 17 h 116"/>
                <a:gd name="T20" fmla="*/ 91 w 116"/>
                <a:gd name="T21" fmla="*/ 91 h 116"/>
                <a:gd name="T22" fmla="*/ 74 w 116"/>
                <a:gd name="T23" fmla="*/ 102 h 116"/>
                <a:gd name="T24" fmla="*/ 65 w 116"/>
                <a:gd name="T25" fmla="*/ 92 h 116"/>
                <a:gd name="T26" fmla="*/ 59 w 116"/>
                <a:gd name="T27" fmla="*/ 89 h 116"/>
                <a:gd name="T28" fmla="*/ 56 w 116"/>
                <a:gd name="T29" fmla="*/ 90 h 116"/>
                <a:gd name="T30" fmla="*/ 27 w 116"/>
                <a:gd name="T31" fmla="*/ 75 h 116"/>
                <a:gd name="T32" fmla="*/ 22 w 116"/>
                <a:gd name="T33" fmla="*/ 56 h 116"/>
                <a:gd name="T34" fmla="*/ 25 w 116"/>
                <a:gd name="T35" fmla="*/ 54 h 116"/>
                <a:gd name="T36" fmla="*/ 42 w 116"/>
                <a:gd name="T37" fmla="*/ 65 h 116"/>
                <a:gd name="T38" fmla="*/ 54 w 116"/>
                <a:gd name="T39" fmla="*/ 63 h 116"/>
                <a:gd name="T40" fmla="*/ 63 w 116"/>
                <a:gd name="T41" fmla="*/ 47 h 116"/>
                <a:gd name="T42" fmla="*/ 61 w 116"/>
                <a:gd name="T43" fmla="*/ 36 h 116"/>
                <a:gd name="T44" fmla="*/ 46 w 116"/>
                <a:gd name="T45" fmla="*/ 27 h 116"/>
                <a:gd name="T46" fmla="*/ 47 w 116"/>
                <a:gd name="T47" fmla="*/ 23 h 116"/>
                <a:gd name="T48" fmla="*/ 54 w 116"/>
                <a:gd name="T49" fmla="*/ 22 h 116"/>
                <a:gd name="T50" fmla="*/ 90 w 116"/>
                <a:gd name="T51" fmla="*/ 56 h 116"/>
                <a:gd name="T52" fmla="*/ 90 w 116"/>
                <a:gd name="T53" fmla="*/ 57 h 116"/>
                <a:gd name="T54" fmla="*/ 92 w 116"/>
                <a:gd name="T55" fmla="*/ 62 h 116"/>
                <a:gd name="T56" fmla="*/ 103 w 116"/>
                <a:gd name="T57" fmla="*/ 72 h 116"/>
                <a:gd name="T58" fmla="*/ 91 w 116"/>
                <a:gd name="T59" fmla="*/ 9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16">
                  <a:moveTo>
                    <a:pt x="99" y="17"/>
                  </a:moveTo>
                  <a:cubicBezTo>
                    <a:pt x="88" y="6"/>
                    <a:pt x="73" y="0"/>
                    <a:pt x="58" y="0"/>
                  </a:cubicBezTo>
                  <a:cubicBezTo>
                    <a:pt x="58" y="0"/>
                    <a:pt x="58" y="0"/>
                    <a:pt x="58" y="0"/>
                  </a:cubicBezTo>
                  <a:cubicBezTo>
                    <a:pt x="43" y="0"/>
                    <a:pt x="28" y="6"/>
                    <a:pt x="17" y="17"/>
                  </a:cubicBezTo>
                  <a:cubicBezTo>
                    <a:pt x="6" y="28"/>
                    <a:pt x="0" y="42"/>
                    <a:pt x="0" y="58"/>
                  </a:cubicBezTo>
                  <a:cubicBezTo>
                    <a:pt x="0" y="90"/>
                    <a:pt x="26" y="116"/>
                    <a:pt x="58" y="116"/>
                  </a:cubicBezTo>
                  <a:cubicBezTo>
                    <a:pt x="58" y="116"/>
                    <a:pt x="58" y="116"/>
                    <a:pt x="58" y="116"/>
                  </a:cubicBezTo>
                  <a:cubicBezTo>
                    <a:pt x="74" y="116"/>
                    <a:pt x="88" y="110"/>
                    <a:pt x="99" y="99"/>
                  </a:cubicBezTo>
                  <a:cubicBezTo>
                    <a:pt x="110" y="88"/>
                    <a:pt x="116" y="73"/>
                    <a:pt x="116" y="58"/>
                  </a:cubicBezTo>
                  <a:cubicBezTo>
                    <a:pt x="116" y="42"/>
                    <a:pt x="110" y="28"/>
                    <a:pt x="99" y="17"/>
                  </a:cubicBezTo>
                  <a:close/>
                  <a:moveTo>
                    <a:pt x="91" y="91"/>
                  </a:moveTo>
                  <a:cubicBezTo>
                    <a:pt x="86" y="96"/>
                    <a:pt x="81" y="100"/>
                    <a:pt x="74" y="102"/>
                  </a:cubicBezTo>
                  <a:cubicBezTo>
                    <a:pt x="65" y="92"/>
                    <a:pt x="65" y="92"/>
                    <a:pt x="65" y="92"/>
                  </a:cubicBezTo>
                  <a:cubicBezTo>
                    <a:pt x="64" y="90"/>
                    <a:pt x="61" y="89"/>
                    <a:pt x="59" y="89"/>
                  </a:cubicBezTo>
                  <a:cubicBezTo>
                    <a:pt x="58" y="90"/>
                    <a:pt x="57" y="90"/>
                    <a:pt x="56" y="90"/>
                  </a:cubicBezTo>
                  <a:cubicBezTo>
                    <a:pt x="44" y="90"/>
                    <a:pt x="33" y="84"/>
                    <a:pt x="27" y="75"/>
                  </a:cubicBezTo>
                  <a:cubicBezTo>
                    <a:pt x="24" y="70"/>
                    <a:pt x="22" y="62"/>
                    <a:pt x="22" y="56"/>
                  </a:cubicBezTo>
                  <a:cubicBezTo>
                    <a:pt x="22" y="54"/>
                    <a:pt x="24" y="53"/>
                    <a:pt x="25" y="54"/>
                  </a:cubicBezTo>
                  <a:cubicBezTo>
                    <a:pt x="42" y="65"/>
                    <a:pt x="42" y="65"/>
                    <a:pt x="42" y="65"/>
                  </a:cubicBezTo>
                  <a:cubicBezTo>
                    <a:pt x="46" y="67"/>
                    <a:pt x="51" y="66"/>
                    <a:pt x="54" y="63"/>
                  </a:cubicBezTo>
                  <a:cubicBezTo>
                    <a:pt x="63" y="47"/>
                    <a:pt x="63" y="47"/>
                    <a:pt x="63" y="47"/>
                  </a:cubicBezTo>
                  <a:cubicBezTo>
                    <a:pt x="66" y="44"/>
                    <a:pt x="65" y="38"/>
                    <a:pt x="61" y="36"/>
                  </a:cubicBezTo>
                  <a:cubicBezTo>
                    <a:pt x="46" y="27"/>
                    <a:pt x="46" y="27"/>
                    <a:pt x="46" y="27"/>
                  </a:cubicBezTo>
                  <a:cubicBezTo>
                    <a:pt x="45" y="26"/>
                    <a:pt x="45" y="23"/>
                    <a:pt x="47" y="23"/>
                  </a:cubicBezTo>
                  <a:cubicBezTo>
                    <a:pt x="49" y="22"/>
                    <a:pt x="52" y="22"/>
                    <a:pt x="54" y="22"/>
                  </a:cubicBezTo>
                  <a:cubicBezTo>
                    <a:pt x="74" y="21"/>
                    <a:pt x="90" y="36"/>
                    <a:pt x="90" y="56"/>
                  </a:cubicBezTo>
                  <a:cubicBezTo>
                    <a:pt x="90" y="56"/>
                    <a:pt x="90" y="56"/>
                    <a:pt x="90" y="57"/>
                  </a:cubicBezTo>
                  <a:cubicBezTo>
                    <a:pt x="90" y="59"/>
                    <a:pt x="90" y="61"/>
                    <a:pt x="92" y="62"/>
                  </a:cubicBezTo>
                  <a:cubicBezTo>
                    <a:pt x="103" y="72"/>
                    <a:pt x="103" y="72"/>
                    <a:pt x="103" y="72"/>
                  </a:cubicBezTo>
                  <a:cubicBezTo>
                    <a:pt x="101" y="79"/>
                    <a:pt x="97" y="86"/>
                    <a:pt x="91" y="9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309" name="Freeform 611">
            <a:extLst>
              <a:ext uri="{FF2B5EF4-FFF2-40B4-BE49-F238E27FC236}">
                <a16:creationId xmlns:a16="http://schemas.microsoft.com/office/drawing/2014/main" id="{8624A978-517E-4D55-9F43-AAB64F15A51E}"/>
              </a:ext>
            </a:extLst>
          </p:cNvPr>
          <p:cNvSpPr>
            <a:spLocks noEditPoints="1"/>
          </p:cNvSpPr>
          <p:nvPr/>
        </p:nvSpPr>
        <p:spPr bwMode="auto">
          <a:xfrm>
            <a:off x="3596057" y="5720245"/>
            <a:ext cx="364382" cy="364380"/>
          </a:xfrm>
          <a:custGeom>
            <a:avLst/>
            <a:gdLst>
              <a:gd name="T0" fmla="*/ 2802 w 4096"/>
              <a:gd name="T1" fmla="*/ 3022 h 4096"/>
              <a:gd name="T2" fmla="*/ 2772 w 4096"/>
              <a:gd name="T3" fmla="*/ 3544 h 4096"/>
              <a:gd name="T4" fmla="*/ 2716 w 4096"/>
              <a:gd name="T5" fmla="*/ 4042 h 4096"/>
              <a:gd name="T6" fmla="*/ 1044 w 4096"/>
              <a:gd name="T7" fmla="*/ 3934 h 4096"/>
              <a:gd name="T8" fmla="*/ 150 w 4096"/>
              <a:gd name="T9" fmla="*/ 4096 h 4096"/>
              <a:gd name="T10" fmla="*/ 12 w 4096"/>
              <a:gd name="T11" fmla="*/ 2420 h 4096"/>
              <a:gd name="T12" fmla="*/ 784 w 4096"/>
              <a:gd name="T13" fmla="*/ 2384 h 4096"/>
              <a:gd name="T14" fmla="*/ 1166 w 4096"/>
              <a:gd name="T15" fmla="*/ 2114 h 4096"/>
              <a:gd name="T16" fmla="*/ 1444 w 4096"/>
              <a:gd name="T17" fmla="*/ 1466 h 4096"/>
              <a:gd name="T18" fmla="*/ 1748 w 4096"/>
              <a:gd name="T19" fmla="*/ 2524 h 4096"/>
              <a:gd name="T20" fmla="*/ 1582 w 4096"/>
              <a:gd name="T21" fmla="*/ 1652 h 4096"/>
              <a:gd name="T22" fmla="*/ 1308 w 4096"/>
              <a:gd name="T23" fmla="*/ 2054 h 4096"/>
              <a:gd name="T24" fmla="*/ 820 w 4096"/>
              <a:gd name="T25" fmla="*/ 2630 h 4096"/>
              <a:gd name="T26" fmla="*/ 684 w 4096"/>
              <a:gd name="T27" fmla="*/ 2464 h 4096"/>
              <a:gd name="T28" fmla="*/ 384 w 4096"/>
              <a:gd name="T29" fmla="*/ 3024 h 4096"/>
              <a:gd name="T30" fmla="*/ 700 w 4096"/>
              <a:gd name="T31" fmla="*/ 3046 h 4096"/>
              <a:gd name="T32" fmla="*/ 1176 w 4096"/>
              <a:gd name="T33" fmla="*/ 3854 h 4096"/>
              <a:gd name="T34" fmla="*/ 2674 w 4096"/>
              <a:gd name="T35" fmla="*/ 3772 h 4096"/>
              <a:gd name="T36" fmla="*/ 1916 w 4096"/>
              <a:gd name="T37" fmla="*/ 3554 h 4096"/>
              <a:gd name="T38" fmla="*/ 2588 w 4096"/>
              <a:gd name="T39" fmla="*/ 3236 h 4096"/>
              <a:gd name="T40" fmla="*/ 2588 w 4096"/>
              <a:gd name="T41" fmla="*/ 3102 h 4096"/>
              <a:gd name="T42" fmla="*/ 1916 w 4096"/>
              <a:gd name="T43" fmla="*/ 2784 h 4096"/>
              <a:gd name="T44" fmla="*/ 2674 w 4096"/>
              <a:gd name="T45" fmla="*/ 2566 h 4096"/>
              <a:gd name="T46" fmla="*/ 1902 w 4096"/>
              <a:gd name="T47" fmla="*/ 2282 h 4096"/>
              <a:gd name="T48" fmla="*/ 2802 w 4096"/>
              <a:gd name="T49" fmla="*/ 2454 h 4096"/>
              <a:gd name="T50" fmla="*/ 2332 w 4096"/>
              <a:gd name="T51" fmla="*/ 1414 h 4096"/>
              <a:gd name="T52" fmla="*/ 2636 w 4096"/>
              <a:gd name="T53" fmla="*/ 1916 h 4096"/>
              <a:gd name="T54" fmla="*/ 2094 w 4096"/>
              <a:gd name="T55" fmla="*/ 1958 h 4096"/>
              <a:gd name="T56" fmla="*/ 2340 w 4096"/>
              <a:gd name="T57" fmla="*/ 1948 h 4096"/>
              <a:gd name="T58" fmla="*/ 2532 w 4096"/>
              <a:gd name="T59" fmla="*/ 1656 h 4096"/>
              <a:gd name="T60" fmla="*/ 2186 w 4096"/>
              <a:gd name="T61" fmla="*/ 1626 h 4096"/>
              <a:gd name="T62" fmla="*/ 2764 w 4096"/>
              <a:gd name="T63" fmla="*/ 976 h 4096"/>
              <a:gd name="T64" fmla="*/ 1806 w 4096"/>
              <a:gd name="T65" fmla="*/ 1060 h 4096"/>
              <a:gd name="T66" fmla="*/ 1684 w 4096"/>
              <a:gd name="T67" fmla="*/ 1404 h 4096"/>
              <a:gd name="T68" fmla="*/ 2348 w 4096"/>
              <a:gd name="T69" fmla="*/ 1000 h 4096"/>
              <a:gd name="T70" fmla="*/ 2890 w 4096"/>
              <a:gd name="T71" fmla="*/ 1138 h 4096"/>
              <a:gd name="T72" fmla="*/ 3682 w 4096"/>
              <a:gd name="T73" fmla="*/ 614 h 4096"/>
              <a:gd name="T74" fmla="*/ 2894 w 4096"/>
              <a:gd name="T75" fmla="*/ 580 h 4096"/>
              <a:gd name="T76" fmla="*/ 2246 w 4096"/>
              <a:gd name="T77" fmla="*/ 0 h 4096"/>
              <a:gd name="T78" fmla="*/ 1464 w 4096"/>
              <a:gd name="T79" fmla="*/ 410 h 4096"/>
              <a:gd name="T80" fmla="*/ 998 w 4096"/>
              <a:gd name="T81" fmla="*/ 646 h 4096"/>
              <a:gd name="T82" fmla="*/ 724 w 4096"/>
              <a:gd name="T83" fmla="*/ 1448 h 4096"/>
              <a:gd name="T84" fmla="*/ 654 w 4096"/>
              <a:gd name="T85" fmla="*/ 1988 h 4096"/>
              <a:gd name="T86" fmla="*/ 1068 w 4096"/>
              <a:gd name="T87" fmla="*/ 2008 h 4096"/>
              <a:gd name="T88" fmla="*/ 790 w 4096"/>
              <a:gd name="T89" fmla="*/ 1560 h 4096"/>
              <a:gd name="T90" fmla="*/ 1346 w 4096"/>
              <a:gd name="T91" fmla="*/ 1128 h 4096"/>
              <a:gd name="T92" fmla="*/ 1714 w 4096"/>
              <a:gd name="T93" fmla="*/ 734 h 4096"/>
              <a:gd name="T94" fmla="*/ 2084 w 4096"/>
              <a:gd name="T95" fmla="*/ 582 h 4096"/>
              <a:gd name="T96" fmla="*/ 2618 w 4096"/>
              <a:gd name="T97" fmla="*/ 590 h 4096"/>
              <a:gd name="T98" fmla="*/ 3308 w 4096"/>
              <a:gd name="T99" fmla="*/ 518 h 4096"/>
              <a:gd name="T100" fmla="*/ 3352 w 4096"/>
              <a:gd name="T101" fmla="*/ 1136 h 4096"/>
              <a:gd name="T102" fmla="*/ 3924 w 4096"/>
              <a:gd name="T103" fmla="*/ 1566 h 4096"/>
              <a:gd name="T104" fmla="*/ 3478 w 4096"/>
              <a:gd name="T105" fmla="*/ 2036 h 4096"/>
              <a:gd name="T106" fmla="*/ 3592 w 4096"/>
              <a:gd name="T107" fmla="*/ 2762 h 4096"/>
              <a:gd name="T108" fmla="*/ 2904 w 4096"/>
              <a:gd name="T109" fmla="*/ 2766 h 4096"/>
              <a:gd name="T110" fmla="*/ 3458 w 4096"/>
              <a:gd name="T111" fmla="*/ 3092 h 4096"/>
              <a:gd name="T112" fmla="*/ 3492 w 4096"/>
              <a:gd name="T113" fmla="*/ 2342 h 4096"/>
              <a:gd name="T114" fmla="*/ 4096 w 4096"/>
              <a:gd name="T115" fmla="*/ 1642 h 4096"/>
              <a:gd name="T116" fmla="*/ 2972 w 4096"/>
              <a:gd name="T117" fmla="*/ 2360 h 4096"/>
              <a:gd name="T118" fmla="*/ 3158 w 4096"/>
              <a:gd name="T119" fmla="*/ 1414 h 4096"/>
              <a:gd name="T120" fmla="*/ 2954 w 4096"/>
              <a:gd name="T121" fmla="*/ 1310 h 4096"/>
              <a:gd name="T122" fmla="*/ 2944 w 4096"/>
              <a:gd name="T123" fmla="*/ 2196 h 4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96" h="4096">
                <a:moveTo>
                  <a:pt x="2802" y="2480"/>
                </a:moveTo>
                <a:lnTo>
                  <a:pt x="2802" y="2566"/>
                </a:lnTo>
                <a:lnTo>
                  <a:pt x="2802" y="2566"/>
                </a:lnTo>
                <a:lnTo>
                  <a:pt x="2802" y="2590"/>
                </a:lnTo>
                <a:lnTo>
                  <a:pt x="2798" y="2614"/>
                </a:lnTo>
                <a:lnTo>
                  <a:pt x="2792" y="2638"/>
                </a:lnTo>
                <a:lnTo>
                  <a:pt x="2782" y="2660"/>
                </a:lnTo>
                <a:lnTo>
                  <a:pt x="2772" y="2682"/>
                </a:lnTo>
                <a:lnTo>
                  <a:pt x="2758" y="2702"/>
                </a:lnTo>
                <a:lnTo>
                  <a:pt x="2744" y="2720"/>
                </a:lnTo>
                <a:lnTo>
                  <a:pt x="2728" y="2738"/>
                </a:lnTo>
                <a:lnTo>
                  <a:pt x="2728" y="2738"/>
                </a:lnTo>
                <a:lnTo>
                  <a:pt x="2744" y="2754"/>
                </a:lnTo>
                <a:lnTo>
                  <a:pt x="2758" y="2774"/>
                </a:lnTo>
                <a:lnTo>
                  <a:pt x="2772" y="2794"/>
                </a:lnTo>
                <a:lnTo>
                  <a:pt x="2782" y="2814"/>
                </a:lnTo>
                <a:lnTo>
                  <a:pt x="2792" y="2838"/>
                </a:lnTo>
                <a:lnTo>
                  <a:pt x="2798" y="2860"/>
                </a:lnTo>
                <a:lnTo>
                  <a:pt x="2802" y="2886"/>
                </a:lnTo>
                <a:lnTo>
                  <a:pt x="2802" y="2910"/>
                </a:lnTo>
                <a:lnTo>
                  <a:pt x="2802" y="2996"/>
                </a:lnTo>
                <a:lnTo>
                  <a:pt x="2802" y="2996"/>
                </a:lnTo>
                <a:lnTo>
                  <a:pt x="2802" y="3022"/>
                </a:lnTo>
                <a:lnTo>
                  <a:pt x="2798" y="3046"/>
                </a:lnTo>
                <a:lnTo>
                  <a:pt x="2792" y="3070"/>
                </a:lnTo>
                <a:lnTo>
                  <a:pt x="2782" y="3092"/>
                </a:lnTo>
                <a:lnTo>
                  <a:pt x="2772" y="3114"/>
                </a:lnTo>
                <a:lnTo>
                  <a:pt x="2758" y="3134"/>
                </a:lnTo>
                <a:lnTo>
                  <a:pt x="2744" y="3152"/>
                </a:lnTo>
                <a:lnTo>
                  <a:pt x="2728" y="3170"/>
                </a:lnTo>
                <a:lnTo>
                  <a:pt x="2728" y="3170"/>
                </a:lnTo>
                <a:lnTo>
                  <a:pt x="2744" y="3186"/>
                </a:lnTo>
                <a:lnTo>
                  <a:pt x="2758" y="3204"/>
                </a:lnTo>
                <a:lnTo>
                  <a:pt x="2772" y="3224"/>
                </a:lnTo>
                <a:lnTo>
                  <a:pt x="2782" y="3246"/>
                </a:lnTo>
                <a:lnTo>
                  <a:pt x="2792" y="3268"/>
                </a:lnTo>
                <a:lnTo>
                  <a:pt x="2798" y="3292"/>
                </a:lnTo>
                <a:lnTo>
                  <a:pt x="2802" y="3316"/>
                </a:lnTo>
                <a:lnTo>
                  <a:pt x="2802" y="3342"/>
                </a:lnTo>
                <a:lnTo>
                  <a:pt x="2802" y="3428"/>
                </a:lnTo>
                <a:lnTo>
                  <a:pt x="2802" y="3428"/>
                </a:lnTo>
                <a:lnTo>
                  <a:pt x="2802" y="3452"/>
                </a:lnTo>
                <a:lnTo>
                  <a:pt x="2798" y="3478"/>
                </a:lnTo>
                <a:lnTo>
                  <a:pt x="2792" y="3500"/>
                </a:lnTo>
                <a:lnTo>
                  <a:pt x="2782" y="3524"/>
                </a:lnTo>
                <a:lnTo>
                  <a:pt x="2772" y="3544"/>
                </a:lnTo>
                <a:lnTo>
                  <a:pt x="2758" y="3564"/>
                </a:lnTo>
                <a:lnTo>
                  <a:pt x="2744" y="3584"/>
                </a:lnTo>
                <a:lnTo>
                  <a:pt x="2728" y="3600"/>
                </a:lnTo>
                <a:lnTo>
                  <a:pt x="2728" y="3600"/>
                </a:lnTo>
                <a:lnTo>
                  <a:pt x="2744" y="3618"/>
                </a:lnTo>
                <a:lnTo>
                  <a:pt x="2758" y="3636"/>
                </a:lnTo>
                <a:lnTo>
                  <a:pt x="2772" y="3656"/>
                </a:lnTo>
                <a:lnTo>
                  <a:pt x="2782" y="3678"/>
                </a:lnTo>
                <a:lnTo>
                  <a:pt x="2792" y="3700"/>
                </a:lnTo>
                <a:lnTo>
                  <a:pt x="2798" y="3724"/>
                </a:lnTo>
                <a:lnTo>
                  <a:pt x="2802" y="3748"/>
                </a:lnTo>
                <a:lnTo>
                  <a:pt x="2802" y="3772"/>
                </a:lnTo>
                <a:lnTo>
                  <a:pt x="2802" y="3858"/>
                </a:lnTo>
                <a:lnTo>
                  <a:pt x="2802" y="3858"/>
                </a:lnTo>
                <a:lnTo>
                  <a:pt x="2802" y="3884"/>
                </a:lnTo>
                <a:lnTo>
                  <a:pt x="2798" y="3906"/>
                </a:lnTo>
                <a:lnTo>
                  <a:pt x="2792" y="3930"/>
                </a:lnTo>
                <a:lnTo>
                  <a:pt x="2784" y="3952"/>
                </a:lnTo>
                <a:lnTo>
                  <a:pt x="2774" y="3972"/>
                </a:lnTo>
                <a:lnTo>
                  <a:pt x="2762" y="3992"/>
                </a:lnTo>
                <a:lnTo>
                  <a:pt x="2748" y="4010"/>
                </a:lnTo>
                <a:lnTo>
                  <a:pt x="2732" y="4026"/>
                </a:lnTo>
                <a:lnTo>
                  <a:pt x="2716" y="4042"/>
                </a:lnTo>
                <a:lnTo>
                  <a:pt x="2698" y="4056"/>
                </a:lnTo>
                <a:lnTo>
                  <a:pt x="2678" y="4068"/>
                </a:lnTo>
                <a:lnTo>
                  <a:pt x="2658" y="4078"/>
                </a:lnTo>
                <a:lnTo>
                  <a:pt x="2636" y="4086"/>
                </a:lnTo>
                <a:lnTo>
                  <a:pt x="2614" y="4092"/>
                </a:lnTo>
                <a:lnTo>
                  <a:pt x="2590" y="4094"/>
                </a:lnTo>
                <a:lnTo>
                  <a:pt x="2566" y="4096"/>
                </a:lnTo>
                <a:lnTo>
                  <a:pt x="1394" y="4096"/>
                </a:lnTo>
                <a:lnTo>
                  <a:pt x="1394" y="4096"/>
                </a:lnTo>
                <a:lnTo>
                  <a:pt x="1358" y="4094"/>
                </a:lnTo>
                <a:lnTo>
                  <a:pt x="1324" y="4090"/>
                </a:lnTo>
                <a:lnTo>
                  <a:pt x="1290" y="4080"/>
                </a:lnTo>
                <a:lnTo>
                  <a:pt x="1256" y="4070"/>
                </a:lnTo>
                <a:lnTo>
                  <a:pt x="1226" y="4054"/>
                </a:lnTo>
                <a:lnTo>
                  <a:pt x="1196" y="4036"/>
                </a:lnTo>
                <a:lnTo>
                  <a:pt x="1168" y="4016"/>
                </a:lnTo>
                <a:lnTo>
                  <a:pt x="1140" y="3992"/>
                </a:lnTo>
                <a:lnTo>
                  <a:pt x="1140" y="3992"/>
                </a:lnTo>
                <a:lnTo>
                  <a:pt x="1124" y="3976"/>
                </a:lnTo>
                <a:lnTo>
                  <a:pt x="1106" y="3962"/>
                </a:lnTo>
                <a:lnTo>
                  <a:pt x="1086" y="3950"/>
                </a:lnTo>
                <a:lnTo>
                  <a:pt x="1066" y="3942"/>
                </a:lnTo>
                <a:lnTo>
                  <a:pt x="1044" y="3934"/>
                </a:lnTo>
                <a:lnTo>
                  <a:pt x="1022" y="3928"/>
                </a:lnTo>
                <a:lnTo>
                  <a:pt x="1000" y="3924"/>
                </a:lnTo>
                <a:lnTo>
                  <a:pt x="978" y="3924"/>
                </a:lnTo>
                <a:lnTo>
                  <a:pt x="820" y="3924"/>
                </a:lnTo>
                <a:lnTo>
                  <a:pt x="820" y="3946"/>
                </a:lnTo>
                <a:lnTo>
                  <a:pt x="820" y="3946"/>
                </a:lnTo>
                <a:lnTo>
                  <a:pt x="818" y="3960"/>
                </a:lnTo>
                <a:lnTo>
                  <a:pt x="816" y="3976"/>
                </a:lnTo>
                <a:lnTo>
                  <a:pt x="812" y="3990"/>
                </a:lnTo>
                <a:lnTo>
                  <a:pt x="808" y="4004"/>
                </a:lnTo>
                <a:lnTo>
                  <a:pt x="800" y="4016"/>
                </a:lnTo>
                <a:lnTo>
                  <a:pt x="794" y="4030"/>
                </a:lnTo>
                <a:lnTo>
                  <a:pt x="784" y="4042"/>
                </a:lnTo>
                <a:lnTo>
                  <a:pt x="774" y="4052"/>
                </a:lnTo>
                <a:lnTo>
                  <a:pt x="764" y="4062"/>
                </a:lnTo>
                <a:lnTo>
                  <a:pt x="752" y="4070"/>
                </a:lnTo>
                <a:lnTo>
                  <a:pt x="740" y="4078"/>
                </a:lnTo>
                <a:lnTo>
                  <a:pt x="726" y="4084"/>
                </a:lnTo>
                <a:lnTo>
                  <a:pt x="714" y="4090"/>
                </a:lnTo>
                <a:lnTo>
                  <a:pt x="698" y="4092"/>
                </a:lnTo>
                <a:lnTo>
                  <a:pt x="684" y="4096"/>
                </a:lnTo>
                <a:lnTo>
                  <a:pt x="668" y="4096"/>
                </a:lnTo>
                <a:lnTo>
                  <a:pt x="150" y="4096"/>
                </a:lnTo>
                <a:lnTo>
                  <a:pt x="150" y="4096"/>
                </a:lnTo>
                <a:lnTo>
                  <a:pt x="136" y="4096"/>
                </a:lnTo>
                <a:lnTo>
                  <a:pt x="120" y="4092"/>
                </a:lnTo>
                <a:lnTo>
                  <a:pt x="106" y="4090"/>
                </a:lnTo>
                <a:lnTo>
                  <a:pt x="92" y="4084"/>
                </a:lnTo>
                <a:lnTo>
                  <a:pt x="80" y="4078"/>
                </a:lnTo>
                <a:lnTo>
                  <a:pt x="66" y="4070"/>
                </a:lnTo>
                <a:lnTo>
                  <a:pt x="54" y="4062"/>
                </a:lnTo>
                <a:lnTo>
                  <a:pt x="44" y="4052"/>
                </a:lnTo>
                <a:lnTo>
                  <a:pt x="34" y="4042"/>
                </a:lnTo>
                <a:lnTo>
                  <a:pt x="26" y="4030"/>
                </a:lnTo>
                <a:lnTo>
                  <a:pt x="18" y="4016"/>
                </a:lnTo>
                <a:lnTo>
                  <a:pt x="12" y="4004"/>
                </a:lnTo>
                <a:lnTo>
                  <a:pt x="6" y="3990"/>
                </a:lnTo>
                <a:lnTo>
                  <a:pt x="4" y="3976"/>
                </a:lnTo>
                <a:lnTo>
                  <a:pt x="0" y="3960"/>
                </a:lnTo>
                <a:lnTo>
                  <a:pt x="0" y="3946"/>
                </a:lnTo>
                <a:lnTo>
                  <a:pt x="0" y="2480"/>
                </a:lnTo>
                <a:lnTo>
                  <a:pt x="0" y="2480"/>
                </a:lnTo>
                <a:lnTo>
                  <a:pt x="0" y="2464"/>
                </a:lnTo>
                <a:lnTo>
                  <a:pt x="4" y="2448"/>
                </a:lnTo>
                <a:lnTo>
                  <a:pt x="6" y="2434"/>
                </a:lnTo>
                <a:lnTo>
                  <a:pt x="12" y="2420"/>
                </a:lnTo>
                <a:lnTo>
                  <a:pt x="18" y="2408"/>
                </a:lnTo>
                <a:lnTo>
                  <a:pt x="26" y="2394"/>
                </a:lnTo>
                <a:lnTo>
                  <a:pt x="34" y="2384"/>
                </a:lnTo>
                <a:lnTo>
                  <a:pt x="44" y="2372"/>
                </a:lnTo>
                <a:lnTo>
                  <a:pt x="54" y="2362"/>
                </a:lnTo>
                <a:lnTo>
                  <a:pt x="66" y="2354"/>
                </a:lnTo>
                <a:lnTo>
                  <a:pt x="80" y="2346"/>
                </a:lnTo>
                <a:lnTo>
                  <a:pt x="92" y="2340"/>
                </a:lnTo>
                <a:lnTo>
                  <a:pt x="106" y="2336"/>
                </a:lnTo>
                <a:lnTo>
                  <a:pt x="120" y="2332"/>
                </a:lnTo>
                <a:lnTo>
                  <a:pt x="136" y="2330"/>
                </a:lnTo>
                <a:lnTo>
                  <a:pt x="150" y="2328"/>
                </a:lnTo>
                <a:lnTo>
                  <a:pt x="668" y="2328"/>
                </a:lnTo>
                <a:lnTo>
                  <a:pt x="668" y="2328"/>
                </a:lnTo>
                <a:lnTo>
                  <a:pt x="684" y="2330"/>
                </a:lnTo>
                <a:lnTo>
                  <a:pt x="698" y="2332"/>
                </a:lnTo>
                <a:lnTo>
                  <a:pt x="714" y="2336"/>
                </a:lnTo>
                <a:lnTo>
                  <a:pt x="726" y="2340"/>
                </a:lnTo>
                <a:lnTo>
                  <a:pt x="740" y="2346"/>
                </a:lnTo>
                <a:lnTo>
                  <a:pt x="752" y="2354"/>
                </a:lnTo>
                <a:lnTo>
                  <a:pt x="764" y="2362"/>
                </a:lnTo>
                <a:lnTo>
                  <a:pt x="774" y="2372"/>
                </a:lnTo>
                <a:lnTo>
                  <a:pt x="784" y="2384"/>
                </a:lnTo>
                <a:lnTo>
                  <a:pt x="794" y="2394"/>
                </a:lnTo>
                <a:lnTo>
                  <a:pt x="800" y="2408"/>
                </a:lnTo>
                <a:lnTo>
                  <a:pt x="808" y="2420"/>
                </a:lnTo>
                <a:lnTo>
                  <a:pt x="812" y="2434"/>
                </a:lnTo>
                <a:lnTo>
                  <a:pt x="816" y="2448"/>
                </a:lnTo>
                <a:lnTo>
                  <a:pt x="818" y="2464"/>
                </a:lnTo>
                <a:lnTo>
                  <a:pt x="820" y="2480"/>
                </a:lnTo>
                <a:lnTo>
                  <a:pt x="820" y="2500"/>
                </a:lnTo>
                <a:lnTo>
                  <a:pt x="976" y="2500"/>
                </a:lnTo>
                <a:lnTo>
                  <a:pt x="976" y="2500"/>
                </a:lnTo>
                <a:lnTo>
                  <a:pt x="992" y="2500"/>
                </a:lnTo>
                <a:lnTo>
                  <a:pt x="1008" y="2496"/>
                </a:lnTo>
                <a:lnTo>
                  <a:pt x="1024" y="2490"/>
                </a:lnTo>
                <a:lnTo>
                  <a:pt x="1038" y="2480"/>
                </a:lnTo>
                <a:lnTo>
                  <a:pt x="1050" y="2470"/>
                </a:lnTo>
                <a:lnTo>
                  <a:pt x="1062" y="2458"/>
                </a:lnTo>
                <a:lnTo>
                  <a:pt x="1070" y="2442"/>
                </a:lnTo>
                <a:lnTo>
                  <a:pt x="1078" y="2428"/>
                </a:lnTo>
                <a:lnTo>
                  <a:pt x="1102" y="2354"/>
                </a:lnTo>
                <a:lnTo>
                  <a:pt x="1102" y="2354"/>
                </a:lnTo>
                <a:lnTo>
                  <a:pt x="1126" y="2276"/>
                </a:lnTo>
                <a:lnTo>
                  <a:pt x="1148" y="2196"/>
                </a:lnTo>
                <a:lnTo>
                  <a:pt x="1166" y="2114"/>
                </a:lnTo>
                <a:lnTo>
                  <a:pt x="1180" y="2034"/>
                </a:lnTo>
                <a:lnTo>
                  <a:pt x="1192" y="1952"/>
                </a:lnTo>
                <a:lnTo>
                  <a:pt x="1200" y="1868"/>
                </a:lnTo>
                <a:lnTo>
                  <a:pt x="1206" y="1786"/>
                </a:lnTo>
                <a:lnTo>
                  <a:pt x="1208" y="1704"/>
                </a:lnTo>
                <a:lnTo>
                  <a:pt x="1208" y="1704"/>
                </a:lnTo>
                <a:lnTo>
                  <a:pt x="1208" y="1678"/>
                </a:lnTo>
                <a:lnTo>
                  <a:pt x="1212" y="1656"/>
                </a:lnTo>
                <a:lnTo>
                  <a:pt x="1218" y="1632"/>
                </a:lnTo>
                <a:lnTo>
                  <a:pt x="1226" y="1610"/>
                </a:lnTo>
                <a:lnTo>
                  <a:pt x="1236" y="1590"/>
                </a:lnTo>
                <a:lnTo>
                  <a:pt x="1248" y="1570"/>
                </a:lnTo>
                <a:lnTo>
                  <a:pt x="1262" y="1552"/>
                </a:lnTo>
                <a:lnTo>
                  <a:pt x="1276" y="1536"/>
                </a:lnTo>
                <a:lnTo>
                  <a:pt x="1294" y="1520"/>
                </a:lnTo>
                <a:lnTo>
                  <a:pt x="1312" y="1506"/>
                </a:lnTo>
                <a:lnTo>
                  <a:pt x="1332" y="1494"/>
                </a:lnTo>
                <a:lnTo>
                  <a:pt x="1352" y="1484"/>
                </a:lnTo>
                <a:lnTo>
                  <a:pt x="1374" y="1476"/>
                </a:lnTo>
                <a:lnTo>
                  <a:pt x="1396" y="1470"/>
                </a:lnTo>
                <a:lnTo>
                  <a:pt x="1420" y="1468"/>
                </a:lnTo>
                <a:lnTo>
                  <a:pt x="1444" y="1466"/>
                </a:lnTo>
                <a:lnTo>
                  <a:pt x="1444" y="1466"/>
                </a:lnTo>
                <a:lnTo>
                  <a:pt x="1476" y="1468"/>
                </a:lnTo>
                <a:lnTo>
                  <a:pt x="1508" y="1472"/>
                </a:lnTo>
                <a:lnTo>
                  <a:pt x="1538" y="1480"/>
                </a:lnTo>
                <a:lnTo>
                  <a:pt x="1568" y="1490"/>
                </a:lnTo>
                <a:lnTo>
                  <a:pt x="1596" y="1504"/>
                </a:lnTo>
                <a:lnTo>
                  <a:pt x="1624" y="1520"/>
                </a:lnTo>
                <a:lnTo>
                  <a:pt x="1650" y="1540"/>
                </a:lnTo>
                <a:lnTo>
                  <a:pt x="1674" y="1560"/>
                </a:lnTo>
                <a:lnTo>
                  <a:pt x="1674" y="1560"/>
                </a:lnTo>
                <a:lnTo>
                  <a:pt x="1694" y="1584"/>
                </a:lnTo>
                <a:lnTo>
                  <a:pt x="1714" y="1610"/>
                </a:lnTo>
                <a:lnTo>
                  <a:pt x="1730" y="1638"/>
                </a:lnTo>
                <a:lnTo>
                  <a:pt x="1744" y="1666"/>
                </a:lnTo>
                <a:lnTo>
                  <a:pt x="1754" y="1696"/>
                </a:lnTo>
                <a:lnTo>
                  <a:pt x="1762" y="1726"/>
                </a:lnTo>
                <a:lnTo>
                  <a:pt x="1766" y="1758"/>
                </a:lnTo>
                <a:lnTo>
                  <a:pt x="1768" y="1790"/>
                </a:lnTo>
                <a:lnTo>
                  <a:pt x="1768" y="2480"/>
                </a:lnTo>
                <a:lnTo>
                  <a:pt x="1768" y="2480"/>
                </a:lnTo>
                <a:lnTo>
                  <a:pt x="1766" y="2492"/>
                </a:lnTo>
                <a:lnTo>
                  <a:pt x="1762" y="2504"/>
                </a:lnTo>
                <a:lnTo>
                  <a:pt x="1756" y="2516"/>
                </a:lnTo>
                <a:lnTo>
                  <a:pt x="1748" y="2524"/>
                </a:lnTo>
                <a:lnTo>
                  <a:pt x="1740" y="2532"/>
                </a:lnTo>
                <a:lnTo>
                  <a:pt x="1728" y="2538"/>
                </a:lnTo>
                <a:lnTo>
                  <a:pt x="1716" y="2542"/>
                </a:lnTo>
                <a:lnTo>
                  <a:pt x="1704" y="2544"/>
                </a:lnTo>
                <a:lnTo>
                  <a:pt x="1704" y="2544"/>
                </a:lnTo>
                <a:lnTo>
                  <a:pt x="1690" y="2542"/>
                </a:lnTo>
                <a:lnTo>
                  <a:pt x="1678" y="2538"/>
                </a:lnTo>
                <a:lnTo>
                  <a:pt x="1666" y="2532"/>
                </a:lnTo>
                <a:lnTo>
                  <a:pt x="1658" y="2524"/>
                </a:lnTo>
                <a:lnTo>
                  <a:pt x="1650" y="2516"/>
                </a:lnTo>
                <a:lnTo>
                  <a:pt x="1644" y="2504"/>
                </a:lnTo>
                <a:lnTo>
                  <a:pt x="1640" y="2492"/>
                </a:lnTo>
                <a:lnTo>
                  <a:pt x="1638" y="2480"/>
                </a:lnTo>
                <a:lnTo>
                  <a:pt x="1638" y="1790"/>
                </a:lnTo>
                <a:lnTo>
                  <a:pt x="1638" y="1790"/>
                </a:lnTo>
                <a:lnTo>
                  <a:pt x="1638" y="1770"/>
                </a:lnTo>
                <a:lnTo>
                  <a:pt x="1634" y="1752"/>
                </a:lnTo>
                <a:lnTo>
                  <a:pt x="1630" y="1732"/>
                </a:lnTo>
                <a:lnTo>
                  <a:pt x="1624" y="1716"/>
                </a:lnTo>
                <a:lnTo>
                  <a:pt x="1616" y="1698"/>
                </a:lnTo>
                <a:lnTo>
                  <a:pt x="1606" y="1682"/>
                </a:lnTo>
                <a:lnTo>
                  <a:pt x="1594" y="1666"/>
                </a:lnTo>
                <a:lnTo>
                  <a:pt x="1582" y="1652"/>
                </a:lnTo>
                <a:lnTo>
                  <a:pt x="1582" y="1652"/>
                </a:lnTo>
                <a:lnTo>
                  <a:pt x="1568" y="1640"/>
                </a:lnTo>
                <a:lnTo>
                  <a:pt x="1552" y="1628"/>
                </a:lnTo>
                <a:lnTo>
                  <a:pt x="1536" y="1618"/>
                </a:lnTo>
                <a:lnTo>
                  <a:pt x="1518" y="1610"/>
                </a:lnTo>
                <a:lnTo>
                  <a:pt x="1500" y="1604"/>
                </a:lnTo>
                <a:lnTo>
                  <a:pt x="1482" y="1600"/>
                </a:lnTo>
                <a:lnTo>
                  <a:pt x="1464" y="1596"/>
                </a:lnTo>
                <a:lnTo>
                  <a:pt x="1444" y="1596"/>
                </a:lnTo>
                <a:lnTo>
                  <a:pt x="1444" y="1596"/>
                </a:lnTo>
                <a:lnTo>
                  <a:pt x="1422" y="1598"/>
                </a:lnTo>
                <a:lnTo>
                  <a:pt x="1402" y="1604"/>
                </a:lnTo>
                <a:lnTo>
                  <a:pt x="1384" y="1614"/>
                </a:lnTo>
                <a:lnTo>
                  <a:pt x="1368" y="1626"/>
                </a:lnTo>
                <a:lnTo>
                  <a:pt x="1356" y="1642"/>
                </a:lnTo>
                <a:lnTo>
                  <a:pt x="1346" y="1662"/>
                </a:lnTo>
                <a:lnTo>
                  <a:pt x="1338" y="1682"/>
                </a:lnTo>
                <a:lnTo>
                  <a:pt x="1336" y="1704"/>
                </a:lnTo>
                <a:lnTo>
                  <a:pt x="1336" y="1704"/>
                </a:lnTo>
                <a:lnTo>
                  <a:pt x="1334" y="1792"/>
                </a:lnTo>
                <a:lnTo>
                  <a:pt x="1330" y="1880"/>
                </a:lnTo>
                <a:lnTo>
                  <a:pt x="1320" y="1966"/>
                </a:lnTo>
                <a:lnTo>
                  <a:pt x="1308" y="2054"/>
                </a:lnTo>
                <a:lnTo>
                  <a:pt x="1292" y="2140"/>
                </a:lnTo>
                <a:lnTo>
                  <a:pt x="1274" y="2226"/>
                </a:lnTo>
                <a:lnTo>
                  <a:pt x="1250" y="2312"/>
                </a:lnTo>
                <a:lnTo>
                  <a:pt x="1224" y="2396"/>
                </a:lnTo>
                <a:lnTo>
                  <a:pt x="1200" y="2468"/>
                </a:lnTo>
                <a:lnTo>
                  <a:pt x="1200" y="2468"/>
                </a:lnTo>
                <a:lnTo>
                  <a:pt x="1194" y="2486"/>
                </a:lnTo>
                <a:lnTo>
                  <a:pt x="1186" y="2502"/>
                </a:lnTo>
                <a:lnTo>
                  <a:pt x="1176" y="2518"/>
                </a:lnTo>
                <a:lnTo>
                  <a:pt x="1166" y="2534"/>
                </a:lnTo>
                <a:lnTo>
                  <a:pt x="1154" y="2548"/>
                </a:lnTo>
                <a:lnTo>
                  <a:pt x="1142" y="2562"/>
                </a:lnTo>
                <a:lnTo>
                  <a:pt x="1128" y="2574"/>
                </a:lnTo>
                <a:lnTo>
                  <a:pt x="1114" y="2586"/>
                </a:lnTo>
                <a:lnTo>
                  <a:pt x="1098" y="2596"/>
                </a:lnTo>
                <a:lnTo>
                  <a:pt x="1082" y="2604"/>
                </a:lnTo>
                <a:lnTo>
                  <a:pt x="1066" y="2612"/>
                </a:lnTo>
                <a:lnTo>
                  <a:pt x="1048" y="2618"/>
                </a:lnTo>
                <a:lnTo>
                  <a:pt x="1032" y="2624"/>
                </a:lnTo>
                <a:lnTo>
                  <a:pt x="1012" y="2628"/>
                </a:lnTo>
                <a:lnTo>
                  <a:pt x="994" y="2630"/>
                </a:lnTo>
                <a:lnTo>
                  <a:pt x="976" y="2630"/>
                </a:lnTo>
                <a:lnTo>
                  <a:pt x="820" y="2630"/>
                </a:lnTo>
                <a:lnTo>
                  <a:pt x="820" y="2824"/>
                </a:lnTo>
                <a:lnTo>
                  <a:pt x="820" y="2824"/>
                </a:lnTo>
                <a:lnTo>
                  <a:pt x="818" y="2838"/>
                </a:lnTo>
                <a:lnTo>
                  <a:pt x="814" y="2850"/>
                </a:lnTo>
                <a:lnTo>
                  <a:pt x="808" y="2860"/>
                </a:lnTo>
                <a:lnTo>
                  <a:pt x="800" y="2870"/>
                </a:lnTo>
                <a:lnTo>
                  <a:pt x="790" y="2878"/>
                </a:lnTo>
                <a:lnTo>
                  <a:pt x="780" y="2884"/>
                </a:lnTo>
                <a:lnTo>
                  <a:pt x="768" y="2888"/>
                </a:lnTo>
                <a:lnTo>
                  <a:pt x="754" y="2888"/>
                </a:lnTo>
                <a:lnTo>
                  <a:pt x="754" y="2888"/>
                </a:lnTo>
                <a:lnTo>
                  <a:pt x="742" y="2888"/>
                </a:lnTo>
                <a:lnTo>
                  <a:pt x="730" y="2884"/>
                </a:lnTo>
                <a:lnTo>
                  <a:pt x="718" y="2878"/>
                </a:lnTo>
                <a:lnTo>
                  <a:pt x="708" y="2870"/>
                </a:lnTo>
                <a:lnTo>
                  <a:pt x="700" y="2860"/>
                </a:lnTo>
                <a:lnTo>
                  <a:pt x="694" y="2850"/>
                </a:lnTo>
                <a:lnTo>
                  <a:pt x="692" y="2838"/>
                </a:lnTo>
                <a:lnTo>
                  <a:pt x="690" y="2824"/>
                </a:lnTo>
                <a:lnTo>
                  <a:pt x="690" y="2480"/>
                </a:lnTo>
                <a:lnTo>
                  <a:pt x="690" y="2480"/>
                </a:lnTo>
                <a:lnTo>
                  <a:pt x="688" y="2470"/>
                </a:lnTo>
                <a:lnTo>
                  <a:pt x="684" y="2464"/>
                </a:lnTo>
                <a:lnTo>
                  <a:pt x="676" y="2460"/>
                </a:lnTo>
                <a:lnTo>
                  <a:pt x="668" y="2458"/>
                </a:lnTo>
                <a:lnTo>
                  <a:pt x="150" y="2458"/>
                </a:lnTo>
                <a:lnTo>
                  <a:pt x="150" y="2458"/>
                </a:lnTo>
                <a:lnTo>
                  <a:pt x="142" y="2460"/>
                </a:lnTo>
                <a:lnTo>
                  <a:pt x="136" y="2464"/>
                </a:lnTo>
                <a:lnTo>
                  <a:pt x="132" y="2470"/>
                </a:lnTo>
                <a:lnTo>
                  <a:pt x="130" y="2480"/>
                </a:lnTo>
                <a:lnTo>
                  <a:pt x="130" y="3946"/>
                </a:lnTo>
                <a:lnTo>
                  <a:pt x="130" y="3946"/>
                </a:lnTo>
                <a:lnTo>
                  <a:pt x="132" y="3954"/>
                </a:lnTo>
                <a:lnTo>
                  <a:pt x="136" y="3960"/>
                </a:lnTo>
                <a:lnTo>
                  <a:pt x="142" y="3964"/>
                </a:lnTo>
                <a:lnTo>
                  <a:pt x="150" y="3966"/>
                </a:lnTo>
                <a:lnTo>
                  <a:pt x="344" y="3966"/>
                </a:lnTo>
                <a:lnTo>
                  <a:pt x="344" y="3082"/>
                </a:lnTo>
                <a:lnTo>
                  <a:pt x="344" y="3082"/>
                </a:lnTo>
                <a:lnTo>
                  <a:pt x="346" y="3070"/>
                </a:lnTo>
                <a:lnTo>
                  <a:pt x="350" y="3058"/>
                </a:lnTo>
                <a:lnTo>
                  <a:pt x="356" y="3046"/>
                </a:lnTo>
                <a:lnTo>
                  <a:pt x="364" y="3038"/>
                </a:lnTo>
                <a:lnTo>
                  <a:pt x="374" y="3030"/>
                </a:lnTo>
                <a:lnTo>
                  <a:pt x="384" y="3024"/>
                </a:lnTo>
                <a:lnTo>
                  <a:pt x="396" y="3020"/>
                </a:lnTo>
                <a:lnTo>
                  <a:pt x="410" y="3018"/>
                </a:lnTo>
                <a:lnTo>
                  <a:pt x="410" y="3018"/>
                </a:lnTo>
                <a:lnTo>
                  <a:pt x="422" y="3020"/>
                </a:lnTo>
                <a:lnTo>
                  <a:pt x="434" y="3024"/>
                </a:lnTo>
                <a:lnTo>
                  <a:pt x="446" y="3030"/>
                </a:lnTo>
                <a:lnTo>
                  <a:pt x="456" y="3038"/>
                </a:lnTo>
                <a:lnTo>
                  <a:pt x="464" y="3046"/>
                </a:lnTo>
                <a:lnTo>
                  <a:pt x="470" y="3058"/>
                </a:lnTo>
                <a:lnTo>
                  <a:pt x="472" y="3070"/>
                </a:lnTo>
                <a:lnTo>
                  <a:pt x="474" y="3082"/>
                </a:lnTo>
                <a:lnTo>
                  <a:pt x="474" y="3966"/>
                </a:lnTo>
                <a:lnTo>
                  <a:pt x="668" y="3966"/>
                </a:lnTo>
                <a:lnTo>
                  <a:pt x="668" y="3966"/>
                </a:lnTo>
                <a:lnTo>
                  <a:pt x="676" y="3964"/>
                </a:lnTo>
                <a:lnTo>
                  <a:pt x="684" y="3960"/>
                </a:lnTo>
                <a:lnTo>
                  <a:pt x="688" y="3954"/>
                </a:lnTo>
                <a:lnTo>
                  <a:pt x="690" y="3946"/>
                </a:lnTo>
                <a:lnTo>
                  <a:pt x="690" y="3082"/>
                </a:lnTo>
                <a:lnTo>
                  <a:pt x="690" y="3082"/>
                </a:lnTo>
                <a:lnTo>
                  <a:pt x="692" y="3070"/>
                </a:lnTo>
                <a:lnTo>
                  <a:pt x="694" y="3058"/>
                </a:lnTo>
                <a:lnTo>
                  <a:pt x="700" y="3046"/>
                </a:lnTo>
                <a:lnTo>
                  <a:pt x="708" y="3038"/>
                </a:lnTo>
                <a:lnTo>
                  <a:pt x="718" y="3030"/>
                </a:lnTo>
                <a:lnTo>
                  <a:pt x="730" y="3024"/>
                </a:lnTo>
                <a:lnTo>
                  <a:pt x="742" y="3020"/>
                </a:lnTo>
                <a:lnTo>
                  <a:pt x="754" y="3018"/>
                </a:lnTo>
                <a:lnTo>
                  <a:pt x="754" y="3018"/>
                </a:lnTo>
                <a:lnTo>
                  <a:pt x="768" y="3020"/>
                </a:lnTo>
                <a:lnTo>
                  <a:pt x="780" y="3024"/>
                </a:lnTo>
                <a:lnTo>
                  <a:pt x="790" y="3030"/>
                </a:lnTo>
                <a:lnTo>
                  <a:pt x="800" y="3038"/>
                </a:lnTo>
                <a:lnTo>
                  <a:pt x="808" y="3046"/>
                </a:lnTo>
                <a:lnTo>
                  <a:pt x="814" y="3058"/>
                </a:lnTo>
                <a:lnTo>
                  <a:pt x="818" y="3070"/>
                </a:lnTo>
                <a:lnTo>
                  <a:pt x="820" y="3082"/>
                </a:lnTo>
                <a:lnTo>
                  <a:pt x="820" y="3794"/>
                </a:lnTo>
                <a:lnTo>
                  <a:pt x="978" y="3794"/>
                </a:lnTo>
                <a:lnTo>
                  <a:pt x="978" y="3794"/>
                </a:lnTo>
                <a:lnTo>
                  <a:pt x="1014" y="3796"/>
                </a:lnTo>
                <a:lnTo>
                  <a:pt x="1048" y="3802"/>
                </a:lnTo>
                <a:lnTo>
                  <a:pt x="1082" y="3810"/>
                </a:lnTo>
                <a:lnTo>
                  <a:pt x="1114" y="3822"/>
                </a:lnTo>
                <a:lnTo>
                  <a:pt x="1146" y="3836"/>
                </a:lnTo>
                <a:lnTo>
                  <a:pt x="1176" y="3854"/>
                </a:lnTo>
                <a:lnTo>
                  <a:pt x="1206" y="3876"/>
                </a:lnTo>
                <a:lnTo>
                  <a:pt x="1232" y="3900"/>
                </a:lnTo>
                <a:lnTo>
                  <a:pt x="1232" y="3900"/>
                </a:lnTo>
                <a:lnTo>
                  <a:pt x="1248" y="3916"/>
                </a:lnTo>
                <a:lnTo>
                  <a:pt x="1266" y="3928"/>
                </a:lnTo>
                <a:lnTo>
                  <a:pt x="1286" y="3940"/>
                </a:lnTo>
                <a:lnTo>
                  <a:pt x="1306" y="3950"/>
                </a:lnTo>
                <a:lnTo>
                  <a:pt x="1328" y="3956"/>
                </a:lnTo>
                <a:lnTo>
                  <a:pt x="1348" y="3962"/>
                </a:lnTo>
                <a:lnTo>
                  <a:pt x="1372" y="3966"/>
                </a:lnTo>
                <a:lnTo>
                  <a:pt x="1394" y="3966"/>
                </a:lnTo>
                <a:lnTo>
                  <a:pt x="2566" y="3966"/>
                </a:lnTo>
                <a:lnTo>
                  <a:pt x="2566" y="3966"/>
                </a:lnTo>
                <a:lnTo>
                  <a:pt x="2588" y="3964"/>
                </a:lnTo>
                <a:lnTo>
                  <a:pt x="2608" y="3958"/>
                </a:lnTo>
                <a:lnTo>
                  <a:pt x="2626" y="3948"/>
                </a:lnTo>
                <a:lnTo>
                  <a:pt x="2642" y="3936"/>
                </a:lnTo>
                <a:lnTo>
                  <a:pt x="2654" y="3920"/>
                </a:lnTo>
                <a:lnTo>
                  <a:pt x="2664" y="3900"/>
                </a:lnTo>
                <a:lnTo>
                  <a:pt x="2670" y="3880"/>
                </a:lnTo>
                <a:lnTo>
                  <a:pt x="2674" y="3858"/>
                </a:lnTo>
                <a:lnTo>
                  <a:pt x="2674" y="3772"/>
                </a:lnTo>
                <a:lnTo>
                  <a:pt x="2674" y="3772"/>
                </a:lnTo>
                <a:lnTo>
                  <a:pt x="2670" y="3750"/>
                </a:lnTo>
                <a:lnTo>
                  <a:pt x="2664" y="3730"/>
                </a:lnTo>
                <a:lnTo>
                  <a:pt x="2654" y="3712"/>
                </a:lnTo>
                <a:lnTo>
                  <a:pt x="2642" y="3696"/>
                </a:lnTo>
                <a:lnTo>
                  <a:pt x="2626" y="3684"/>
                </a:lnTo>
                <a:lnTo>
                  <a:pt x="2608" y="3674"/>
                </a:lnTo>
                <a:lnTo>
                  <a:pt x="2588" y="3668"/>
                </a:lnTo>
                <a:lnTo>
                  <a:pt x="2566" y="3664"/>
                </a:lnTo>
                <a:lnTo>
                  <a:pt x="1962" y="3664"/>
                </a:lnTo>
                <a:lnTo>
                  <a:pt x="1962" y="3664"/>
                </a:lnTo>
                <a:lnTo>
                  <a:pt x="1948" y="3664"/>
                </a:lnTo>
                <a:lnTo>
                  <a:pt x="1936" y="3660"/>
                </a:lnTo>
                <a:lnTo>
                  <a:pt x="1926" y="3654"/>
                </a:lnTo>
                <a:lnTo>
                  <a:pt x="1916" y="3646"/>
                </a:lnTo>
                <a:lnTo>
                  <a:pt x="1908" y="3636"/>
                </a:lnTo>
                <a:lnTo>
                  <a:pt x="1902" y="3626"/>
                </a:lnTo>
                <a:lnTo>
                  <a:pt x="1898" y="3614"/>
                </a:lnTo>
                <a:lnTo>
                  <a:pt x="1898" y="3600"/>
                </a:lnTo>
                <a:lnTo>
                  <a:pt x="1898" y="3600"/>
                </a:lnTo>
                <a:lnTo>
                  <a:pt x="1898" y="3588"/>
                </a:lnTo>
                <a:lnTo>
                  <a:pt x="1902" y="3574"/>
                </a:lnTo>
                <a:lnTo>
                  <a:pt x="1908" y="3564"/>
                </a:lnTo>
                <a:lnTo>
                  <a:pt x="1916" y="3554"/>
                </a:lnTo>
                <a:lnTo>
                  <a:pt x="1926" y="3546"/>
                </a:lnTo>
                <a:lnTo>
                  <a:pt x="1936" y="3540"/>
                </a:lnTo>
                <a:lnTo>
                  <a:pt x="1948" y="3536"/>
                </a:lnTo>
                <a:lnTo>
                  <a:pt x="1962" y="3536"/>
                </a:lnTo>
                <a:lnTo>
                  <a:pt x="2566" y="3536"/>
                </a:lnTo>
                <a:lnTo>
                  <a:pt x="2566" y="3536"/>
                </a:lnTo>
                <a:lnTo>
                  <a:pt x="2588" y="3534"/>
                </a:lnTo>
                <a:lnTo>
                  <a:pt x="2608" y="3528"/>
                </a:lnTo>
                <a:lnTo>
                  <a:pt x="2626" y="3518"/>
                </a:lnTo>
                <a:lnTo>
                  <a:pt x="2642" y="3504"/>
                </a:lnTo>
                <a:lnTo>
                  <a:pt x="2654" y="3488"/>
                </a:lnTo>
                <a:lnTo>
                  <a:pt x="2664" y="3470"/>
                </a:lnTo>
                <a:lnTo>
                  <a:pt x="2670" y="3450"/>
                </a:lnTo>
                <a:lnTo>
                  <a:pt x="2674" y="3428"/>
                </a:lnTo>
                <a:lnTo>
                  <a:pt x="2674" y="3342"/>
                </a:lnTo>
                <a:lnTo>
                  <a:pt x="2674" y="3342"/>
                </a:lnTo>
                <a:lnTo>
                  <a:pt x="2670" y="3320"/>
                </a:lnTo>
                <a:lnTo>
                  <a:pt x="2664" y="3300"/>
                </a:lnTo>
                <a:lnTo>
                  <a:pt x="2654" y="3282"/>
                </a:lnTo>
                <a:lnTo>
                  <a:pt x="2642" y="3266"/>
                </a:lnTo>
                <a:lnTo>
                  <a:pt x="2626" y="3252"/>
                </a:lnTo>
                <a:lnTo>
                  <a:pt x="2608" y="3242"/>
                </a:lnTo>
                <a:lnTo>
                  <a:pt x="2588" y="3236"/>
                </a:lnTo>
                <a:lnTo>
                  <a:pt x="2566" y="3234"/>
                </a:lnTo>
                <a:lnTo>
                  <a:pt x="1962" y="3234"/>
                </a:lnTo>
                <a:lnTo>
                  <a:pt x="1962" y="3234"/>
                </a:lnTo>
                <a:lnTo>
                  <a:pt x="1948" y="3232"/>
                </a:lnTo>
                <a:lnTo>
                  <a:pt x="1936" y="3228"/>
                </a:lnTo>
                <a:lnTo>
                  <a:pt x="1926" y="3222"/>
                </a:lnTo>
                <a:lnTo>
                  <a:pt x="1916" y="3214"/>
                </a:lnTo>
                <a:lnTo>
                  <a:pt x="1908" y="3206"/>
                </a:lnTo>
                <a:lnTo>
                  <a:pt x="1902" y="3194"/>
                </a:lnTo>
                <a:lnTo>
                  <a:pt x="1898" y="3182"/>
                </a:lnTo>
                <a:lnTo>
                  <a:pt x="1898" y="3170"/>
                </a:lnTo>
                <a:lnTo>
                  <a:pt x="1898" y="3170"/>
                </a:lnTo>
                <a:lnTo>
                  <a:pt x="1898" y="3156"/>
                </a:lnTo>
                <a:lnTo>
                  <a:pt x="1902" y="3144"/>
                </a:lnTo>
                <a:lnTo>
                  <a:pt x="1908" y="3132"/>
                </a:lnTo>
                <a:lnTo>
                  <a:pt x="1916" y="3124"/>
                </a:lnTo>
                <a:lnTo>
                  <a:pt x="1926" y="3116"/>
                </a:lnTo>
                <a:lnTo>
                  <a:pt x="1936" y="3110"/>
                </a:lnTo>
                <a:lnTo>
                  <a:pt x="1948" y="3106"/>
                </a:lnTo>
                <a:lnTo>
                  <a:pt x="1962" y="3104"/>
                </a:lnTo>
                <a:lnTo>
                  <a:pt x="2566" y="3104"/>
                </a:lnTo>
                <a:lnTo>
                  <a:pt x="2566" y="3104"/>
                </a:lnTo>
                <a:lnTo>
                  <a:pt x="2588" y="3102"/>
                </a:lnTo>
                <a:lnTo>
                  <a:pt x="2608" y="3096"/>
                </a:lnTo>
                <a:lnTo>
                  <a:pt x="2626" y="3086"/>
                </a:lnTo>
                <a:lnTo>
                  <a:pt x="2642" y="3072"/>
                </a:lnTo>
                <a:lnTo>
                  <a:pt x="2654" y="3056"/>
                </a:lnTo>
                <a:lnTo>
                  <a:pt x="2664" y="3038"/>
                </a:lnTo>
                <a:lnTo>
                  <a:pt x="2670" y="3018"/>
                </a:lnTo>
                <a:lnTo>
                  <a:pt x="2674" y="2996"/>
                </a:lnTo>
                <a:lnTo>
                  <a:pt x="2674" y="2910"/>
                </a:lnTo>
                <a:lnTo>
                  <a:pt x="2674" y="2910"/>
                </a:lnTo>
                <a:lnTo>
                  <a:pt x="2670" y="2888"/>
                </a:lnTo>
                <a:lnTo>
                  <a:pt x="2664" y="2868"/>
                </a:lnTo>
                <a:lnTo>
                  <a:pt x="2654" y="2850"/>
                </a:lnTo>
                <a:lnTo>
                  <a:pt x="2642" y="2834"/>
                </a:lnTo>
                <a:lnTo>
                  <a:pt x="2626" y="2820"/>
                </a:lnTo>
                <a:lnTo>
                  <a:pt x="2608" y="2812"/>
                </a:lnTo>
                <a:lnTo>
                  <a:pt x="2588" y="2804"/>
                </a:lnTo>
                <a:lnTo>
                  <a:pt x="2566" y="2802"/>
                </a:lnTo>
                <a:lnTo>
                  <a:pt x="1962" y="2802"/>
                </a:lnTo>
                <a:lnTo>
                  <a:pt x="1962" y="2802"/>
                </a:lnTo>
                <a:lnTo>
                  <a:pt x="1948" y="2802"/>
                </a:lnTo>
                <a:lnTo>
                  <a:pt x="1936" y="2798"/>
                </a:lnTo>
                <a:lnTo>
                  <a:pt x="1926" y="2792"/>
                </a:lnTo>
                <a:lnTo>
                  <a:pt x="1916" y="2784"/>
                </a:lnTo>
                <a:lnTo>
                  <a:pt x="1908" y="2774"/>
                </a:lnTo>
                <a:lnTo>
                  <a:pt x="1902" y="2764"/>
                </a:lnTo>
                <a:lnTo>
                  <a:pt x="1898" y="2750"/>
                </a:lnTo>
                <a:lnTo>
                  <a:pt x="1898" y="2738"/>
                </a:lnTo>
                <a:lnTo>
                  <a:pt x="1898" y="2738"/>
                </a:lnTo>
                <a:lnTo>
                  <a:pt x="1898" y="2724"/>
                </a:lnTo>
                <a:lnTo>
                  <a:pt x="1902" y="2712"/>
                </a:lnTo>
                <a:lnTo>
                  <a:pt x="1908" y="2702"/>
                </a:lnTo>
                <a:lnTo>
                  <a:pt x="1916" y="2692"/>
                </a:lnTo>
                <a:lnTo>
                  <a:pt x="1926" y="2684"/>
                </a:lnTo>
                <a:lnTo>
                  <a:pt x="1936" y="2678"/>
                </a:lnTo>
                <a:lnTo>
                  <a:pt x="1948" y="2674"/>
                </a:lnTo>
                <a:lnTo>
                  <a:pt x="1962" y="2674"/>
                </a:lnTo>
                <a:lnTo>
                  <a:pt x="2566" y="2674"/>
                </a:lnTo>
                <a:lnTo>
                  <a:pt x="2566" y="2674"/>
                </a:lnTo>
                <a:lnTo>
                  <a:pt x="2588" y="2670"/>
                </a:lnTo>
                <a:lnTo>
                  <a:pt x="2608" y="2664"/>
                </a:lnTo>
                <a:lnTo>
                  <a:pt x="2626" y="2654"/>
                </a:lnTo>
                <a:lnTo>
                  <a:pt x="2642" y="2642"/>
                </a:lnTo>
                <a:lnTo>
                  <a:pt x="2654" y="2626"/>
                </a:lnTo>
                <a:lnTo>
                  <a:pt x="2664" y="2608"/>
                </a:lnTo>
                <a:lnTo>
                  <a:pt x="2670" y="2588"/>
                </a:lnTo>
                <a:lnTo>
                  <a:pt x="2674" y="2566"/>
                </a:lnTo>
                <a:lnTo>
                  <a:pt x="2674" y="2480"/>
                </a:lnTo>
                <a:lnTo>
                  <a:pt x="2674" y="2480"/>
                </a:lnTo>
                <a:lnTo>
                  <a:pt x="2670" y="2458"/>
                </a:lnTo>
                <a:lnTo>
                  <a:pt x="2664" y="2438"/>
                </a:lnTo>
                <a:lnTo>
                  <a:pt x="2654" y="2418"/>
                </a:lnTo>
                <a:lnTo>
                  <a:pt x="2642" y="2402"/>
                </a:lnTo>
                <a:lnTo>
                  <a:pt x="2626" y="2390"/>
                </a:lnTo>
                <a:lnTo>
                  <a:pt x="2608" y="2380"/>
                </a:lnTo>
                <a:lnTo>
                  <a:pt x="2588" y="2374"/>
                </a:lnTo>
                <a:lnTo>
                  <a:pt x="2566" y="2372"/>
                </a:lnTo>
                <a:lnTo>
                  <a:pt x="1962" y="2372"/>
                </a:lnTo>
                <a:lnTo>
                  <a:pt x="1962" y="2372"/>
                </a:lnTo>
                <a:lnTo>
                  <a:pt x="1948" y="2370"/>
                </a:lnTo>
                <a:lnTo>
                  <a:pt x="1936" y="2366"/>
                </a:lnTo>
                <a:lnTo>
                  <a:pt x="1926" y="2360"/>
                </a:lnTo>
                <a:lnTo>
                  <a:pt x="1916" y="2352"/>
                </a:lnTo>
                <a:lnTo>
                  <a:pt x="1908" y="2342"/>
                </a:lnTo>
                <a:lnTo>
                  <a:pt x="1902" y="2332"/>
                </a:lnTo>
                <a:lnTo>
                  <a:pt x="1898" y="2320"/>
                </a:lnTo>
                <a:lnTo>
                  <a:pt x="1898" y="2306"/>
                </a:lnTo>
                <a:lnTo>
                  <a:pt x="1898" y="2306"/>
                </a:lnTo>
                <a:lnTo>
                  <a:pt x="1898" y="2294"/>
                </a:lnTo>
                <a:lnTo>
                  <a:pt x="1902" y="2282"/>
                </a:lnTo>
                <a:lnTo>
                  <a:pt x="1908" y="2270"/>
                </a:lnTo>
                <a:lnTo>
                  <a:pt x="1916" y="2260"/>
                </a:lnTo>
                <a:lnTo>
                  <a:pt x="1926" y="2254"/>
                </a:lnTo>
                <a:lnTo>
                  <a:pt x="1936" y="2248"/>
                </a:lnTo>
                <a:lnTo>
                  <a:pt x="1948" y="2244"/>
                </a:lnTo>
                <a:lnTo>
                  <a:pt x="1962" y="2242"/>
                </a:lnTo>
                <a:lnTo>
                  <a:pt x="2566" y="2242"/>
                </a:lnTo>
                <a:lnTo>
                  <a:pt x="2566" y="2242"/>
                </a:lnTo>
                <a:lnTo>
                  <a:pt x="2590" y="2244"/>
                </a:lnTo>
                <a:lnTo>
                  <a:pt x="2614" y="2246"/>
                </a:lnTo>
                <a:lnTo>
                  <a:pt x="2636" y="2252"/>
                </a:lnTo>
                <a:lnTo>
                  <a:pt x="2658" y="2260"/>
                </a:lnTo>
                <a:lnTo>
                  <a:pt x="2678" y="2270"/>
                </a:lnTo>
                <a:lnTo>
                  <a:pt x="2698" y="2282"/>
                </a:lnTo>
                <a:lnTo>
                  <a:pt x="2716" y="2296"/>
                </a:lnTo>
                <a:lnTo>
                  <a:pt x="2732" y="2312"/>
                </a:lnTo>
                <a:lnTo>
                  <a:pt x="2748" y="2328"/>
                </a:lnTo>
                <a:lnTo>
                  <a:pt x="2762" y="2346"/>
                </a:lnTo>
                <a:lnTo>
                  <a:pt x="2774" y="2366"/>
                </a:lnTo>
                <a:lnTo>
                  <a:pt x="2784" y="2386"/>
                </a:lnTo>
                <a:lnTo>
                  <a:pt x="2792" y="2408"/>
                </a:lnTo>
                <a:lnTo>
                  <a:pt x="2798" y="2432"/>
                </a:lnTo>
                <a:lnTo>
                  <a:pt x="2802" y="2454"/>
                </a:lnTo>
                <a:lnTo>
                  <a:pt x="2802" y="2480"/>
                </a:lnTo>
                <a:lnTo>
                  <a:pt x="2802" y="2480"/>
                </a:lnTo>
                <a:close/>
                <a:moveTo>
                  <a:pt x="2022" y="1798"/>
                </a:moveTo>
                <a:lnTo>
                  <a:pt x="2022" y="1798"/>
                </a:lnTo>
                <a:lnTo>
                  <a:pt x="2018" y="1764"/>
                </a:lnTo>
                <a:lnTo>
                  <a:pt x="2018" y="1730"/>
                </a:lnTo>
                <a:lnTo>
                  <a:pt x="2022" y="1698"/>
                </a:lnTo>
                <a:lnTo>
                  <a:pt x="2028" y="1666"/>
                </a:lnTo>
                <a:lnTo>
                  <a:pt x="2038" y="1634"/>
                </a:lnTo>
                <a:lnTo>
                  <a:pt x="2050" y="1606"/>
                </a:lnTo>
                <a:lnTo>
                  <a:pt x="2064" y="1578"/>
                </a:lnTo>
                <a:lnTo>
                  <a:pt x="2082" y="1550"/>
                </a:lnTo>
                <a:lnTo>
                  <a:pt x="2102" y="1526"/>
                </a:lnTo>
                <a:lnTo>
                  <a:pt x="2124" y="1502"/>
                </a:lnTo>
                <a:lnTo>
                  <a:pt x="2148" y="1482"/>
                </a:lnTo>
                <a:lnTo>
                  <a:pt x="2176" y="1464"/>
                </a:lnTo>
                <a:lnTo>
                  <a:pt x="2204" y="1448"/>
                </a:lnTo>
                <a:lnTo>
                  <a:pt x="2234" y="1436"/>
                </a:lnTo>
                <a:lnTo>
                  <a:pt x="2266" y="1426"/>
                </a:lnTo>
                <a:lnTo>
                  <a:pt x="2298" y="1418"/>
                </a:lnTo>
                <a:lnTo>
                  <a:pt x="2298" y="1418"/>
                </a:lnTo>
                <a:lnTo>
                  <a:pt x="2298" y="1418"/>
                </a:lnTo>
                <a:lnTo>
                  <a:pt x="2332" y="1414"/>
                </a:lnTo>
                <a:lnTo>
                  <a:pt x="2366" y="1414"/>
                </a:lnTo>
                <a:lnTo>
                  <a:pt x="2398" y="1418"/>
                </a:lnTo>
                <a:lnTo>
                  <a:pt x="2430" y="1424"/>
                </a:lnTo>
                <a:lnTo>
                  <a:pt x="2460" y="1434"/>
                </a:lnTo>
                <a:lnTo>
                  <a:pt x="2490" y="1446"/>
                </a:lnTo>
                <a:lnTo>
                  <a:pt x="2518" y="1460"/>
                </a:lnTo>
                <a:lnTo>
                  <a:pt x="2546" y="1478"/>
                </a:lnTo>
                <a:lnTo>
                  <a:pt x="2570" y="1498"/>
                </a:lnTo>
                <a:lnTo>
                  <a:pt x="2594" y="1520"/>
                </a:lnTo>
                <a:lnTo>
                  <a:pt x="2614" y="1544"/>
                </a:lnTo>
                <a:lnTo>
                  <a:pt x="2632" y="1572"/>
                </a:lnTo>
                <a:lnTo>
                  <a:pt x="2648" y="1600"/>
                </a:lnTo>
                <a:lnTo>
                  <a:pt x="2660" y="1630"/>
                </a:lnTo>
                <a:lnTo>
                  <a:pt x="2670" y="1662"/>
                </a:lnTo>
                <a:lnTo>
                  <a:pt x="2678" y="1696"/>
                </a:lnTo>
                <a:lnTo>
                  <a:pt x="2678" y="1696"/>
                </a:lnTo>
                <a:lnTo>
                  <a:pt x="2682" y="1728"/>
                </a:lnTo>
                <a:lnTo>
                  <a:pt x="2682" y="1762"/>
                </a:lnTo>
                <a:lnTo>
                  <a:pt x="2678" y="1794"/>
                </a:lnTo>
                <a:lnTo>
                  <a:pt x="2672" y="1826"/>
                </a:lnTo>
                <a:lnTo>
                  <a:pt x="2662" y="1858"/>
                </a:lnTo>
                <a:lnTo>
                  <a:pt x="2650" y="1888"/>
                </a:lnTo>
                <a:lnTo>
                  <a:pt x="2636" y="1916"/>
                </a:lnTo>
                <a:lnTo>
                  <a:pt x="2618" y="1942"/>
                </a:lnTo>
                <a:lnTo>
                  <a:pt x="2598" y="1966"/>
                </a:lnTo>
                <a:lnTo>
                  <a:pt x="2576" y="1990"/>
                </a:lnTo>
                <a:lnTo>
                  <a:pt x="2552" y="2010"/>
                </a:lnTo>
                <a:lnTo>
                  <a:pt x="2524" y="2028"/>
                </a:lnTo>
                <a:lnTo>
                  <a:pt x="2496" y="2044"/>
                </a:lnTo>
                <a:lnTo>
                  <a:pt x="2466" y="2058"/>
                </a:lnTo>
                <a:lnTo>
                  <a:pt x="2434" y="2068"/>
                </a:lnTo>
                <a:lnTo>
                  <a:pt x="2400" y="2074"/>
                </a:lnTo>
                <a:lnTo>
                  <a:pt x="2400" y="2074"/>
                </a:lnTo>
                <a:lnTo>
                  <a:pt x="2376" y="2078"/>
                </a:lnTo>
                <a:lnTo>
                  <a:pt x="2350" y="2078"/>
                </a:lnTo>
                <a:lnTo>
                  <a:pt x="2350" y="2078"/>
                </a:lnTo>
                <a:lnTo>
                  <a:pt x="2320" y="2076"/>
                </a:lnTo>
                <a:lnTo>
                  <a:pt x="2290" y="2072"/>
                </a:lnTo>
                <a:lnTo>
                  <a:pt x="2262" y="2066"/>
                </a:lnTo>
                <a:lnTo>
                  <a:pt x="2234" y="2058"/>
                </a:lnTo>
                <a:lnTo>
                  <a:pt x="2208" y="2046"/>
                </a:lnTo>
                <a:lnTo>
                  <a:pt x="2182" y="2032"/>
                </a:lnTo>
                <a:lnTo>
                  <a:pt x="2158" y="2016"/>
                </a:lnTo>
                <a:lnTo>
                  <a:pt x="2136" y="2000"/>
                </a:lnTo>
                <a:lnTo>
                  <a:pt x="2114" y="1980"/>
                </a:lnTo>
                <a:lnTo>
                  <a:pt x="2094" y="1958"/>
                </a:lnTo>
                <a:lnTo>
                  <a:pt x="2076" y="1936"/>
                </a:lnTo>
                <a:lnTo>
                  <a:pt x="2062" y="1910"/>
                </a:lnTo>
                <a:lnTo>
                  <a:pt x="2048" y="1884"/>
                </a:lnTo>
                <a:lnTo>
                  <a:pt x="2036" y="1856"/>
                </a:lnTo>
                <a:lnTo>
                  <a:pt x="2028" y="1828"/>
                </a:lnTo>
                <a:lnTo>
                  <a:pt x="2022" y="1798"/>
                </a:lnTo>
                <a:lnTo>
                  <a:pt x="2022" y="1798"/>
                </a:lnTo>
                <a:close/>
                <a:moveTo>
                  <a:pt x="2150" y="1778"/>
                </a:moveTo>
                <a:lnTo>
                  <a:pt x="2150" y="1778"/>
                </a:lnTo>
                <a:lnTo>
                  <a:pt x="2154" y="1798"/>
                </a:lnTo>
                <a:lnTo>
                  <a:pt x="2160" y="1818"/>
                </a:lnTo>
                <a:lnTo>
                  <a:pt x="2168" y="1836"/>
                </a:lnTo>
                <a:lnTo>
                  <a:pt x="2178" y="1852"/>
                </a:lnTo>
                <a:lnTo>
                  <a:pt x="2188" y="1870"/>
                </a:lnTo>
                <a:lnTo>
                  <a:pt x="2202" y="1884"/>
                </a:lnTo>
                <a:lnTo>
                  <a:pt x="2216" y="1898"/>
                </a:lnTo>
                <a:lnTo>
                  <a:pt x="2230" y="1910"/>
                </a:lnTo>
                <a:lnTo>
                  <a:pt x="2246" y="1920"/>
                </a:lnTo>
                <a:lnTo>
                  <a:pt x="2264" y="1930"/>
                </a:lnTo>
                <a:lnTo>
                  <a:pt x="2282" y="1938"/>
                </a:lnTo>
                <a:lnTo>
                  <a:pt x="2300" y="1942"/>
                </a:lnTo>
                <a:lnTo>
                  <a:pt x="2320" y="1946"/>
                </a:lnTo>
                <a:lnTo>
                  <a:pt x="2340" y="1948"/>
                </a:lnTo>
                <a:lnTo>
                  <a:pt x="2360" y="1948"/>
                </a:lnTo>
                <a:lnTo>
                  <a:pt x="2382" y="1946"/>
                </a:lnTo>
                <a:lnTo>
                  <a:pt x="2382" y="1946"/>
                </a:lnTo>
                <a:lnTo>
                  <a:pt x="2402" y="1942"/>
                </a:lnTo>
                <a:lnTo>
                  <a:pt x="2420" y="1936"/>
                </a:lnTo>
                <a:lnTo>
                  <a:pt x="2440" y="1928"/>
                </a:lnTo>
                <a:lnTo>
                  <a:pt x="2456" y="1918"/>
                </a:lnTo>
                <a:lnTo>
                  <a:pt x="2472" y="1908"/>
                </a:lnTo>
                <a:lnTo>
                  <a:pt x="2488" y="1894"/>
                </a:lnTo>
                <a:lnTo>
                  <a:pt x="2502" y="1880"/>
                </a:lnTo>
                <a:lnTo>
                  <a:pt x="2514" y="1866"/>
                </a:lnTo>
                <a:lnTo>
                  <a:pt x="2524" y="1850"/>
                </a:lnTo>
                <a:lnTo>
                  <a:pt x="2534" y="1832"/>
                </a:lnTo>
                <a:lnTo>
                  <a:pt x="2540" y="1814"/>
                </a:lnTo>
                <a:lnTo>
                  <a:pt x="2546" y="1796"/>
                </a:lnTo>
                <a:lnTo>
                  <a:pt x="2550" y="1776"/>
                </a:lnTo>
                <a:lnTo>
                  <a:pt x="2552" y="1756"/>
                </a:lnTo>
                <a:lnTo>
                  <a:pt x="2552" y="1736"/>
                </a:lnTo>
                <a:lnTo>
                  <a:pt x="2550" y="1714"/>
                </a:lnTo>
                <a:lnTo>
                  <a:pt x="2550" y="1714"/>
                </a:lnTo>
                <a:lnTo>
                  <a:pt x="2546" y="1694"/>
                </a:lnTo>
                <a:lnTo>
                  <a:pt x="2540" y="1676"/>
                </a:lnTo>
                <a:lnTo>
                  <a:pt x="2532" y="1656"/>
                </a:lnTo>
                <a:lnTo>
                  <a:pt x="2522" y="1640"/>
                </a:lnTo>
                <a:lnTo>
                  <a:pt x="2510" y="1624"/>
                </a:lnTo>
                <a:lnTo>
                  <a:pt x="2498" y="1608"/>
                </a:lnTo>
                <a:lnTo>
                  <a:pt x="2484" y="1594"/>
                </a:lnTo>
                <a:lnTo>
                  <a:pt x="2470" y="1582"/>
                </a:lnTo>
                <a:lnTo>
                  <a:pt x="2452" y="1572"/>
                </a:lnTo>
                <a:lnTo>
                  <a:pt x="2436" y="1562"/>
                </a:lnTo>
                <a:lnTo>
                  <a:pt x="2418" y="1556"/>
                </a:lnTo>
                <a:lnTo>
                  <a:pt x="2398" y="1550"/>
                </a:lnTo>
                <a:lnTo>
                  <a:pt x="2380" y="1546"/>
                </a:lnTo>
                <a:lnTo>
                  <a:pt x="2360" y="1544"/>
                </a:lnTo>
                <a:lnTo>
                  <a:pt x="2340" y="1544"/>
                </a:lnTo>
                <a:lnTo>
                  <a:pt x="2318" y="1546"/>
                </a:lnTo>
                <a:lnTo>
                  <a:pt x="2318" y="1546"/>
                </a:lnTo>
                <a:lnTo>
                  <a:pt x="2318" y="1546"/>
                </a:lnTo>
                <a:lnTo>
                  <a:pt x="2298" y="1550"/>
                </a:lnTo>
                <a:lnTo>
                  <a:pt x="2278" y="1556"/>
                </a:lnTo>
                <a:lnTo>
                  <a:pt x="2260" y="1564"/>
                </a:lnTo>
                <a:lnTo>
                  <a:pt x="2244" y="1574"/>
                </a:lnTo>
                <a:lnTo>
                  <a:pt x="2226" y="1586"/>
                </a:lnTo>
                <a:lnTo>
                  <a:pt x="2212" y="1598"/>
                </a:lnTo>
                <a:lnTo>
                  <a:pt x="2198" y="1612"/>
                </a:lnTo>
                <a:lnTo>
                  <a:pt x="2186" y="1626"/>
                </a:lnTo>
                <a:lnTo>
                  <a:pt x="2176" y="1644"/>
                </a:lnTo>
                <a:lnTo>
                  <a:pt x="2166" y="1660"/>
                </a:lnTo>
                <a:lnTo>
                  <a:pt x="2158" y="1678"/>
                </a:lnTo>
                <a:lnTo>
                  <a:pt x="2154" y="1698"/>
                </a:lnTo>
                <a:lnTo>
                  <a:pt x="2150" y="1716"/>
                </a:lnTo>
                <a:lnTo>
                  <a:pt x="2148" y="1736"/>
                </a:lnTo>
                <a:lnTo>
                  <a:pt x="2148" y="1756"/>
                </a:lnTo>
                <a:lnTo>
                  <a:pt x="2150" y="1778"/>
                </a:lnTo>
                <a:lnTo>
                  <a:pt x="2150" y="1778"/>
                </a:lnTo>
                <a:close/>
                <a:moveTo>
                  <a:pt x="2890" y="1138"/>
                </a:moveTo>
                <a:lnTo>
                  <a:pt x="2890" y="1138"/>
                </a:lnTo>
                <a:lnTo>
                  <a:pt x="2896" y="1128"/>
                </a:lnTo>
                <a:lnTo>
                  <a:pt x="2900" y="1116"/>
                </a:lnTo>
                <a:lnTo>
                  <a:pt x="2902" y="1102"/>
                </a:lnTo>
                <a:lnTo>
                  <a:pt x="2902" y="1090"/>
                </a:lnTo>
                <a:lnTo>
                  <a:pt x="2898" y="1078"/>
                </a:lnTo>
                <a:lnTo>
                  <a:pt x="2894" y="1068"/>
                </a:lnTo>
                <a:lnTo>
                  <a:pt x="2886" y="1056"/>
                </a:lnTo>
                <a:lnTo>
                  <a:pt x="2876" y="1048"/>
                </a:lnTo>
                <a:lnTo>
                  <a:pt x="2876" y="1048"/>
                </a:lnTo>
                <a:lnTo>
                  <a:pt x="2840" y="1022"/>
                </a:lnTo>
                <a:lnTo>
                  <a:pt x="2802" y="998"/>
                </a:lnTo>
                <a:lnTo>
                  <a:pt x="2764" y="976"/>
                </a:lnTo>
                <a:lnTo>
                  <a:pt x="2726" y="956"/>
                </a:lnTo>
                <a:lnTo>
                  <a:pt x="2686" y="938"/>
                </a:lnTo>
                <a:lnTo>
                  <a:pt x="2646" y="922"/>
                </a:lnTo>
                <a:lnTo>
                  <a:pt x="2604" y="908"/>
                </a:lnTo>
                <a:lnTo>
                  <a:pt x="2562" y="898"/>
                </a:lnTo>
                <a:lnTo>
                  <a:pt x="2520" y="888"/>
                </a:lnTo>
                <a:lnTo>
                  <a:pt x="2478" y="880"/>
                </a:lnTo>
                <a:lnTo>
                  <a:pt x="2434" y="876"/>
                </a:lnTo>
                <a:lnTo>
                  <a:pt x="2390" y="872"/>
                </a:lnTo>
                <a:lnTo>
                  <a:pt x="2348" y="872"/>
                </a:lnTo>
                <a:lnTo>
                  <a:pt x="2304" y="872"/>
                </a:lnTo>
                <a:lnTo>
                  <a:pt x="2260" y="876"/>
                </a:lnTo>
                <a:lnTo>
                  <a:pt x="2214" y="882"/>
                </a:lnTo>
                <a:lnTo>
                  <a:pt x="2214" y="882"/>
                </a:lnTo>
                <a:lnTo>
                  <a:pt x="2164" y="892"/>
                </a:lnTo>
                <a:lnTo>
                  <a:pt x="2116" y="904"/>
                </a:lnTo>
                <a:lnTo>
                  <a:pt x="2068" y="918"/>
                </a:lnTo>
                <a:lnTo>
                  <a:pt x="2020" y="936"/>
                </a:lnTo>
                <a:lnTo>
                  <a:pt x="1974" y="956"/>
                </a:lnTo>
                <a:lnTo>
                  <a:pt x="1930" y="978"/>
                </a:lnTo>
                <a:lnTo>
                  <a:pt x="1888" y="1002"/>
                </a:lnTo>
                <a:lnTo>
                  <a:pt x="1846" y="1030"/>
                </a:lnTo>
                <a:lnTo>
                  <a:pt x="1806" y="1060"/>
                </a:lnTo>
                <a:lnTo>
                  <a:pt x="1768" y="1092"/>
                </a:lnTo>
                <a:lnTo>
                  <a:pt x="1732" y="1126"/>
                </a:lnTo>
                <a:lnTo>
                  <a:pt x="1698" y="1162"/>
                </a:lnTo>
                <a:lnTo>
                  <a:pt x="1666" y="1200"/>
                </a:lnTo>
                <a:lnTo>
                  <a:pt x="1636" y="1240"/>
                </a:lnTo>
                <a:lnTo>
                  <a:pt x="1608" y="1282"/>
                </a:lnTo>
                <a:lnTo>
                  <a:pt x="1582" y="1328"/>
                </a:lnTo>
                <a:lnTo>
                  <a:pt x="1582" y="1328"/>
                </a:lnTo>
                <a:lnTo>
                  <a:pt x="1576" y="1340"/>
                </a:lnTo>
                <a:lnTo>
                  <a:pt x="1574" y="1352"/>
                </a:lnTo>
                <a:lnTo>
                  <a:pt x="1574" y="1364"/>
                </a:lnTo>
                <a:lnTo>
                  <a:pt x="1576" y="1376"/>
                </a:lnTo>
                <a:lnTo>
                  <a:pt x="1582" y="1388"/>
                </a:lnTo>
                <a:lnTo>
                  <a:pt x="1588" y="1398"/>
                </a:lnTo>
                <a:lnTo>
                  <a:pt x="1596" y="1408"/>
                </a:lnTo>
                <a:lnTo>
                  <a:pt x="1608" y="1414"/>
                </a:lnTo>
                <a:lnTo>
                  <a:pt x="1608" y="1414"/>
                </a:lnTo>
                <a:lnTo>
                  <a:pt x="1622" y="1420"/>
                </a:lnTo>
                <a:lnTo>
                  <a:pt x="1638" y="1422"/>
                </a:lnTo>
                <a:lnTo>
                  <a:pt x="1638" y="1422"/>
                </a:lnTo>
                <a:lnTo>
                  <a:pt x="1656" y="1420"/>
                </a:lnTo>
                <a:lnTo>
                  <a:pt x="1672" y="1414"/>
                </a:lnTo>
                <a:lnTo>
                  <a:pt x="1684" y="1404"/>
                </a:lnTo>
                <a:lnTo>
                  <a:pt x="1690" y="1396"/>
                </a:lnTo>
                <a:lnTo>
                  <a:pt x="1696" y="1390"/>
                </a:lnTo>
                <a:lnTo>
                  <a:pt x="1696" y="1390"/>
                </a:lnTo>
                <a:lnTo>
                  <a:pt x="1718" y="1352"/>
                </a:lnTo>
                <a:lnTo>
                  <a:pt x="1742" y="1316"/>
                </a:lnTo>
                <a:lnTo>
                  <a:pt x="1768" y="1282"/>
                </a:lnTo>
                <a:lnTo>
                  <a:pt x="1794" y="1248"/>
                </a:lnTo>
                <a:lnTo>
                  <a:pt x="1824" y="1218"/>
                </a:lnTo>
                <a:lnTo>
                  <a:pt x="1854" y="1188"/>
                </a:lnTo>
                <a:lnTo>
                  <a:pt x="1886" y="1162"/>
                </a:lnTo>
                <a:lnTo>
                  <a:pt x="1920" y="1136"/>
                </a:lnTo>
                <a:lnTo>
                  <a:pt x="1956" y="1112"/>
                </a:lnTo>
                <a:lnTo>
                  <a:pt x="1992" y="1092"/>
                </a:lnTo>
                <a:lnTo>
                  <a:pt x="2030" y="1072"/>
                </a:lnTo>
                <a:lnTo>
                  <a:pt x="2070" y="1056"/>
                </a:lnTo>
                <a:lnTo>
                  <a:pt x="2110" y="1040"/>
                </a:lnTo>
                <a:lnTo>
                  <a:pt x="2150" y="1028"/>
                </a:lnTo>
                <a:lnTo>
                  <a:pt x="2192" y="1018"/>
                </a:lnTo>
                <a:lnTo>
                  <a:pt x="2234" y="1010"/>
                </a:lnTo>
                <a:lnTo>
                  <a:pt x="2234" y="1010"/>
                </a:lnTo>
                <a:lnTo>
                  <a:pt x="2272" y="1004"/>
                </a:lnTo>
                <a:lnTo>
                  <a:pt x="2310" y="1002"/>
                </a:lnTo>
                <a:lnTo>
                  <a:pt x="2348" y="1000"/>
                </a:lnTo>
                <a:lnTo>
                  <a:pt x="2384" y="1002"/>
                </a:lnTo>
                <a:lnTo>
                  <a:pt x="2422" y="1004"/>
                </a:lnTo>
                <a:lnTo>
                  <a:pt x="2458" y="1008"/>
                </a:lnTo>
                <a:lnTo>
                  <a:pt x="2496" y="1014"/>
                </a:lnTo>
                <a:lnTo>
                  <a:pt x="2532" y="1022"/>
                </a:lnTo>
                <a:lnTo>
                  <a:pt x="2566" y="1032"/>
                </a:lnTo>
                <a:lnTo>
                  <a:pt x="2602" y="1044"/>
                </a:lnTo>
                <a:lnTo>
                  <a:pt x="2636" y="1058"/>
                </a:lnTo>
                <a:lnTo>
                  <a:pt x="2670" y="1072"/>
                </a:lnTo>
                <a:lnTo>
                  <a:pt x="2704" y="1090"/>
                </a:lnTo>
                <a:lnTo>
                  <a:pt x="2736" y="1108"/>
                </a:lnTo>
                <a:lnTo>
                  <a:pt x="2768" y="1128"/>
                </a:lnTo>
                <a:lnTo>
                  <a:pt x="2798" y="1152"/>
                </a:lnTo>
                <a:lnTo>
                  <a:pt x="2798" y="1152"/>
                </a:lnTo>
                <a:lnTo>
                  <a:pt x="2810" y="1158"/>
                </a:lnTo>
                <a:lnTo>
                  <a:pt x="2822" y="1162"/>
                </a:lnTo>
                <a:lnTo>
                  <a:pt x="2834" y="1164"/>
                </a:lnTo>
                <a:lnTo>
                  <a:pt x="2846" y="1164"/>
                </a:lnTo>
                <a:lnTo>
                  <a:pt x="2858" y="1160"/>
                </a:lnTo>
                <a:lnTo>
                  <a:pt x="2870" y="1156"/>
                </a:lnTo>
                <a:lnTo>
                  <a:pt x="2880" y="1148"/>
                </a:lnTo>
                <a:lnTo>
                  <a:pt x="2890" y="1138"/>
                </a:lnTo>
                <a:lnTo>
                  <a:pt x="2890" y="1138"/>
                </a:lnTo>
                <a:close/>
                <a:moveTo>
                  <a:pt x="3922" y="1428"/>
                </a:moveTo>
                <a:lnTo>
                  <a:pt x="3578" y="1360"/>
                </a:lnTo>
                <a:lnTo>
                  <a:pt x="3578" y="1360"/>
                </a:lnTo>
                <a:lnTo>
                  <a:pt x="3560" y="1306"/>
                </a:lnTo>
                <a:lnTo>
                  <a:pt x="3540" y="1254"/>
                </a:lnTo>
                <a:lnTo>
                  <a:pt x="3516" y="1202"/>
                </a:lnTo>
                <a:lnTo>
                  <a:pt x="3492" y="1150"/>
                </a:lnTo>
                <a:lnTo>
                  <a:pt x="3686" y="860"/>
                </a:lnTo>
                <a:lnTo>
                  <a:pt x="3686" y="860"/>
                </a:lnTo>
                <a:lnTo>
                  <a:pt x="3696" y="844"/>
                </a:lnTo>
                <a:lnTo>
                  <a:pt x="3704" y="826"/>
                </a:lnTo>
                <a:lnTo>
                  <a:pt x="3710" y="808"/>
                </a:lnTo>
                <a:lnTo>
                  <a:pt x="3716" y="790"/>
                </a:lnTo>
                <a:lnTo>
                  <a:pt x="3720" y="772"/>
                </a:lnTo>
                <a:lnTo>
                  <a:pt x="3722" y="754"/>
                </a:lnTo>
                <a:lnTo>
                  <a:pt x="3722" y="736"/>
                </a:lnTo>
                <a:lnTo>
                  <a:pt x="3720" y="718"/>
                </a:lnTo>
                <a:lnTo>
                  <a:pt x="3718" y="700"/>
                </a:lnTo>
                <a:lnTo>
                  <a:pt x="3714" y="682"/>
                </a:lnTo>
                <a:lnTo>
                  <a:pt x="3708" y="664"/>
                </a:lnTo>
                <a:lnTo>
                  <a:pt x="3702" y="646"/>
                </a:lnTo>
                <a:lnTo>
                  <a:pt x="3692" y="630"/>
                </a:lnTo>
                <a:lnTo>
                  <a:pt x="3682" y="614"/>
                </a:lnTo>
                <a:lnTo>
                  <a:pt x="3672" y="600"/>
                </a:lnTo>
                <a:lnTo>
                  <a:pt x="3658" y="584"/>
                </a:lnTo>
                <a:lnTo>
                  <a:pt x="3512" y="438"/>
                </a:lnTo>
                <a:lnTo>
                  <a:pt x="3512" y="438"/>
                </a:lnTo>
                <a:lnTo>
                  <a:pt x="3496" y="424"/>
                </a:lnTo>
                <a:lnTo>
                  <a:pt x="3482" y="414"/>
                </a:lnTo>
                <a:lnTo>
                  <a:pt x="3466" y="404"/>
                </a:lnTo>
                <a:lnTo>
                  <a:pt x="3450" y="394"/>
                </a:lnTo>
                <a:lnTo>
                  <a:pt x="3432" y="388"/>
                </a:lnTo>
                <a:lnTo>
                  <a:pt x="3414" y="382"/>
                </a:lnTo>
                <a:lnTo>
                  <a:pt x="3396" y="378"/>
                </a:lnTo>
                <a:lnTo>
                  <a:pt x="3378" y="376"/>
                </a:lnTo>
                <a:lnTo>
                  <a:pt x="3360" y="374"/>
                </a:lnTo>
                <a:lnTo>
                  <a:pt x="3342" y="374"/>
                </a:lnTo>
                <a:lnTo>
                  <a:pt x="3324" y="376"/>
                </a:lnTo>
                <a:lnTo>
                  <a:pt x="3306" y="380"/>
                </a:lnTo>
                <a:lnTo>
                  <a:pt x="3288" y="386"/>
                </a:lnTo>
                <a:lnTo>
                  <a:pt x="3270" y="392"/>
                </a:lnTo>
                <a:lnTo>
                  <a:pt x="3252" y="400"/>
                </a:lnTo>
                <a:lnTo>
                  <a:pt x="3236" y="410"/>
                </a:lnTo>
                <a:lnTo>
                  <a:pt x="2946" y="604"/>
                </a:lnTo>
                <a:lnTo>
                  <a:pt x="2946" y="604"/>
                </a:lnTo>
                <a:lnTo>
                  <a:pt x="2894" y="580"/>
                </a:lnTo>
                <a:lnTo>
                  <a:pt x="2842" y="556"/>
                </a:lnTo>
                <a:lnTo>
                  <a:pt x="2790" y="536"/>
                </a:lnTo>
                <a:lnTo>
                  <a:pt x="2736" y="518"/>
                </a:lnTo>
                <a:lnTo>
                  <a:pt x="2668" y="174"/>
                </a:lnTo>
                <a:lnTo>
                  <a:pt x="2668" y="174"/>
                </a:lnTo>
                <a:lnTo>
                  <a:pt x="2662" y="156"/>
                </a:lnTo>
                <a:lnTo>
                  <a:pt x="2656" y="138"/>
                </a:lnTo>
                <a:lnTo>
                  <a:pt x="2648" y="122"/>
                </a:lnTo>
                <a:lnTo>
                  <a:pt x="2640" y="104"/>
                </a:lnTo>
                <a:lnTo>
                  <a:pt x="2630" y="90"/>
                </a:lnTo>
                <a:lnTo>
                  <a:pt x="2618" y="76"/>
                </a:lnTo>
                <a:lnTo>
                  <a:pt x="2606" y="62"/>
                </a:lnTo>
                <a:lnTo>
                  <a:pt x="2592" y="50"/>
                </a:lnTo>
                <a:lnTo>
                  <a:pt x="2576" y="38"/>
                </a:lnTo>
                <a:lnTo>
                  <a:pt x="2562" y="28"/>
                </a:lnTo>
                <a:lnTo>
                  <a:pt x="2544" y="20"/>
                </a:lnTo>
                <a:lnTo>
                  <a:pt x="2528" y="14"/>
                </a:lnTo>
                <a:lnTo>
                  <a:pt x="2510" y="8"/>
                </a:lnTo>
                <a:lnTo>
                  <a:pt x="2492" y="4"/>
                </a:lnTo>
                <a:lnTo>
                  <a:pt x="2472" y="0"/>
                </a:lnTo>
                <a:lnTo>
                  <a:pt x="2454" y="0"/>
                </a:lnTo>
                <a:lnTo>
                  <a:pt x="2246" y="0"/>
                </a:lnTo>
                <a:lnTo>
                  <a:pt x="2246" y="0"/>
                </a:lnTo>
                <a:lnTo>
                  <a:pt x="2226" y="0"/>
                </a:lnTo>
                <a:lnTo>
                  <a:pt x="2208" y="4"/>
                </a:lnTo>
                <a:lnTo>
                  <a:pt x="2190" y="8"/>
                </a:lnTo>
                <a:lnTo>
                  <a:pt x="2172" y="14"/>
                </a:lnTo>
                <a:lnTo>
                  <a:pt x="2154" y="20"/>
                </a:lnTo>
                <a:lnTo>
                  <a:pt x="2138" y="28"/>
                </a:lnTo>
                <a:lnTo>
                  <a:pt x="2122" y="38"/>
                </a:lnTo>
                <a:lnTo>
                  <a:pt x="2108" y="50"/>
                </a:lnTo>
                <a:lnTo>
                  <a:pt x="2094" y="62"/>
                </a:lnTo>
                <a:lnTo>
                  <a:pt x="2082" y="76"/>
                </a:lnTo>
                <a:lnTo>
                  <a:pt x="2070" y="90"/>
                </a:lnTo>
                <a:lnTo>
                  <a:pt x="2060" y="104"/>
                </a:lnTo>
                <a:lnTo>
                  <a:pt x="2050" y="122"/>
                </a:lnTo>
                <a:lnTo>
                  <a:pt x="2044" y="138"/>
                </a:lnTo>
                <a:lnTo>
                  <a:pt x="2038" y="156"/>
                </a:lnTo>
                <a:lnTo>
                  <a:pt x="2032" y="174"/>
                </a:lnTo>
                <a:lnTo>
                  <a:pt x="1964" y="518"/>
                </a:lnTo>
                <a:lnTo>
                  <a:pt x="1964" y="518"/>
                </a:lnTo>
                <a:lnTo>
                  <a:pt x="1910" y="536"/>
                </a:lnTo>
                <a:lnTo>
                  <a:pt x="1858" y="556"/>
                </a:lnTo>
                <a:lnTo>
                  <a:pt x="1806" y="580"/>
                </a:lnTo>
                <a:lnTo>
                  <a:pt x="1754" y="604"/>
                </a:lnTo>
                <a:lnTo>
                  <a:pt x="1464" y="410"/>
                </a:lnTo>
                <a:lnTo>
                  <a:pt x="1464" y="410"/>
                </a:lnTo>
                <a:lnTo>
                  <a:pt x="1446" y="400"/>
                </a:lnTo>
                <a:lnTo>
                  <a:pt x="1430" y="392"/>
                </a:lnTo>
                <a:lnTo>
                  <a:pt x="1412" y="386"/>
                </a:lnTo>
                <a:lnTo>
                  <a:pt x="1394" y="380"/>
                </a:lnTo>
                <a:lnTo>
                  <a:pt x="1376" y="376"/>
                </a:lnTo>
                <a:lnTo>
                  <a:pt x="1358" y="374"/>
                </a:lnTo>
                <a:lnTo>
                  <a:pt x="1340" y="374"/>
                </a:lnTo>
                <a:lnTo>
                  <a:pt x="1320" y="376"/>
                </a:lnTo>
                <a:lnTo>
                  <a:pt x="1302" y="378"/>
                </a:lnTo>
                <a:lnTo>
                  <a:pt x="1284" y="382"/>
                </a:lnTo>
                <a:lnTo>
                  <a:pt x="1268" y="388"/>
                </a:lnTo>
                <a:lnTo>
                  <a:pt x="1250" y="394"/>
                </a:lnTo>
                <a:lnTo>
                  <a:pt x="1234" y="404"/>
                </a:lnTo>
                <a:lnTo>
                  <a:pt x="1218" y="414"/>
                </a:lnTo>
                <a:lnTo>
                  <a:pt x="1202" y="424"/>
                </a:lnTo>
                <a:lnTo>
                  <a:pt x="1188" y="438"/>
                </a:lnTo>
                <a:lnTo>
                  <a:pt x="1042" y="584"/>
                </a:lnTo>
                <a:lnTo>
                  <a:pt x="1042" y="584"/>
                </a:lnTo>
                <a:lnTo>
                  <a:pt x="1028" y="600"/>
                </a:lnTo>
                <a:lnTo>
                  <a:pt x="1018" y="614"/>
                </a:lnTo>
                <a:lnTo>
                  <a:pt x="1006" y="630"/>
                </a:lnTo>
                <a:lnTo>
                  <a:pt x="998" y="646"/>
                </a:lnTo>
                <a:lnTo>
                  <a:pt x="992" y="664"/>
                </a:lnTo>
                <a:lnTo>
                  <a:pt x="986" y="682"/>
                </a:lnTo>
                <a:lnTo>
                  <a:pt x="982" y="700"/>
                </a:lnTo>
                <a:lnTo>
                  <a:pt x="980" y="718"/>
                </a:lnTo>
                <a:lnTo>
                  <a:pt x="978" y="736"/>
                </a:lnTo>
                <a:lnTo>
                  <a:pt x="978" y="754"/>
                </a:lnTo>
                <a:lnTo>
                  <a:pt x="980" y="772"/>
                </a:lnTo>
                <a:lnTo>
                  <a:pt x="984" y="790"/>
                </a:lnTo>
                <a:lnTo>
                  <a:pt x="990" y="808"/>
                </a:lnTo>
                <a:lnTo>
                  <a:pt x="996" y="826"/>
                </a:lnTo>
                <a:lnTo>
                  <a:pt x="1004" y="844"/>
                </a:lnTo>
                <a:lnTo>
                  <a:pt x="1014" y="860"/>
                </a:lnTo>
                <a:lnTo>
                  <a:pt x="1208" y="1150"/>
                </a:lnTo>
                <a:lnTo>
                  <a:pt x="1208" y="1150"/>
                </a:lnTo>
                <a:lnTo>
                  <a:pt x="1184" y="1202"/>
                </a:lnTo>
                <a:lnTo>
                  <a:pt x="1160" y="1254"/>
                </a:lnTo>
                <a:lnTo>
                  <a:pt x="1140" y="1306"/>
                </a:lnTo>
                <a:lnTo>
                  <a:pt x="1122" y="1360"/>
                </a:lnTo>
                <a:lnTo>
                  <a:pt x="778" y="1428"/>
                </a:lnTo>
                <a:lnTo>
                  <a:pt x="778" y="1428"/>
                </a:lnTo>
                <a:lnTo>
                  <a:pt x="760" y="1434"/>
                </a:lnTo>
                <a:lnTo>
                  <a:pt x="742" y="1440"/>
                </a:lnTo>
                <a:lnTo>
                  <a:pt x="724" y="1448"/>
                </a:lnTo>
                <a:lnTo>
                  <a:pt x="708" y="1456"/>
                </a:lnTo>
                <a:lnTo>
                  <a:pt x="694" y="1466"/>
                </a:lnTo>
                <a:lnTo>
                  <a:pt x="678" y="1478"/>
                </a:lnTo>
                <a:lnTo>
                  <a:pt x="666" y="1490"/>
                </a:lnTo>
                <a:lnTo>
                  <a:pt x="654" y="1504"/>
                </a:lnTo>
                <a:lnTo>
                  <a:pt x="642" y="1520"/>
                </a:lnTo>
                <a:lnTo>
                  <a:pt x="632" y="1534"/>
                </a:lnTo>
                <a:lnTo>
                  <a:pt x="624" y="1552"/>
                </a:lnTo>
                <a:lnTo>
                  <a:pt x="616" y="1568"/>
                </a:lnTo>
                <a:lnTo>
                  <a:pt x="612" y="1586"/>
                </a:lnTo>
                <a:lnTo>
                  <a:pt x="606" y="1604"/>
                </a:lnTo>
                <a:lnTo>
                  <a:pt x="604" y="1624"/>
                </a:lnTo>
                <a:lnTo>
                  <a:pt x="604" y="1642"/>
                </a:lnTo>
                <a:lnTo>
                  <a:pt x="604" y="1850"/>
                </a:lnTo>
                <a:lnTo>
                  <a:pt x="604" y="1850"/>
                </a:lnTo>
                <a:lnTo>
                  <a:pt x="604" y="1870"/>
                </a:lnTo>
                <a:lnTo>
                  <a:pt x="606" y="1888"/>
                </a:lnTo>
                <a:lnTo>
                  <a:pt x="612" y="1906"/>
                </a:lnTo>
                <a:lnTo>
                  <a:pt x="616" y="1924"/>
                </a:lnTo>
                <a:lnTo>
                  <a:pt x="624" y="1942"/>
                </a:lnTo>
                <a:lnTo>
                  <a:pt x="632" y="1958"/>
                </a:lnTo>
                <a:lnTo>
                  <a:pt x="642" y="1974"/>
                </a:lnTo>
                <a:lnTo>
                  <a:pt x="654" y="1988"/>
                </a:lnTo>
                <a:lnTo>
                  <a:pt x="666" y="2002"/>
                </a:lnTo>
                <a:lnTo>
                  <a:pt x="678" y="2014"/>
                </a:lnTo>
                <a:lnTo>
                  <a:pt x="694" y="2026"/>
                </a:lnTo>
                <a:lnTo>
                  <a:pt x="708" y="2036"/>
                </a:lnTo>
                <a:lnTo>
                  <a:pt x="724" y="2046"/>
                </a:lnTo>
                <a:lnTo>
                  <a:pt x="742" y="2052"/>
                </a:lnTo>
                <a:lnTo>
                  <a:pt x="760" y="2058"/>
                </a:lnTo>
                <a:lnTo>
                  <a:pt x="778" y="2064"/>
                </a:lnTo>
                <a:lnTo>
                  <a:pt x="1000" y="2108"/>
                </a:lnTo>
                <a:lnTo>
                  <a:pt x="1000" y="2108"/>
                </a:lnTo>
                <a:lnTo>
                  <a:pt x="1014" y="2110"/>
                </a:lnTo>
                <a:lnTo>
                  <a:pt x="1026" y="2108"/>
                </a:lnTo>
                <a:lnTo>
                  <a:pt x="1038" y="2104"/>
                </a:lnTo>
                <a:lnTo>
                  <a:pt x="1050" y="2098"/>
                </a:lnTo>
                <a:lnTo>
                  <a:pt x="1058" y="2090"/>
                </a:lnTo>
                <a:lnTo>
                  <a:pt x="1066" y="2080"/>
                </a:lnTo>
                <a:lnTo>
                  <a:pt x="1072" y="2070"/>
                </a:lnTo>
                <a:lnTo>
                  <a:pt x="1076" y="2058"/>
                </a:lnTo>
                <a:lnTo>
                  <a:pt x="1076" y="2058"/>
                </a:lnTo>
                <a:lnTo>
                  <a:pt x="1078" y="2044"/>
                </a:lnTo>
                <a:lnTo>
                  <a:pt x="1076" y="2032"/>
                </a:lnTo>
                <a:lnTo>
                  <a:pt x="1072" y="2020"/>
                </a:lnTo>
                <a:lnTo>
                  <a:pt x="1068" y="2008"/>
                </a:lnTo>
                <a:lnTo>
                  <a:pt x="1060" y="1998"/>
                </a:lnTo>
                <a:lnTo>
                  <a:pt x="1050" y="1990"/>
                </a:lnTo>
                <a:lnTo>
                  <a:pt x="1038" y="1984"/>
                </a:lnTo>
                <a:lnTo>
                  <a:pt x="1026" y="1982"/>
                </a:lnTo>
                <a:lnTo>
                  <a:pt x="804" y="1936"/>
                </a:lnTo>
                <a:lnTo>
                  <a:pt x="804" y="1936"/>
                </a:lnTo>
                <a:lnTo>
                  <a:pt x="790" y="1932"/>
                </a:lnTo>
                <a:lnTo>
                  <a:pt x="776" y="1926"/>
                </a:lnTo>
                <a:lnTo>
                  <a:pt x="764" y="1916"/>
                </a:lnTo>
                <a:lnTo>
                  <a:pt x="754" y="1906"/>
                </a:lnTo>
                <a:lnTo>
                  <a:pt x="744" y="1894"/>
                </a:lnTo>
                <a:lnTo>
                  <a:pt x="738" y="1880"/>
                </a:lnTo>
                <a:lnTo>
                  <a:pt x="734" y="1866"/>
                </a:lnTo>
                <a:lnTo>
                  <a:pt x="732" y="1850"/>
                </a:lnTo>
                <a:lnTo>
                  <a:pt x="732" y="1642"/>
                </a:lnTo>
                <a:lnTo>
                  <a:pt x="732" y="1642"/>
                </a:lnTo>
                <a:lnTo>
                  <a:pt x="734" y="1626"/>
                </a:lnTo>
                <a:lnTo>
                  <a:pt x="738" y="1612"/>
                </a:lnTo>
                <a:lnTo>
                  <a:pt x="744" y="1598"/>
                </a:lnTo>
                <a:lnTo>
                  <a:pt x="754" y="1586"/>
                </a:lnTo>
                <a:lnTo>
                  <a:pt x="764" y="1576"/>
                </a:lnTo>
                <a:lnTo>
                  <a:pt x="776" y="1566"/>
                </a:lnTo>
                <a:lnTo>
                  <a:pt x="790" y="1560"/>
                </a:lnTo>
                <a:lnTo>
                  <a:pt x="804" y="1556"/>
                </a:lnTo>
                <a:lnTo>
                  <a:pt x="1186" y="1480"/>
                </a:lnTo>
                <a:lnTo>
                  <a:pt x="1186" y="1480"/>
                </a:lnTo>
                <a:lnTo>
                  <a:pt x="1194" y="1478"/>
                </a:lnTo>
                <a:lnTo>
                  <a:pt x="1202" y="1474"/>
                </a:lnTo>
                <a:lnTo>
                  <a:pt x="1210" y="1470"/>
                </a:lnTo>
                <a:lnTo>
                  <a:pt x="1216" y="1464"/>
                </a:lnTo>
                <a:lnTo>
                  <a:pt x="1222" y="1458"/>
                </a:lnTo>
                <a:lnTo>
                  <a:pt x="1228" y="1450"/>
                </a:lnTo>
                <a:lnTo>
                  <a:pt x="1232" y="1442"/>
                </a:lnTo>
                <a:lnTo>
                  <a:pt x="1234" y="1434"/>
                </a:lnTo>
                <a:lnTo>
                  <a:pt x="1234" y="1434"/>
                </a:lnTo>
                <a:lnTo>
                  <a:pt x="1256" y="1368"/>
                </a:lnTo>
                <a:lnTo>
                  <a:pt x="1280" y="1302"/>
                </a:lnTo>
                <a:lnTo>
                  <a:pt x="1308" y="1240"/>
                </a:lnTo>
                <a:lnTo>
                  <a:pt x="1340" y="1178"/>
                </a:lnTo>
                <a:lnTo>
                  <a:pt x="1340" y="1178"/>
                </a:lnTo>
                <a:lnTo>
                  <a:pt x="1344" y="1170"/>
                </a:lnTo>
                <a:lnTo>
                  <a:pt x="1346" y="1162"/>
                </a:lnTo>
                <a:lnTo>
                  <a:pt x="1348" y="1154"/>
                </a:lnTo>
                <a:lnTo>
                  <a:pt x="1348" y="1144"/>
                </a:lnTo>
                <a:lnTo>
                  <a:pt x="1348" y="1136"/>
                </a:lnTo>
                <a:lnTo>
                  <a:pt x="1346" y="1128"/>
                </a:lnTo>
                <a:lnTo>
                  <a:pt x="1342" y="1120"/>
                </a:lnTo>
                <a:lnTo>
                  <a:pt x="1338" y="1112"/>
                </a:lnTo>
                <a:lnTo>
                  <a:pt x="1122" y="788"/>
                </a:lnTo>
                <a:lnTo>
                  <a:pt x="1122" y="788"/>
                </a:lnTo>
                <a:lnTo>
                  <a:pt x="1114" y="774"/>
                </a:lnTo>
                <a:lnTo>
                  <a:pt x="1110" y="760"/>
                </a:lnTo>
                <a:lnTo>
                  <a:pt x="1108" y="744"/>
                </a:lnTo>
                <a:lnTo>
                  <a:pt x="1108" y="730"/>
                </a:lnTo>
                <a:lnTo>
                  <a:pt x="1110" y="716"/>
                </a:lnTo>
                <a:lnTo>
                  <a:pt x="1116" y="702"/>
                </a:lnTo>
                <a:lnTo>
                  <a:pt x="1124" y="688"/>
                </a:lnTo>
                <a:lnTo>
                  <a:pt x="1134" y="676"/>
                </a:lnTo>
                <a:lnTo>
                  <a:pt x="1280" y="530"/>
                </a:lnTo>
                <a:lnTo>
                  <a:pt x="1280" y="530"/>
                </a:lnTo>
                <a:lnTo>
                  <a:pt x="1292" y="520"/>
                </a:lnTo>
                <a:lnTo>
                  <a:pt x="1306" y="512"/>
                </a:lnTo>
                <a:lnTo>
                  <a:pt x="1320" y="506"/>
                </a:lnTo>
                <a:lnTo>
                  <a:pt x="1334" y="504"/>
                </a:lnTo>
                <a:lnTo>
                  <a:pt x="1348" y="504"/>
                </a:lnTo>
                <a:lnTo>
                  <a:pt x="1364" y="506"/>
                </a:lnTo>
                <a:lnTo>
                  <a:pt x="1378" y="510"/>
                </a:lnTo>
                <a:lnTo>
                  <a:pt x="1392" y="518"/>
                </a:lnTo>
                <a:lnTo>
                  <a:pt x="1714" y="734"/>
                </a:lnTo>
                <a:lnTo>
                  <a:pt x="1714" y="734"/>
                </a:lnTo>
                <a:lnTo>
                  <a:pt x="1722" y="738"/>
                </a:lnTo>
                <a:lnTo>
                  <a:pt x="1730" y="742"/>
                </a:lnTo>
                <a:lnTo>
                  <a:pt x="1740" y="744"/>
                </a:lnTo>
                <a:lnTo>
                  <a:pt x="1748" y="744"/>
                </a:lnTo>
                <a:lnTo>
                  <a:pt x="1758" y="744"/>
                </a:lnTo>
                <a:lnTo>
                  <a:pt x="1766" y="744"/>
                </a:lnTo>
                <a:lnTo>
                  <a:pt x="1774" y="740"/>
                </a:lnTo>
                <a:lnTo>
                  <a:pt x="1782" y="736"/>
                </a:lnTo>
                <a:lnTo>
                  <a:pt x="1782" y="736"/>
                </a:lnTo>
                <a:lnTo>
                  <a:pt x="1844" y="704"/>
                </a:lnTo>
                <a:lnTo>
                  <a:pt x="1906" y="676"/>
                </a:lnTo>
                <a:lnTo>
                  <a:pt x="1972" y="652"/>
                </a:lnTo>
                <a:lnTo>
                  <a:pt x="2038" y="632"/>
                </a:lnTo>
                <a:lnTo>
                  <a:pt x="2038" y="632"/>
                </a:lnTo>
                <a:lnTo>
                  <a:pt x="2046" y="628"/>
                </a:lnTo>
                <a:lnTo>
                  <a:pt x="2054" y="624"/>
                </a:lnTo>
                <a:lnTo>
                  <a:pt x="2060" y="618"/>
                </a:lnTo>
                <a:lnTo>
                  <a:pt x="2068" y="612"/>
                </a:lnTo>
                <a:lnTo>
                  <a:pt x="2072" y="606"/>
                </a:lnTo>
                <a:lnTo>
                  <a:pt x="2078" y="598"/>
                </a:lnTo>
                <a:lnTo>
                  <a:pt x="2080" y="590"/>
                </a:lnTo>
                <a:lnTo>
                  <a:pt x="2084" y="582"/>
                </a:lnTo>
                <a:lnTo>
                  <a:pt x="2160" y="200"/>
                </a:lnTo>
                <a:lnTo>
                  <a:pt x="2160" y="200"/>
                </a:lnTo>
                <a:lnTo>
                  <a:pt x="2164" y="186"/>
                </a:lnTo>
                <a:lnTo>
                  <a:pt x="2170" y="172"/>
                </a:lnTo>
                <a:lnTo>
                  <a:pt x="2180" y="160"/>
                </a:lnTo>
                <a:lnTo>
                  <a:pt x="2190" y="150"/>
                </a:lnTo>
                <a:lnTo>
                  <a:pt x="2202" y="140"/>
                </a:lnTo>
                <a:lnTo>
                  <a:pt x="2216" y="134"/>
                </a:lnTo>
                <a:lnTo>
                  <a:pt x="2230" y="130"/>
                </a:lnTo>
                <a:lnTo>
                  <a:pt x="2246" y="130"/>
                </a:lnTo>
                <a:lnTo>
                  <a:pt x="2454" y="130"/>
                </a:lnTo>
                <a:lnTo>
                  <a:pt x="2454" y="130"/>
                </a:lnTo>
                <a:lnTo>
                  <a:pt x="2470" y="130"/>
                </a:lnTo>
                <a:lnTo>
                  <a:pt x="2484" y="134"/>
                </a:lnTo>
                <a:lnTo>
                  <a:pt x="2498" y="140"/>
                </a:lnTo>
                <a:lnTo>
                  <a:pt x="2510" y="150"/>
                </a:lnTo>
                <a:lnTo>
                  <a:pt x="2520" y="160"/>
                </a:lnTo>
                <a:lnTo>
                  <a:pt x="2530" y="172"/>
                </a:lnTo>
                <a:lnTo>
                  <a:pt x="2536" y="186"/>
                </a:lnTo>
                <a:lnTo>
                  <a:pt x="2540" y="200"/>
                </a:lnTo>
                <a:lnTo>
                  <a:pt x="2616" y="582"/>
                </a:lnTo>
                <a:lnTo>
                  <a:pt x="2616" y="582"/>
                </a:lnTo>
                <a:lnTo>
                  <a:pt x="2618" y="590"/>
                </a:lnTo>
                <a:lnTo>
                  <a:pt x="2622" y="598"/>
                </a:lnTo>
                <a:lnTo>
                  <a:pt x="2626" y="606"/>
                </a:lnTo>
                <a:lnTo>
                  <a:pt x="2632" y="612"/>
                </a:lnTo>
                <a:lnTo>
                  <a:pt x="2638" y="618"/>
                </a:lnTo>
                <a:lnTo>
                  <a:pt x="2646" y="624"/>
                </a:lnTo>
                <a:lnTo>
                  <a:pt x="2654" y="628"/>
                </a:lnTo>
                <a:lnTo>
                  <a:pt x="2662" y="632"/>
                </a:lnTo>
                <a:lnTo>
                  <a:pt x="2662" y="632"/>
                </a:lnTo>
                <a:lnTo>
                  <a:pt x="2728" y="652"/>
                </a:lnTo>
                <a:lnTo>
                  <a:pt x="2794" y="676"/>
                </a:lnTo>
                <a:lnTo>
                  <a:pt x="2856" y="704"/>
                </a:lnTo>
                <a:lnTo>
                  <a:pt x="2918" y="736"/>
                </a:lnTo>
                <a:lnTo>
                  <a:pt x="2918" y="736"/>
                </a:lnTo>
                <a:lnTo>
                  <a:pt x="2926" y="740"/>
                </a:lnTo>
                <a:lnTo>
                  <a:pt x="2934" y="744"/>
                </a:lnTo>
                <a:lnTo>
                  <a:pt x="2942" y="744"/>
                </a:lnTo>
                <a:lnTo>
                  <a:pt x="2952" y="744"/>
                </a:lnTo>
                <a:lnTo>
                  <a:pt x="2960" y="744"/>
                </a:lnTo>
                <a:lnTo>
                  <a:pt x="2968" y="742"/>
                </a:lnTo>
                <a:lnTo>
                  <a:pt x="2976" y="738"/>
                </a:lnTo>
                <a:lnTo>
                  <a:pt x="2984" y="734"/>
                </a:lnTo>
                <a:lnTo>
                  <a:pt x="3308" y="518"/>
                </a:lnTo>
                <a:lnTo>
                  <a:pt x="3308" y="518"/>
                </a:lnTo>
                <a:lnTo>
                  <a:pt x="3322" y="510"/>
                </a:lnTo>
                <a:lnTo>
                  <a:pt x="3336" y="506"/>
                </a:lnTo>
                <a:lnTo>
                  <a:pt x="3352" y="504"/>
                </a:lnTo>
                <a:lnTo>
                  <a:pt x="3366" y="504"/>
                </a:lnTo>
                <a:lnTo>
                  <a:pt x="3380" y="506"/>
                </a:lnTo>
                <a:lnTo>
                  <a:pt x="3394" y="512"/>
                </a:lnTo>
                <a:lnTo>
                  <a:pt x="3408" y="520"/>
                </a:lnTo>
                <a:lnTo>
                  <a:pt x="3420" y="530"/>
                </a:lnTo>
                <a:lnTo>
                  <a:pt x="3566" y="676"/>
                </a:lnTo>
                <a:lnTo>
                  <a:pt x="3566" y="676"/>
                </a:lnTo>
                <a:lnTo>
                  <a:pt x="3576" y="688"/>
                </a:lnTo>
                <a:lnTo>
                  <a:pt x="3584" y="702"/>
                </a:lnTo>
                <a:lnTo>
                  <a:pt x="3590" y="716"/>
                </a:lnTo>
                <a:lnTo>
                  <a:pt x="3592" y="730"/>
                </a:lnTo>
                <a:lnTo>
                  <a:pt x="3592" y="744"/>
                </a:lnTo>
                <a:lnTo>
                  <a:pt x="3590" y="760"/>
                </a:lnTo>
                <a:lnTo>
                  <a:pt x="3586" y="774"/>
                </a:lnTo>
                <a:lnTo>
                  <a:pt x="3578" y="788"/>
                </a:lnTo>
                <a:lnTo>
                  <a:pt x="3362" y="1112"/>
                </a:lnTo>
                <a:lnTo>
                  <a:pt x="3362" y="1112"/>
                </a:lnTo>
                <a:lnTo>
                  <a:pt x="3358" y="1120"/>
                </a:lnTo>
                <a:lnTo>
                  <a:pt x="3354" y="1128"/>
                </a:lnTo>
                <a:lnTo>
                  <a:pt x="3352" y="1136"/>
                </a:lnTo>
                <a:lnTo>
                  <a:pt x="3352" y="1144"/>
                </a:lnTo>
                <a:lnTo>
                  <a:pt x="3352" y="1154"/>
                </a:lnTo>
                <a:lnTo>
                  <a:pt x="3352" y="1162"/>
                </a:lnTo>
                <a:lnTo>
                  <a:pt x="3356" y="1170"/>
                </a:lnTo>
                <a:lnTo>
                  <a:pt x="3360" y="1178"/>
                </a:lnTo>
                <a:lnTo>
                  <a:pt x="3360" y="1178"/>
                </a:lnTo>
                <a:lnTo>
                  <a:pt x="3392" y="1240"/>
                </a:lnTo>
                <a:lnTo>
                  <a:pt x="3420" y="1302"/>
                </a:lnTo>
                <a:lnTo>
                  <a:pt x="3444" y="1368"/>
                </a:lnTo>
                <a:lnTo>
                  <a:pt x="3466" y="1434"/>
                </a:lnTo>
                <a:lnTo>
                  <a:pt x="3466" y="1434"/>
                </a:lnTo>
                <a:lnTo>
                  <a:pt x="3468" y="1442"/>
                </a:lnTo>
                <a:lnTo>
                  <a:pt x="3472" y="1450"/>
                </a:lnTo>
                <a:lnTo>
                  <a:pt x="3478" y="1458"/>
                </a:lnTo>
                <a:lnTo>
                  <a:pt x="3484" y="1464"/>
                </a:lnTo>
                <a:lnTo>
                  <a:pt x="3490" y="1470"/>
                </a:lnTo>
                <a:lnTo>
                  <a:pt x="3498" y="1474"/>
                </a:lnTo>
                <a:lnTo>
                  <a:pt x="3506" y="1478"/>
                </a:lnTo>
                <a:lnTo>
                  <a:pt x="3514" y="1480"/>
                </a:lnTo>
                <a:lnTo>
                  <a:pt x="3896" y="1556"/>
                </a:lnTo>
                <a:lnTo>
                  <a:pt x="3896" y="1556"/>
                </a:lnTo>
                <a:lnTo>
                  <a:pt x="3910" y="1560"/>
                </a:lnTo>
                <a:lnTo>
                  <a:pt x="3924" y="1566"/>
                </a:lnTo>
                <a:lnTo>
                  <a:pt x="3936" y="1576"/>
                </a:lnTo>
                <a:lnTo>
                  <a:pt x="3946" y="1586"/>
                </a:lnTo>
                <a:lnTo>
                  <a:pt x="3956" y="1598"/>
                </a:lnTo>
                <a:lnTo>
                  <a:pt x="3962" y="1612"/>
                </a:lnTo>
                <a:lnTo>
                  <a:pt x="3966" y="1626"/>
                </a:lnTo>
                <a:lnTo>
                  <a:pt x="3966" y="1642"/>
                </a:lnTo>
                <a:lnTo>
                  <a:pt x="3966" y="1850"/>
                </a:lnTo>
                <a:lnTo>
                  <a:pt x="3966" y="1850"/>
                </a:lnTo>
                <a:lnTo>
                  <a:pt x="3966" y="1866"/>
                </a:lnTo>
                <a:lnTo>
                  <a:pt x="3962" y="1880"/>
                </a:lnTo>
                <a:lnTo>
                  <a:pt x="3956" y="1894"/>
                </a:lnTo>
                <a:lnTo>
                  <a:pt x="3946" y="1906"/>
                </a:lnTo>
                <a:lnTo>
                  <a:pt x="3936" y="1916"/>
                </a:lnTo>
                <a:lnTo>
                  <a:pt x="3924" y="1926"/>
                </a:lnTo>
                <a:lnTo>
                  <a:pt x="3910" y="1932"/>
                </a:lnTo>
                <a:lnTo>
                  <a:pt x="3896" y="1936"/>
                </a:lnTo>
                <a:lnTo>
                  <a:pt x="3514" y="2012"/>
                </a:lnTo>
                <a:lnTo>
                  <a:pt x="3514" y="2012"/>
                </a:lnTo>
                <a:lnTo>
                  <a:pt x="3506" y="2016"/>
                </a:lnTo>
                <a:lnTo>
                  <a:pt x="3498" y="2018"/>
                </a:lnTo>
                <a:lnTo>
                  <a:pt x="3490" y="2024"/>
                </a:lnTo>
                <a:lnTo>
                  <a:pt x="3484" y="2028"/>
                </a:lnTo>
                <a:lnTo>
                  <a:pt x="3478" y="2036"/>
                </a:lnTo>
                <a:lnTo>
                  <a:pt x="3472" y="2042"/>
                </a:lnTo>
                <a:lnTo>
                  <a:pt x="3468" y="2050"/>
                </a:lnTo>
                <a:lnTo>
                  <a:pt x="3466" y="2058"/>
                </a:lnTo>
                <a:lnTo>
                  <a:pt x="3466" y="2058"/>
                </a:lnTo>
                <a:lnTo>
                  <a:pt x="3444" y="2124"/>
                </a:lnTo>
                <a:lnTo>
                  <a:pt x="3420" y="2190"/>
                </a:lnTo>
                <a:lnTo>
                  <a:pt x="3392" y="2252"/>
                </a:lnTo>
                <a:lnTo>
                  <a:pt x="3360" y="2314"/>
                </a:lnTo>
                <a:lnTo>
                  <a:pt x="3360" y="2314"/>
                </a:lnTo>
                <a:lnTo>
                  <a:pt x="3356" y="2322"/>
                </a:lnTo>
                <a:lnTo>
                  <a:pt x="3352" y="2330"/>
                </a:lnTo>
                <a:lnTo>
                  <a:pt x="3352" y="2338"/>
                </a:lnTo>
                <a:lnTo>
                  <a:pt x="3352" y="2348"/>
                </a:lnTo>
                <a:lnTo>
                  <a:pt x="3352" y="2356"/>
                </a:lnTo>
                <a:lnTo>
                  <a:pt x="3354" y="2366"/>
                </a:lnTo>
                <a:lnTo>
                  <a:pt x="3358" y="2374"/>
                </a:lnTo>
                <a:lnTo>
                  <a:pt x="3362" y="2382"/>
                </a:lnTo>
                <a:lnTo>
                  <a:pt x="3578" y="2704"/>
                </a:lnTo>
                <a:lnTo>
                  <a:pt x="3578" y="2704"/>
                </a:lnTo>
                <a:lnTo>
                  <a:pt x="3586" y="2718"/>
                </a:lnTo>
                <a:lnTo>
                  <a:pt x="3590" y="2732"/>
                </a:lnTo>
                <a:lnTo>
                  <a:pt x="3592" y="2748"/>
                </a:lnTo>
                <a:lnTo>
                  <a:pt x="3592" y="2762"/>
                </a:lnTo>
                <a:lnTo>
                  <a:pt x="3590" y="2776"/>
                </a:lnTo>
                <a:lnTo>
                  <a:pt x="3584" y="2790"/>
                </a:lnTo>
                <a:lnTo>
                  <a:pt x="3576" y="2804"/>
                </a:lnTo>
                <a:lnTo>
                  <a:pt x="3566" y="2816"/>
                </a:lnTo>
                <a:lnTo>
                  <a:pt x="3420" y="2962"/>
                </a:lnTo>
                <a:lnTo>
                  <a:pt x="3420" y="2962"/>
                </a:lnTo>
                <a:lnTo>
                  <a:pt x="3408" y="2972"/>
                </a:lnTo>
                <a:lnTo>
                  <a:pt x="3394" y="2980"/>
                </a:lnTo>
                <a:lnTo>
                  <a:pt x="3380" y="2986"/>
                </a:lnTo>
                <a:lnTo>
                  <a:pt x="3366" y="2988"/>
                </a:lnTo>
                <a:lnTo>
                  <a:pt x="3352" y="2988"/>
                </a:lnTo>
                <a:lnTo>
                  <a:pt x="3336" y="2986"/>
                </a:lnTo>
                <a:lnTo>
                  <a:pt x="3322" y="2982"/>
                </a:lnTo>
                <a:lnTo>
                  <a:pt x="3308" y="2974"/>
                </a:lnTo>
                <a:lnTo>
                  <a:pt x="2984" y="2758"/>
                </a:lnTo>
                <a:lnTo>
                  <a:pt x="2984" y="2758"/>
                </a:lnTo>
                <a:lnTo>
                  <a:pt x="2974" y="2752"/>
                </a:lnTo>
                <a:lnTo>
                  <a:pt x="2962" y="2748"/>
                </a:lnTo>
                <a:lnTo>
                  <a:pt x="2948" y="2748"/>
                </a:lnTo>
                <a:lnTo>
                  <a:pt x="2936" y="2748"/>
                </a:lnTo>
                <a:lnTo>
                  <a:pt x="2924" y="2752"/>
                </a:lnTo>
                <a:lnTo>
                  <a:pt x="2914" y="2758"/>
                </a:lnTo>
                <a:lnTo>
                  <a:pt x="2904" y="2766"/>
                </a:lnTo>
                <a:lnTo>
                  <a:pt x="2896" y="2776"/>
                </a:lnTo>
                <a:lnTo>
                  <a:pt x="2896" y="2776"/>
                </a:lnTo>
                <a:lnTo>
                  <a:pt x="2890" y="2788"/>
                </a:lnTo>
                <a:lnTo>
                  <a:pt x="2886" y="2800"/>
                </a:lnTo>
                <a:lnTo>
                  <a:pt x="2884" y="2812"/>
                </a:lnTo>
                <a:lnTo>
                  <a:pt x="2886" y="2824"/>
                </a:lnTo>
                <a:lnTo>
                  <a:pt x="2890" y="2836"/>
                </a:lnTo>
                <a:lnTo>
                  <a:pt x="2894" y="2848"/>
                </a:lnTo>
                <a:lnTo>
                  <a:pt x="2902" y="2858"/>
                </a:lnTo>
                <a:lnTo>
                  <a:pt x="2914" y="2866"/>
                </a:lnTo>
                <a:lnTo>
                  <a:pt x="3236" y="3082"/>
                </a:lnTo>
                <a:lnTo>
                  <a:pt x="3236" y="3082"/>
                </a:lnTo>
                <a:lnTo>
                  <a:pt x="3250" y="3090"/>
                </a:lnTo>
                <a:lnTo>
                  <a:pt x="3264" y="3098"/>
                </a:lnTo>
                <a:lnTo>
                  <a:pt x="3294" y="3108"/>
                </a:lnTo>
                <a:lnTo>
                  <a:pt x="3326" y="3116"/>
                </a:lnTo>
                <a:lnTo>
                  <a:pt x="3356" y="3118"/>
                </a:lnTo>
                <a:lnTo>
                  <a:pt x="3356" y="3118"/>
                </a:lnTo>
                <a:lnTo>
                  <a:pt x="3378" y="3118"/>
                </a:lnTo>
                <a:lnTo>
                  <a:pt x="3398" y="3114"/>
                </a:lnTo>
                <a:lnTo>
                  <a:pt x="3420" y="3108"/>
                </a:lnTo>
                <a:lnTo>
                  <a:pt x="3440" y="3102"/>
                </a:lnTo>
                <a:lnTo>
                  <a:pt x="3458" y="3092"/>
                </a:lnTo>
                <a:lnTo>
                  <a:pt x="3478" y="3082"/>
                </a:lnTo>
                <a:lnTo>
                  <a:pt x="3494" y="3070"/>
                </a:lnTo>
                <a:lnTo>
                  <a:pt x="3512" y="3054"/>
                </a:lnTo>
                <a:lnTo>
                  <a:pt x="3658" y="2908"/>
                </a:lnTo>
                <a:lnTo>
                  <a:pt x="3658" y="2908"/>
                </a:lnTo>
                <a:lnTo>
                  <a:pt x="3672" y="2894"/>
                </a:lnTo>
                <a:lnTo>
                  <a:pt x="3682" y="2878"/>
                </a:lnTo>
                <a:lnTo>
                  <a:pt x="3692" y="2862"/>
                </a:lnTo>
                <a:lnTo>
                  <a:pt x="3702" y="2846"/>
                </a:lnTo>
                <a:lnTo>
                  <a:pt x="3708" y="2828"/>
                </a:lnTo>
                <a:lnTo>
                  <a:pt x="3714" y="2812"/>
                </a:lnTo>
                <a:lnTo>
                  <a:pt x="3718" y="2794"/>
                </a:lnTo>
                <a:lnTo>
                  <a:pt x="3720" y="2776"/>
                </a:lnTo>
                <a:lnTo>
                  <a:pt x="3722" y="2756"/>
                </a:lnTo>
                <a:lnTo>
                  <a:pt x="3722" y="2738"/>
                </a:lnTo>
                <a:lnTo>
                  <a:pt x="3720" y="2720"/>
                </a:lnTo>
                <a:lnTo>
                  <a:pt x="3716" y="2702"/>
                </a:lnTo>
                <a:lnTo>
                  <a:pt x="3710" y="2684"/>
                </a:lnTo>
                <a:lnTo>
                  <a:pt x="3704" y="2666"/>
                </a:lnTo>
                <a:lnTo>
                  <a:pt x="3696" y="2650"/>
                </a:lnTo>
                <a:lnTo>
                  <a:pt x="3686" y="2632"/>
                </a:lnTo>
                <a:lnTo>
                  <a:pt x="3492" y="2342"/>
                </a:lnTo>
                <a:lnTo>
                  <a:pt x="3492" y="2342"/>
                </a:lnTo>
                <a:lnTo>
                  <a:pt x="3516" y="2290"/>
                </a:lnTo>
                <a:lnTo>
                  <a:pt x="3540" y="2238"/>
                </a:lnTo>
                <a:lnTo>
                  <a:pt x="3560" y="2186"/>
                </a:lnTo>
                <a:lnTo>
                  <a:pt x="3578" y="2132"/>
                </a:lnTo>
                <a:lnTo>
                  <a:pt x="3922" y="2064"/>
                </a:lnTo>
                <a:lnTo>
                  <a:pt x="3922" y="2064"/>
                </a:lnTo>
                <a:lnTo>
                  <a:pt x="3940" y="2058"/>
                </a:lnTo>
                <a:lnTo>
                  <a:pt x="3958" y="2052"/>
                </a:lnTo>
                <a:lnTo>
                  <a:pt x="3974" y="2046"/>
                </a:lnTo>
                <a:lnTo>
                  <a:pt x="3992" y="2036"/>
                </a:lnTo>
                <a:lnTo>
                  <a:pt x="4006" y="2026"/>
                </a:lnTo>
                <a:lnTo>
                  <a:pt x="4020" y="2014"/>
                </a:lnTo>
                <a:lnTo>
                  <a:pt x="4034" y="2002"/>
                </a:lnTo>
                <a:lnTo>
                  <a:pt x="4046" y="1988"/>
                </a:lnTo>
                <a:lnTo>
                  <a:pt x="4058" y="1974"/>
                </a:lnTo>
                <a:lnTo>
                  <a:pt x="4068" y="1958"/>
                </a:lnTo>
                <a:lnTo>
                  <a:pt x="4076" y="1942"/>
                </a:lnTo>
                <a:lnTo>
                  <a:pt x="4082" y="1924"/>
                </a:lnTo>
                <a:lnTo>
                  <a:pt x="4088" y="1906"/>
                </a:lnTo>
                <a:lnTo>
                  <a:pt x="4092" y="1888"/>
                </a:lnTo>
                <a:lnTo>
                  <a:pt x="4096" y="1870"/>
                </a:lnTo>
                <a:lnTo>
                  <a:pt x="4096" y="1850"/>
                </a:lnTo>
                <a:lnTo>
                  <a:pt x="4096" y="1642"/>
                </a:lnTo>
                <a:lnTo>
                  <a:pt x="4096" y="1642"/>
                </a:lnTo>
                <a:lnTo>
                  <a:pt x="4096" y="1624"/>
                </a:lnTo>
                <a:lnTo>
                  <a:pt x="4092" y="1604"/>
                </a:lnTo>
                <a:lnTo>
                  <a:pt x="4088" y="1586"/>
                </a:lnTo>
                <a:lnTo>
                  <a:pt x="4082" y="1568"/>
                </a:lnTo>
                <a:lnTo>
                  <a:pt x="4076" y="1552"/>
                </a:lnTo>
                <a:lnTo>
                  <a:pt x="4068" y="1534"/>
                </a:lnTo>
                <a:lnTo>
                  <a:pt x="4058" y="1520"/>
                </a:lnTo>
                <a:lnTo>
                  <a:pt x="4046" y="1504"/>
                </a:lnTo>
                <a:lnTo>
                  <a:pt x="4034" y="1490"/>
                </a:lnTo>
                <a:lnTo>
                  <a:pt x="4020" y="1478"/>
                </a:lnTo>
                <a:lnTo>
                  <a:pt x="4006" y="1466"/>
                </a:lnTo>
                <a:lnTo>
                  <a:pt x="3992" y="1456"/>
                </a:lnTo>
                <a:lnTo>
                  <a:pt x="3974" y="1448"/>
                </a:lnTo>
                <a:lnTo>
                  <a:pt x="3958" y="1440"/>
                </a:lnTo>
                <a:lnTo>
                  <a:pt x="3940" y="1434"/>
                </a:lnTo>
                <a:lnTo>
                  <a:pt x="3922" y="1428"/>
                </a:lnTo>
                <a:lnTo>
                  <a:pt x="3922" y="1428"/>
                </a:lnTo>
                <a:close/>
                <a:moveTo>
                  <a:pt x="2934" y="2372"/>
                </a:moveTo>
                <a:lnTo>
                  <a:pt x="2934" y="2372"/>
                </a:lnTo>
                <a:lnTo>
                  <a:pt x="2948" y="2370"/>
                </a:lnTo>
                <a:lnTo>
                  <a:pt x="2960" y="2366"/>
                </a:lnTo>
                <a:lnTo>
                  <a:pt x="2972" y="2360"/>
                </a:lnTo>
                <a:lnTo>
                  <a:pt x="2982" y="2352"/>
                </a:lnTo>
                <a:lnTo>
                  <a:pt x="2982" y="2352"/>
                </a:lnTo>
                <a:lnTo>
                  <a:pt x="3016" y="2314"/>
                </a:lnTo>
                <a:lnTo>
                  <a:pt x="3048" y="2274"/>
                </a:lnTo>
                <a:lnTo>
                  <a:pt x="3078" y="2232"/>
                </a:lnTo>
                <a:lnTo>
                  <a:pt x="3104" y="2190"/>
                </a:lnTo>
                <a:lnTo>
                  <a:pt x="3128" y="2146"/>
                </a:lnTo>
                <a:lnTo>
                  <a:pt x="3150" y="2102"/>
                </a:lnTo>
                <a:lnTo>
                  <a:pt x="3168" y="2056"/>
                </a:lnTo>
                <a:lnTo>
                  <a:pt x="3184" y="2008"/>
                </a:lnTo>
                <a:lnTo>
                  <a:pt x="3198" y="1960"/>
                </a:lnTo>
                <a:lnTo>
                  <a:pt x="3210" y="1912"/>
                </a:lnTo>
                <a:lnTo>
                  <a:pt x="3218" y="1864"/>
                </a:lnTo>
                <a:lnTo>
                  <a:pt x="3222" y="1814"/>
                </a:lnTo>
                <a:lnTo>
                  <a:pt x="3224" y="1764"/>
                </a:lnTo>
                <a:lnTo>
                  <a:pt x="3224" y="1712"/>
                </a:lnTo>
                <a:lnTo>
                  <a:pt x="3220" y="1662"/>
                </a:lnTo>
                <a:lnTo>
                  <a:pt x="3214" y="1612"/>
                </a:lnTo>
                <a:lnTo>
                  <a:pt x="3214" y="1612"/>
                </a:lnTo>
                <a:lnTo>
                  <a:pt x="3204" y="1560"/>
                </a:lnTo>
                <a:lnTo>
                  <a:pt x="3192" y="1510"/>
                </a:lnTo>
                <a:lnTo>
                  <a:pt x="3176" y="1460"/>
                </a:lnTo>
                <a:lnTo>
                  <a:pt x="3158" y="1414"/>
                </a:lnTo>
                <a:lnTo>
                  <a:pt x="3138" y="1366"/>
                </a:lnTo>
                <a:lnTo>
                  <a:pt x="3114" y="1320"/>
                </a:lnTo>
                <a:lnTo>
                  <a:pt x="3088" y="1276"/>
                </a:lnTo>
                <a:lnTo>
                  <a:pt x="3060" y="1234"/>
                </a:lnTo>
                <a:lnTo>
                  <a:pt x="3060" y="1234"/>
                </a:lnTo>
                <a:lnTo>
                  <a:pt x="3050" y="1224"/>
                </a:lnTo>
                <a:lnTo>
                  <a:pt x="3040" y="1216"/>
                </a:lnTo>
                <a:lnTo>
                  <a:pt x="3028" y="1212"/>
                </a:lnTo>
                <a:lnTo>
                  <a:pt x="3016" y="1208"/>
                </a:lnTo>
                <a:lnTo>
                  <a:pt x="3004" y="1208"/>
                </a:lnTo>
                <a:lnTo>
                  <a:pt x="2992" y="1208"/>
                </a:lnTo>
                <a:lnTo>
                  <a:pt x="2980" y="1212"/>
                </a:lnTo>
                <a:lnTo>
                  <a:pt x="2968" y="1220"/>
                </a:lnTo>
                <a:lnTo>
                  <a:pt x="2968" y="1220"/>
                </a:lnTo>
                <a:lnTo>
                  <a:pt x="2958" y="1228"/>
                </a:lnTo>
                <a:lnTo>
                  <a:pt x="2952" y="1238"/>
                </a:lnTo>
                <a:lnTo>
                  <a:pt x="2946" y="1250"/>
                </a:lnTo>
                <a:lnTo>
                  <a:pt x="2942" y="1262"/>
                </a:lnTo>
                <a:lnTo>
                  <a:pt x="2942" y="1274"/>
                </a:lnTo>
                <a:lnTo>
                  <a:pt x="2944" y="1286"/>
                </a:lnTo>
                <a:lnTo>
                  <a:pt x="2948" y="1298"/>
                </a:lnTo>
                <a:lnTo>
                  <a:pt x="2954" y="1310"/>
                </a:lnTo>
                <a:lnTo>
                  <a:pt x="2954" y="1310"/>
                </a:lnTo>
                <a:lnTo>
                  <a:pt x="2980" y="1346"/>
                </a:lnTo>
                <a:lnTo>
                  <a:pt x="3002" y="1384"/>
                </a:lnTo>
                <a:lnTo>
                  <a:pt x="3022" y="1422"/>
                </a:lnTo>
                <a:lnTo>
                  <a:pt x="3040" y="1462"/>
                </a:lnTo>
                <a:lnTo>
                  <a:pt x="3054" y="1504"/>
                </a:lnTo>
                <a:lnTo>
                  <a:pt x="3068" y="1544"/>
                </a:lnTo>
                <a:lnTo>
                  <a:pt x="3078" y="1588"/>
                </a:lnTo>
                <a:lnTo>
                  <a:pt x="3086" y="1632"/>
                </a:lnTo>
                <a:lnTo>
                  <a:pt x="3086" y="1632"/>
                </a:lnTo>
                <a:lnTo>
                  <a:pt x="3092" y="1674"/>
                </a:lnTo>
                <a:lnTo>
                  <a:pt x="3094" y="1718"/>
                </a:lnTo>
                <a:lnTo>
                  <a:pt x="3096" y="1760"/>
                </a:lnTo>
                <a:lnTo>
                  <a:pt x="3094" y="1804"/>
                </a:lnTo>
                <a:lnTo>
                  <a:pt x="3088" y="1846"/>
                </a:lnTo>
                <a:lnTo>
                  <a:pt x="3082" y="1888"/>
                </a:lnTo>
                <a:lnTo>
                  <a:pt x="3072" y="1930"/>
                </a:lnTo>
                <a:lnTo>
                  <a:pt x="3062" y="1970"/>
                </a:lnTo>
                <a:lnTo>
                  <a:pt x="3048" y="2010"/>
                </a:lnTo>
                <a:lnTo>
                  <a:pt x="3032" y="2048"/>
                </a:lnTo>
                <a:lnTo>
                  <a:pt x="3014" y="2088"/>
                </a:lnTo>
                <a:lnTo>
                  <a:pt x="2992" y="2124"/>
                </a:lnTo>
                <a:lnTo>
                  <a:pt x="2970" y="2160"/>
                </a:lnTo>
                <a:lnTo>
                  <a:pt x="2944" y="2196"/>
                </a:lnTo>
                <a:lnTo>
                  <a:pt x="2918" y="2230"/>
                </a:lnTo>
                <a:lnTo>
                  <a:pt x="2888" y="2262"/>
                </a:lnTo>
                <a:lnTo>
                  <a:pt x="2888" y="2262"/>
                </a:lnTo>
                <a:lnTo>
                  <a:pt x="2880" y="2272"/>
                </a:lnTo>
                <a:lnTo>
                  <a:pt x="2874" y="2284"/>
                </a:lnTo>
                <a:lnTo>
                  <a:pt x="2870" y="2296"/>
                </a:lnTo>
                <a:lnTo>
                  <a:pt x="2870" y="2308"/>
                </a:lnTo>
                <a:lnTo>
                  <a:pt x="2872" y="2320"/>
                </a:lnTo>
                <a:lnTo>
                  <a:pt x="2876" y="2332"/>
                </a:lnTo>
                <a:lnTo>
                  <a:pt x="2882" y="2344"/>
                </a:lnTo>
                <a:lnTo>
                  <a:pt x="2890" y="2354"/>
                </a:lnTo>
                <a:lnTo>
                  <a:pt x="2890" y="2354"/>
                </a:lnTo>
                <a:lnTo>
                  <a:pt x="2900" y="2362"/>
                </a:lnTo>
                <a:lnTo>
                  <a:pt x="2910" y="2366"/>
                </a:lnTo>
                <a:lnTo>
                  <a:pt x="2922" y="2370"/>
                </a:lnTo>
                <a:lnTo>
                  <a:pt x="2934" y="2372"/>
                </a:lnTo>
                <a:lnTo>
                  <a:pt x="2934" y="237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8609491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8D80A-6AD3-4800-A2C7-00CACB568182}"/>
              </a:ext>
            </a:extLst>
          </p:cNvPr>
          <p:cNvSpPr>
            <a:spLocks noGrp="1"/>
          </p:cNvSpPr>
          <p:nvPr>
            <p:ph type="title"/>
          </p:nvPr>
        </p:nvSpPr>
        <p:spPr/>
        <p:txBody>
          <a:bodyPr/>
          <a:lstStyle/>
          <a:p>
            <a:r>
              <a:rPr lang="nl-NL" b="1" dirty="0"/>
              <a:t>Agenda</a:t>
            </a:r>
            <a:endParaRPr lang="nl-NL" dirty="0"/>
          </a:p>
        </p:txBody>
      </p:sp>
      <p:sp>
        <p:nvSpPr>
          <p:cNvPr id="3" name="Rectangle 2">
            <a:extLst>
              <a:ext uri="{FF2B5EF4-FFF2-40B4-BE49-F238E27FC236}">
                <a16:creationId xmlns:a16="http://schemas.microsoft.com/office/drawing/2014/main" id="{41C846D7-1C76-4657-AF3A-EAEE565432A9}"/>
              </a:ext>
            </a:extLst>
          </p:cNvPr>
          <p:cNvSpPr/>
          <p:nvPr/>
        </p:nvSpPr>
        <p:spPr>
          <a:xfrm>
            <a:off x="3297873" y="1862574"/>
            <a:ext cx="5971507" cy="369332"/>
          </a:xfrm>
          <a:prstGeom prst="rect">
            <a:avLst/>
          </a:prstGeom>
        </p:spPr>
        <p:txBody>
          <a:bodyPr wrap="none">
            <a:spAutoFit/>
          </a:bodyPr>
          <a:lstStyle/>
          <a:p>
            <a:pPr marL="285750" indent="-285750">
              <a:buFont typeface="Arial" panose="020B0604020202020204" pitchFamily="34" charset="0"/>
              <a:buChar char="•"/>
            </a:pPr>
            <a:r>
              <a:rPr lang="en-US" b="1" dirty="0">
                <a:solidFill>
                  <a:schemeClr val="tx2">
                    <a:lumMod val="50000"/>
                  </a:schemeClr>
                </a:solidFill>
              </a:rPr>
              <a:t>Digital Transformation and Power of API’s</a:t>
            </a:r>
            <a:endParaRPr lang="nl-NL" b="1" dirty="0">
              <a:solidFill>
                <a:schemeClr val="tx2">
                  <a:lumMod val="50000"/>
                </a:schemeClr>
              </a:solidFill>
            </a:endParaRPr>
          </a:p>
        </p:txBody>
      </p:sp>
      <p:sp>
        <p:nvSpPr>
          <p:cNvPr id="4" name="Rectangle 3">
            <a:extLst>
              <a:ext uri="{FF2B5EF4-FFF2-40B4-BE49-F238E27FC236}">
                <a16:creationId xmlns:a16="http://schemas.microsoft.com/office/drawing/2014/main" id="{DEE5B597-6618-4996-BE03-61500D0AE34B}"/>
              </a:ext>
            </a:extLst>
          </p:cNvPr>
          <p:cNvSpPr/>
          <p:nvPr/>
        </p:nvSpPr>
        <p:spPr>
          <a:xfrm>
            <a:off x="3297873" y="2461260"/>
            <a:ext cx="5150769"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en-US" b="1" dirty="0">
                <a:solidFill>
                  <a:schemeClr val="tx2">
                    <a:lumMod val="50000"/>
                  </a:schemeClr>
                </a:solidFill>
              </a:rPr>
              <a:t>API Management Platform - </a:t>
            </a:r>
            <a:r>
              <a:rPr lang="en-GB" b="1" dirty="0">
                <a:solidFill>
                  <a:schemeClr val="tx2">
                    <a:lumMod val="50000"/>
                  </a:schemeClr>
                </a:solidFill>
              </a:rPr>
              <a:t>APIGEE</a:t>
            </a:r>
            <a:endParaRPr lang="en-US" b="1" dirty="0">
              <a:solidFill>
                <a:schemeClr val="accent2"/>
              </a:solidFill>
            </a:endParaRPr>
          </a:p>
        </p:txBody>
      </p:sp>
      <p:sp>
        <p:nvSpPr>
          <p:cNvPr id="5" name="Rectangle 4">
            <a:extLst>
              <a:ext uri="{FF2B5EF4-FFF2-40B4-BE49-F238E27FC236}">
                <a16:creationId xmlns:a16="http://schemas.microsoft.com/office/drawing/2014/main" id="{06A55B2D-7129-413F-AF4B-0A14DC8932E2}"/>
              </a:ext>
            </a:extLst>
          </p:cNvPr>
          <p:cNvSpPr/>
          <p:nvPr/>
        </p:nvSpPr>
        <p:spPr>
          <a:xfrm>
            <a:off x="3320315" y="3208678"/>
            <a:ext cx="4461478"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en-US" b="1" dirty="0">
                <a:solidFill>
                  <a:schemeClr val="tx2">
                    <a:lumMod val="50000"/>
                  </a:schemeClr>
                </a:solidFill>
              </a:rPr>
              <a:t>APIGEE Product and Offerings </a:t>
            </a:r>
            <a:endParaRPr lang="en-US" b="1" dirty="0">
              <a:solidFill>
                <a:schemeClr val="accent2"/>
              </a:solidFill>
            </a:endParaRPr>
          </a:p>
        </p:txBody>
      </p:sp>
      <p:sp>
        <p:nvSpPr>
          <p:cNvPr id="7" name="Rectangle 6">
            <a:extLst>
              <a:ext uri="{FF2B5EF4-FFF2-40B4-BE49-F238E27FC236}">
                <a16:creationId xmlns:a16="http://schemas.microsoft.com/office/drawing/2014/main" id="{5D9D6645-0143-46AB-AA6E-68E7B8903DD3}"/>
              </a:ext>
            </a:extLst>
          </p:cNvPr>
          <p:cNvSpPr/>
          <p:nvPr/>
        </p:nvSpPr>
        <p:spPr>
          <a:xfrm>
            <a:off x="3328929" y="3956096"/>
            <a:ext cx="5832046" cy="369332"/>
          </a:xfrm>
          <a:prstGeom prst="rect">
            <a:avLst/>
          </a:prstGeom>
        </p:spPr>
        <p:txBody>
          <a:bodyPr wrap="none">
            <a:spAutoFit/>
          </a:bodyPr>
          <a:lstStyle/>
          <a:p>
            <a:pPr marL="285750" indent="-285750">
              <a:buFont typeface="Arial" panose="020B0604020202020204" pitchFamily="34" charset="0"/>
              <a:buChar char="•"/>
            </a:pPr>
            <a:r>
              <a:rPr lang="en-US" b="1" dirty="0">
                <a:solidFill>
                  <a:schemeClr val="tx2">
                    <a:lumMod val="50000"/>
                  </a:schemeClr>
                </a:solidFill>
              </a:rPr>
              <a:t>API Components and Deployment Models</a:t>
            </a:r>
            <a:endParaRPr lang="nl-NL" b="1" dirty="0">
              <a:solidFill>
                <a:schemeClr val="tx2">
                  <a:lumMod val="50000"/>
                </a:schemeClr>
              </a:solidFill>
            </a:endParaRPr>
          </a:p>
        </p:txBody>
      </p:sp>
      <p:sp>
        <p:nvSpPr>
          <p:cNvPr id="9" name="Rectangle 8">
            <a:extLst>
              <a:ext uri="{FF2B5EF4-FFF2-40B4-BE49-F238E27FC236}">
                <a16:creationId xmlns:a16="http://schemas.microsoft.com/office/drawing/2014/main" id="{54BD8A21-92E5-494E-8BD9-504385C99B4F}"/>
              </a:ext>
            </a:extLst>
          </p:cNvPr>
          <p:cNvSpPr/>
          <p:nvPr/>
        </p:nvSpPr>
        <p:spPr>
          <a:xfrm>
            <a:off x="3328929" y="4652613"/>
            <a:ext cx="2170787" cy="369332"/>
          </a:xfrm>
          <a:prstGeom prst="rect">
            <a:avLst/>
          </a:prstGeom>
        </p:spPr>
        <p:txBody>
          <a:bodyPr wrap="none">
            <a:spAutoFit/>
          </a:bodyPr>
          <a:lstStyle/>
          <a:p>
            <a:pPr marL="285750" indent="-285750">
              <a:buFont typeface="Arial" panose="020B0604020202020204" pitchFamily="34" charset="0"/>
              <a:buChar char="•"/>
            </a:pPr>
            <a:r>
              <a:rPr lang="en-US" b="1" dirty="0">
                <a:solidFill>
                  <a:schemeClr val="tx2">
                    <a:lumMod val="50000"/>
                  </a:schemeClr>
                </a:solidFill>
              </a:rPr>
              <a:t>API lifecycle </a:t>
            </a:r>
            <a:endParaRPr lang="nl-NL" b="1" dirty="0">
              <a:solidFill>
                <a:schemeClr val="tx2">
                  <a:lumMod val="50000"/>
                </a:schemeClr>
              </a:solidFill>
            </a:endParaRPr>
          </a:p>
        </p:txBody>
      </p:sp>
      <p:sp>
        <p:nvSpPr>
          <p:cNvPr id="10" name="Rectangle 9">
            <a:extLst>
              <a:ext uri="{FF2B5EF4-FFF2-40B4-BE49-F238E27FC236}">
                <a16:creationId xmlns:a16="http://schemas.microsoft.com/office/drawing/2014/main" id="{63009F01-D6E9-4774-8487-27B56211FA84}"/>
              </a:ext>
            </a:extLst>
          </p:cNvPr>
          <p:cNvSpPr/>
          <p:nvPr/>
        </p:nvSpPr>
        <p:spPr>
          <a:xfrm>
            <a:off x="3297873" y="5199992"/>
            <a:ext cx="4044697" cy="369332"/>
          </a:xfrm>
          <a:prstGeom prst="rect">
            <a:avLst/>
          </a:prstGeom>
        </p:spPr>
        <p:txBody>
          <a:bodyPr wrap="none">
            <a:spAutoFit/>
          </a:bodyPr>
          <a:lstStyle/>
          <a:p>
            <a:pPr marL="285750" indent="-285750">
              <a:buFont typeface="Arial" panose="020B0604020202020204" pitchFamily="34" charset="0"/>
              <a:buChar char="•"/>
            </a:pPr>
            <a:r>
              <a:rPr lang="en-US" b="1" dirty="0">
                <a:solidFill>
                  <a:schemeClr val="tx2">
                    <a:lumMod val="50000"/>
                  </a:schemeClr>
                </a:solidFill>
              </a:rPr>
              <a:t>Demo : </a:t>
            </a:r>
            <a:r>
              <a:rPr lang="nl-NL" b="1" dirty="0">
                <a:solidFill>
                  <a:schemeClr val="tx2">
                    <a:lumMod val="50000"/>
                  </a:schemeClr>
                </a:solidFill>
              </a:rPr>
              <a:t>Real Time Use case </a:t>
            </a:r>
          </a:p>
        </p:txBody>
      </p:sp>
      <p:sp>
        <p:nvSpPr>
          <p:cNvPr id="11" name="Rounded Rectangle 7">
            <a:extLst>
              <a:ext uri="{FF2B5EF4-FFF2-40B4-BE49-F238E27FC236}">
                <a16:creationId xmlns:a16="http://schemas.microsoft.com/office/drawing/2014/main" id="{E008399B-3AAE-41BB-AFD1-E210BCFC9887}"/>
              </a:ext>
            </a:extLst>
          </p:cNvPr>
          <p:cNvSpPr/>
          <p:nvPr/>
        </p:nvSpPr>
        <p:spPr bwMode="auto">
          <a:xfrm>
            <a:off x="2472562" y="3867169"/>
            <a:ext cx="7823200" cy="550155"/>
          </a:xfrm>
          <a:prstGeom prst="roundRect">
            <a:avLst>
              <a:gd name="adj" fmla="val 50000"/>
            </a:avLst>
          </a:prstGeom>
          <a:noFill/>
          <a:ln w="28575" cap="flat" cmpd="sng" algn="ctr">
            <a:solidFill>
              <a:schemeClr val="accent2"/>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algn="ctr" defTabSz="685800" eaLnBrk="0" fontAlgn="base" hangingPunct="0">
              <a:spcBef>
                <a:spcPct val="0"/>
              </a:spcBef>
              <a:spcAft>
                <a:spcPct val="0"/>
              </a:spcAft>
            </a:pPr>
            <a:endParaRPr lang="en-US" sz="1400" b="1" dirty="0">
              <a:cs typeface="Arial" charset="0"/>
            </a:endParaRPr>
          </a:p>
        </p:txBody>
      </p:sp>
    </p:spTree>
    <p:extLst>
      <p:ext uri="{BB962C8B-B14F-4D97-AF65-F5344CB8AC3E}">
        <p14:creationId xmlns:p14="http://schemas.microsoft.com/office/powerpoint/2010/main" val="35578654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B66156E-660F-4A90-8A78-9AE3C58DB2B0}"/>
              </a:ext>
            </a:extLst>
          </p:cNvPr>
          <p:cNvSpPr>
            <a:spLocks noGrp="1"/>
          </p:cNvSpPr>
          <p:nvPr>
            <p:ph type="title"/>
          </p:nvPr>
        </p:nvSpPr>
        <p:spPr/>
        <p:txBody>
          <a:bodyPr/>
          <a:lstStyle/>
          <a:p>
            <a:br>
              <a:rPr lang="nl-NL" dirty="0"/>
            </a:br>
            <a:endParaRPr lang="nl-NL" dirty="0"/>
          </a:p>
        </p:txBody>
      </p:sp>
      <p:sp>
        <p:nvSpPr>
          <p:cNvPr id="6" name="Title 218">
            <a:extLst>
              <a:ext uri="{FF2B5EF4-FFF2-40B4-BE49-F238E27FC236}">
                <a16:creationId xmlns:a16="http://schemas.microsoft.com/office/drawing/2014/main" id="{01EF8303-9382-4666-A31C-F81D7BC30174}"/>
              </a:ext>
            </a:extLst>
          </p:cNvPr>
          <p:cNvSpPr txBox="1">
            <a:spLocks/>
          </p:cNvSpPr>
          <p:nvPr/>
        </p:nvSpPr>
        <p:spPr>
          <a:xfrm>
            <a:off x="539475" y="92468"/>
            <a:ext cx="10876908" cy="822325"/>
          </a:xfrm>
          <a:prstGeom prst="rect">
            <a:avLst/>
          </a:prstGeom>
          <a:gradFill flip="none" rotWithShape="1">
            <a:gsLst>
              <a:gs pos="0">
                <a:schemeClr val="bg1">
                  <a:alpha val="0"/>
                </a:schemeClr>
              </a:gs>
              <a:gs pos="100000">
                <a:schemeClr val="bg1"/>
              </a:gs>
            </a:gsLst>
            <a:lin ang="0" scaled="1"/>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lt1"/>
                </a:solidFill>
                <a:effectLst/>
                <a:uLnTx/>
                <a:uFillTx/>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nl-NL" sz="2000" b="1" dirty="0">
                <a:solidFill>
                  <a:schemeClr val="tx2"/>
                </a:solidFill>
              </a:rPr>
              <a:t>APIGEE COMPONENTS</a:t>
            </a:r>
          </a:p>
        </p:txBody>
      </p:sp>
      <p:pic>
        <p:nvPicPr>
          <p:cNvPr id="2" name="Picture 1">
            <a:extLst>
              <a:ext uri="{FF2B5EF4-FFF2-40B4-BE49-F238E27FC236}">
                <a16:creationId xmlns:a16="http://schemas.microsoft.com/office/drawing/2014/main" id="{93E3FC95-09E3-42E7-B600-EF2C96815090}"/>
              </a:ext>
            </a:extLst>
          </p:cNvPr>
          <p:cNvPicPr>
            <a:picLocks noChangeAspect="1"/>
          </p:cNvPicPr>
          <p:nvPr/>
        </p:nvPicPr>
        <p:blipFill>
          <a:blip r:embed="rId2"/>
          <a:stretch>
            <a:fillRect/>
          </a:stretch>
        </p:blipFill>
        <p:spPr>
          <a:xfrm>
            <a:off x="539475" y="1123121"/>
            <a:ext cx="10876908" cy="5293415"/>
          </a:xfrm>
          <a:prstGeom prst="rect">
            <a:avLst/>
          </a:prstGeom>
        </p:spPr>
      </p:pic>
    </p:spTree>
    <p:extLst>
      <p:ext uri="{BB962C8B-B14F-4D97-AF65-F5344CB8AC3E}">
        <p14:creationId xmlns:p14="http://schemas.microsoft.com/office/powerpoint/2010/main" val="15147675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33413C8-560B-4242-B5CC-D84A6A976F2B}"/>
              </a:ext>
            </a:extLst>
          </p:cNvPr>
          <p:cNvSpPr>
            <a:spLocks noGrp="1"/>
          </p:cNvSpPr>
          <p:nvPr>
            <p:ph type="title"/>
          </p:nvPr>
        </p:nvSpPr>
        <p:spPr>
          <a:xfrm>
            <a:off x="336549" y="-51371"/>
            <a:ext cx="11016035" cy="827070"/>
          </a:xfrm>
        </p:spPr>
        <p:txBody>
          <a:bodyPr/>
          <a:lstStyle/>
          <a:p>
            <a:br>
              <a:rPr lang="nl-NL" dirty="0"/>
            </a:br>
            <a:br>
              <a:rPr lang="nl-NL" dirty="0"/>
            </a:br>
            <a:endParaRPr lang="nl-NL" dirty="0"/>
          </a:p>
        </p:txBody>
      </p:sp>
      <p:sp>
        <p:nvSpPr>
          <p:cNvPr id="13" name="Title 218">
            <a:extLst>
              <a:ext uri="{FF2B5EF4-FFF2-40B4-BE49-F238E27FC236}">
                <a16:creationId xmlns:a16="http://schemas.microsoft.com/office/drawing/2014/main" id="{7B8BB40D-EC3D-4DCE-AE9B-E7DD0743075A}"/>
              </a:ext>
            </a:extLst>
          </p:cNvPr>
          <p:cNvSpPr txBox="1">
            <a:spLocks/>
          </p:cNvSpPr>
          <p:nvPr/>
        </p:nvSpPr>
        <p:spPr>
          <a:xfrm>
            <a:off x="336549" y="25400"/>
            <a:ext cx="11518902" cy="822325"/>
          </a:xfrm>
          <a:prstGeom prst="rect">
            <a:avLst/>
          </a:prstGeom>
          <a:gradFill flip="none" rotWithShape="1">
            <a:gsLst>
              <a:gs pos="0">
                <a:schemeClr val="bg1">
                  <a:alpha val="0"/>
                </a:schemeClr>
              </a:gs>
              <a:gs pos="100000">
                <a:schemeClr val="bg1"/>
              </a:gs>
            </a:gsLst>
            <a:lin ang="0" scaled="1"/>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lt1"/>
                </a:solidFill>
                <a:effectLst/>
                <a:uLnTx/>
                <a:uFillTx/>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nl-NL" sz="2000" b="1" dirty="0">
                <a:solidFill>
                  <a:schemeClr val="tx2"/>
                </a:solidFill>
              </a:rPr>
              <a:t>Flexible Deployment Models</a:t>
            </a:r>
          </a:p>
        </p:txBody>
      </p:sp>
      <p:pic>
        <p:nvPicPr>
          <p:cNvPr id="7" name="Picture 6">
            <a:extLst>
              <a:ext uri="{FF2B5EF4-FFF2-40B4-BE49-F238E27FC236}">
                <a16:creationId xmlns:a16="http://schemas.microsoft.com/office/drawing/2014/main" id="{C1CC3FF8-F008-4411-B8F5-E1DAD4526B18}"/>
              </a:ext>
            </a:extLst>
          </p:cNvPr>
          <p:cNvPicPr>
            <a:picLocks noChangeAspect="1"/>
          </p:cNvPicPr>
          <p:nvPr/>
        </p:nvPicPr>
        <p:blipFill>
          <a:blip r:embed="rId2"/>
          <a:stretch>
            <a:fillRect/>
          </a:stretch>
        </p:blipFill>
        <p:spPr>
          <a:xfrm>
            <a:off x="119270" y="924496"/>
            <a:ext cx="11736181" cy="5388254"/>
          </a:xfrm>
          <a:prstGeom prst="rect">
            <a:avLst/>
          </a:prstGeom>
        </p:spPr>
      </p:pic>
    </p:spTree>
    <p:extLst>
      <p:ext uri="{BB962C8B-B14F-4D97-AF65-F5344CB8AC3E}">
        <p14:creationId xmlns:p14="http://schemas.microsoft.com/office/powerpoint/2010/main" val="33266954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33413C8-560B-4242-B5CC-D84A6A976F2B}"/>
              </a:ext>
            </a:extLst>
          </p:cNvPr>
          <p:cNvSpPr>
            <a:spLocks noGrp="1"/>
          </p:cNvSpPr>
          <p:nvPr>
            <p:ph type="title"/>
          </p:nvPr>
        </p:nvSpPr>
        <p:spPr>
          <a:xfrm>
            <a:off x="336549" y="-51371"/>
            <a:ext cx="11016035" cy="827070"/>
          </a:xfrm>
        </p:spPr>
        <p:txBody>
          <a:bodyPr/>
          <a:lstStyle/>
          <a:p>
            <a:br>
              <a:rPr lang="nl-NL" dirty="0"/>
            </a:br>
            <a:br>
              <a:rPr lang="nl-NL" dirty="0"/>
            </a:br>
            <a:endParaRPr lang="nl-NL" dirty="0"/>
          </a:p>
        </p:txBody>
      </p:sp>
      <p:sp>
        <p:nvSpPr>
          <p:cNvPr id="13" name="Title 218">
            <a:extLst>
              <a:ext uri="{FF2B5EF4-FFF2-40B4-BE49-F238E27FC236}">
                <a16:creationId xmlns:a16="http://schemas.microsoft.com/office/drawing/2014/main" id="{7B8BB40D-EC3D-4DCE-AE9B-E7DD0743075A}"/>
              </a:ext>
            </a:extLst>
          </p:cNvPr>
          <p:cNvSpPr txBox="1">
            <a:spLocks/>
          </p:cNvSpPr>
          <p:nvPr/>
        </p:nvSpPr>
        <p:spPr>
          <a:xfrm>
            <a:off x="336549" y="25400"/>
            <a:ext cx="11406813" cy="822325"/>
          </a:xfrm>
          <a:prstGeom prst="rect">
            <a:avLst/>
          </a:prstGeom>
          <a:gradFill flip="none" rotWithShape="1">
            <a:gsLst>
              <a:gs pos="0">
                <a:schemeClr val="bg1">
                  <a:alpha val="0"/>
                </a:schemeClr>
              </a:gs>
              <a:gs pos="100000">
                <a:schemeClr val="bg1"/>
              </a:gs>
            </a:gsLst>
            <a:lin ang="0" scaled="1"/>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lt1"/>
                </a:solidFill>
                <a:effectLst/>
                <a:uLnTx/>
                <a:uFillTx/>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nl-NL" sz="2000" b="1" dirty="0">
                <a:solidFill>
                  <a:schemeClr val="tx2"/>
                </a:solidFill>
              </a:rPr>
              <a:t>API Management Platform Architecture </a:t>
            </a:r>
          </a:p>
        </p:txBody>
      </p:sp>
      <p:sp>
        <p:nvSpPr>
          <p:cNvPr id="12" name="Rectangle 11">
            <a:extLst>
              <a:ext uri="{FF2B5EF4-FFF2-40B4-BE49-F238E27FC236}">
                <a16:creationId xmlns:a16="http://schemas.microsoft.com/office/drawing/2014/main" id="{094DB1F2-FB66-42AC-A890-CDBDF3B682DE}"/>
              </a:ext>
            </a:extLst>
          </p:cNvPr>
          <p:cNvSpPr/>
          <p:nvPr/>
        </p:nvSpPr>
        <p:spPr>
          <a:xfrm>
            <a:off x="336549" y="1900719"/>
            <a:ext cx="1366463" cy="415076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nl-NL" dirty="0"/>
          </a:p>
        </p:txBody>
      </p:sp>
      <p:sp>
        <p:nvSpPr>
          <p:cNvPr id="14" name="Rectangle: Rounded Corners 13">
            <a:extLst>
              <a:ext uri="{FF2B5EF4-FFF2-40B4-BE49-F238E27FC236}">
                <a16:creationId xmlns:a16="http://schemas.microsoft.com/office/drawing/2014/main" id="{5B121C5D-8647-4781-8CA3-1F3AAD71DC43}"/>
              </a:ext>
            </a:extLst>
          </p:cNvPr>
          <p:cNvSpPr/>
          <p:nvPr/>
        </p:nvSpPr>
        <p:spPr>
          <a:xfrm>
            <a:off x="562580" y="2085653"/>
            <a:ext cx="914400" cy="873304"/>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nl-NL" sz="1400" dirty="0"/>
              <a:t>B2C</a:t>
            </a:r>
            <a:r>
              <a:rPr lang="nl-NL" dirty="0"/>
              <a:t> </a:t>
            </a:r>
          </a:p>
        </p:txBody>
      </p:sp>
      <p:sp>
        <p:nvSpPr>
          <p:cNvPr id="15" name="Rectangle: Rounded Corners 14">
            <a:extLst>
              <a:ext uri="{FF2B5EF4-FFF2-40B4-BE49-F238E27FC236}">
                <a16:creationId xmlns:a16="http://schemas.microsoft.com/office/drawing/2014/main" id="{B4ACEF34-FACF-4CD7-9A4B-56B1C01A4267}"/>
              </a:ext>
            </a:extLst>
          </p:cNvPr>
          <p:cNvSpPr/>
          <p:nvPr/>
        </p:nvSpPr>
        <p:spPr>
          <a:xfrm>
            <a:off x="562580" y="3457255"/>
            <a:ext cx="914400" cy="976045"/>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nl-NL" sz="1400" dirty="0"/>
              <a:t>B2B</a:t>
            </a:r>
          </a:p>
        </p:txBody>
      </p:sp>
      <p:sp>
        <p:nvSpPr>
          <p:cNvPr id="16" name="Rectangle: Rounded Corners 15">
            <a:extLst>
              <a:ext uri="{FF2B5EF4-FFF2-40B4-BE49-F238E27FC236}">
                <a16:creationId xmlns:a16="http://schemas.microsoft.com/office/drawing/2014/main" id="{D422EBE9-D29C-467E-A035-64EE06C8E3CE}"/>
              </a:ext>
            </a:extLst>
          </p:cNvPr>
          <p:cNvSpPr/>
          <p:nvPr/>
        </p:nvSpPr>
        <p:spPr>
          <a:xfrm>
            <a:off x="562580" y="4887931"/>
            <a:ext cx="914400" cy="976045"/>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nl-NL" sz="1400" dirty="0"/>
              <a:t>B2E</a:t>
            </a:r>
          </a:p>
        </p:txBody>
      </p:sp>
      <p:sp>
        <p:nvSpPr>
          <p:cNvPr id="17" name="Rectangle: Rounded Corners 16">
            <a:extLst>
              <a:ext uri="{FF2B5EF4-FFF2-40B4-BE49-F238E27FC236}">
                <a16:creationId xmlns:a16="http://schemas.microsoft.com/office/drawing/2014/main" id="{B66EADC4-696F-48E2-AEB4-044BCB6BCCC0}"/>
              </a:ext>
            </a:extLst>
          </p:cNvPr>
          <p:cNvSpPr/>
          <p:nvPr/>
        </p:nvSpPr>
        <p:spPr>
          <a:xfrm>
            <a:off x="3318835" y="1985479"/>
            <a:ext cx="5051461" cy="4065999"/>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nl-NL" sz="1400" dirty="0"/>
              <a:t>APIGEE</a:t>
            </a:r>
          </a:p>
          <a:p>
            <a:pPr algn="ctr"/>
            <a:r>
              <a:rPr lang="nl-NL" sz="1400" dirty="0"/>
              <a:t>API Management Platform </a:t>
            </a:r>
          </a:p>
          <a:p>
            <a:pPr algn="ctr"/>
            <a:r>
              <a:rPr lang="nl-NL" sz="1400" dirty="0"/>
              <a:t>Hybrid Cloud Offering </a:t>
            </a:r>
          </a:p>
        </p:txBody>
      </p:sp>
      <p:sp>
        <p:nvSpPr>
          <p:cNvPr id="18" name="Rectangle 17">
            <a:extLst>
              <a:ext uri="{FF2B5EF4-FFF2-40B4-BE49-F238E27FC236}">
                <a16:creationId xmlns:a16="http://schemas.microsoft.com/office/drawing/2014/main" id="{5BF7F21D-744B-4492-BC91-ABB640461B4F}"/>
              </a:ext>
            </a:extLst>
          </p:cNvPr>
          <p:cNvSpPr/>
          <p:nvPr/>
        </p:nvSpPr>
        <p:spPr>
          <a:xfrm>
            <a:off x="2239766" y="1191802"/>
            <a:ext cx="7387119" cy="626723"/>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nl-NL" sz="1400" dirty="0"/>
              <a:t>Application Lifecycle Management</a:t>
            </a:r>
          </a:p>
          <a:p>
            <a:pPr algn="ctr"/>
            <a:endParaRPr lang="nl-NL" sz="1400" dirty="0"/>
          </a:p>
        </p:txBody>
      </p:sp>
      <p:sp>
        <p:nvSpPr>
          <p:cNvPr id="19" name="Rectangle: Rounded Corners 18">
            <a:extLst>
              <a:ext uri="{FF2B5EF4-FFF2-40B4-BE49-F238E27FC236}">
                <a16:creationId xmlns:a16="http://schemas.microsoft.com/office/drawing/2014/main" id="{99C9D9B8-BFAB-4E80-A29A-12B47515D4FF}"/>
              </a:ext>
            </a:extLst>
          </p:cNvPr>
          <p:cNvSpPr/>
          <p:nvPr/>
        </p:nvSpPr>
        <p:spPr>
          <a:xfrm>
            <a:off x="9007012" y="1985479"/>
            <a:ext cx="2736350" cy="4065999"/>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nl-NL" dirty="0"/>
          </a:p>
        </p:txBody>
      </p:sp>
      <p:sp>
        <p:nvSpPr>
          <p:cNvPr id="20" name="Arrow: Right 19">
            <a:extLst>
              <a:ext uri="{FF2B5EF4-FFF2-40B4-BE49-F238E27FC236}">
                <a16:creationId xmlns:a16="http://schemas.microsoft.com/office/drawing/2014/main" id="{E74E8692-6F38-4D69-AC4F-E194C439D356}"/>
              </a:ext>
            </a:extLst>
          </p:cNvPr>
          <p:cNvSpPr/>
          <p:nvPr/>
        </p:nvSpPr>
        <p:spPr>
          <a:xfrm>
            <a:off x="1819490" y="3814281"/>
            <a:ext cx="1274277" cy="364732"/>
          </a:xfrm>
          <a:prstGeom prs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nl-NL"/>
          </a:p>
        </p:txBody>
      </p:sp>
      <p:sp>
        <p:nvSpPr>
          <p:cNvPr id="21" name="Rectangle 20">
            <a:extLst>
              <a:ext uri="{FF2B5EF4-FFF2-40B4-BE49-F238E27FC236}">
                <a16:creationId xmlns:a16="http://schemas.microsoft.com/office/drawing/2014/main" id="{ADB0CF50-05D2-49B5-8AEC-A7138DA4403F}"/>
              </a:ext>
            </a:extLst>
          </p:cNvPr>
          <p:cNvSpPr/>
          <p:nvPr/>
        </p:nvSpPr>
        <p:spPr>
          <a:xfrm>
            <a:off x="3168790" y="3429000"/>
            <a:ext cx="873303" cy="313363"/>
          </a:xfrm>
          <a:prstGeom prst="rect">
            <a:avLst/>
          </a:prstGeom>
          <a:solidFill>
            <a:schemeClr val="tx2"/>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nl-NL" sz="1400" dirty="0">
                <a:solidFill>
                  <a:schemeClr val="bg1"/>
                </a:solidFill>
              </a:rPr>
              <a:t>API’s</a:t>
            </a:r>
          </a:p>
        </p:txBody>
      </p:sp>
      <p:sp>
        <p:nvSpPr>
          <p:cNvPr id="22" name="Rectangle 21">
            <a:extLst>
              <a:ext uri="{FF2B5EF4-FFF2-40B4-BE49-F238E27FC236}">
                <a16:creationId xmlns:a16="http://schemas.microsoft.com/office/drawing/2014/main" id="{973F888C-E5FB-41CC-8D12-9F8FF83B64C5}"/>
              </a:ext>
            </a:extLst>
          </p:cNvPr>
          <p:cNvSpPr/>
          <p:nvPr/>
        </p:nvSpPr>
        <p:spPr>
          <a:xfrm>
            <a:off x="3168790" y="3839966"/>
            <a:ext cx="873303" cy="313363"/>
          </a:xfrm>
          <a:prstGeom prst="rect">
            <a:avLst/>
          </a:prstGeom>
          <a:solidFill>
            <a:schemeClr val="tx2"/>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nl-NL" sz="1400" dirty="0">
                <a:solidFill>
                  <a:schemeClr val="bg1"/>
                </a:solidFill>
              </a:rPr>
              <a:t>API’s</a:t>
            </a:r>
          </a:p>
        </p:txBody>
      </p:sp>
      <p:sp>
        <p:nvSpPr>
          <p:cNvPr id="23" name="Rectangle 22">
            <a:extLst>
              <a:ext uri="{FF2B5EF4-FFF2-40B4-BE49-F238E27FC236}">
                <a16:creationId xmlns:a16="http://schemas.microsoft.com/office/drawing/2014/main" id="{55F4EE4B-ACB4-4F62-9CA3-7C6593D9C3D0}"/>
              </a:ext>
            </a:extLst>
          </p:cNvPr>
          <p:cNvSpPr/>
          <p:nvPr/>
        </p:nvSpPr>
        <p:spPr>
          <a:xfrm>
            <a:off x="3168790" y="4250932"/>
            <a:ext cx="873303" cy="313363"/>
          </a:xfrm>
          <a:prstGeom prst="rect">
            <a:avLst/>
          </a:prstGeom>
          <a:solidFill>
            <a:schemeClr val="tx2"/>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nl-NL" sz="1400" dirty="0">
                <a:solidFill>
                  <a:schemeClr val="bg1"/>
                </a:solidFill>
              </a:rPr>
              <a:t>API’s</a:t>
            </a:r>
          </a:p>
        </p:txBody>
      </p:sp>
      <p:sp>
        <p:nvSpPr>
          <p:cNvPr id="24" name="Rectangle 23">
            <a:extLst>
              <a:ext uri="{FF2B5EF4-FFF2-40B4-BE49-F238E27FC236}">
                <a16:creationId xmlns:a16="http://schemas.microsoft.com/office/drawing/2014/main" id="{795CC98F-CF6A-4F28-B356-61A15ADCCCEA}"/>
              </a:ext>
            </a:extLst>
          </p:cNvPr>
          <p:cNvSpPr/>
          <p:nvPr/>
        </p:nvSpPr>
        <p:spPr>
          <a:xfrm>
            <a:off x="3955551" y="2342508"/>
            <a:ext cx="1623316" cy="372867"/>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nl-NL" sz="1400" dirty="0"/>
              <a:t>Analytics</a:t>
            </a:r>
          </a:p>
        </p:txBody>
      </p:sp>
      <p:sp>
        <p:nvSpPr>
          <p:cNvPr id="25" name="Rectangle 24">
            <a:extLst>
              <a:ext uri="{FF2B5EF4-FFF2-40B4-BE49-F238E27FC236}">
                <a16:creationId xmlns:a16="http://schemas.microsoft.com/office/drawing/2014/main" id="{EE35D599-C2F1-4656-9F85-19C79E8D5CF2}"/>
              </a:ext>
            </a:extLst>
          </p:cNvPr>
          <p:cNvSpPr/>
          <p:nvPr/>
        </p:nvSpPr>
        <p:spPr>
          <a:xfrm>
            <a:off x="5748250" y="2330304"/>
            <a:ext cx="1770577" cy="372867"/>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nl-NL" sz="1400" dirty="0"/>
              <a:t>Monetization</a:t>
            </a:r>
          </a:p>
        </p:txBody>
      </p:sp>
      <p:sp>
        <p:nvSpPr>
          <p:cNvPr id="26" name="Rectangle 25">
            <a:extLst>
              <a:ext uri="{FF2B5EF4-FFF2-40B4-BE49-F238E27FC236}">
                <a16:creationId xmlns:a16="http://schemas.microsoft.com/office/drawing/2014/main" id="{26ADC6AD-5EC7-4824-8E72-85247B3F9D99}"/>
              </a:ext>
            </a:extLst>
          </p:cNvPr>
          <p:cNvSpPr/>
          <p:nvPr/>
        </p:nvSpPr>
        <p:spPr>
          <a:xfrm>
            <a:off x="4015803" y="2956282"/>
            <a:ext cx="3464893" cy="362593"/>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nl-NL" sz="1400" dirty="0"/>
              <a:t>API Security</a:t>
            </a:r>
          </a:p>
        </p:txBody>
      </p:sp>
      <p:sp>
        <p:nvSpPr>
          <p:cNvPr id="27" name="Rectangle 26">
            <a:extLst>
              <a:ext uri="{FF2B5EF4-FFF2-40B4-BE49-F238E27FC236}">
                <a16:creationId xmlns:a16="http://schemas.microsoft.com/office/drawing/2014/main" id="{D9B9D6E1-FAD6-4AF8-84F8-E033DE72B7F2}"/>
              </a:ext>
            </a:extLst>
          </p:cNvPr>
          <p:cNvSpPr/>
          <p:nvPr/>
        </p:nvSpPr>
        <p:spPr>
          <a:xfrm>
            <a:off x="3959899" y="4901633"/>
            <a:ext cx="3464893" cy="362593"/>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nl-NL" sz="1400" dirty="0"/>
              <a:t>API Products</a:t>
            </a:r>
          </a:p>
        </p:txBody>
      </p:sp>
      <p:sp>
        <p:nvSpPr>
          <p:cNvPr id="28" name="Rectangle: Rounded Corners 27">
            <a:extLst>
              <a:ext uri="{FF2B5EF4-FFF2-40B4-BE49-F238E27FC236}">
                <a16:creationId xmlns:a16="http://schemas.microsoft.com/office/drawing/2014/main" id="{0FB1772D-9FE5-4DB6-97B3-D6CFC3BB4FE6}"/>
              </a:ext>
            </a:extLst>
          </p:cNvPr>
          <p:cNvSpPr/>
          <p:nvPr/>
        </p:nvSpPr>
        <p:spPr>
          <a:xfrm>
            <a:off x="3812355" y="5472969"/>
            <a:ext cx="1935895" cy="831620"/>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nl-NL" sz="1400" dirty="0"/>
              <a:t>Developerportal, Forums,Blogs</a:t>
            </a:r>
          </a:p>
        </p:txBody>
      </p:sp>
      <p:sp>
        <p:nvSpPr>
          <p:cNvPr id="29" name="Rectangle: Rounded Corners 28">
            <a:extLst>
              <a:ext uri="{FF2B5EF4-FFF2-40B4-BE49-F238E27FC236}">
                <a16:creationId xmlns:a16="http://schemas.microsoft.com/office/drawing/2014/main" id="{5257AB13-5852-4CE1-8FA1-58C9C3AC7F42}"/>
              </a:ext>
            </a:extLst>
          </p:cNvPr>
          <p:cNvSpPr/>
          <p:nvPr/>
        </p:nvSpPr>
        <p:spPr>
          <a:xfrm>
            <a:off x="5891159" y="5472969"/>
            <a:ext cx="1845282" cy="831620"/>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nl-NL" sz="1400" dirty="0"/>
              <a:t>API Mangement Portal, Monitoring </a:t>
            </a:r>
          </a:p>
        </p:txBody>
      </p:sp>
      <p:sp>
        <p:nvSpPr>
          <p:cNvPr id="30" name="TextBox 29">
            <a:extLst>
              <a:ext uri="{FF2B5EF4-FFF2-40B4-BE49-F238E27FC236}">
                <a16:creationId xmlns:a16="http://schemas.microsoft.com/office/drawing/2014/main" id="{ABA62253-91D6-4DDF-B64C-C4CA17FDD863}"/>
              </a:ext>
            </a:extLst>
          </p:cNvPr>
          <p:cNvSpPr txBox="1"/>
          <p:nvPr/>
        </p:nvSpPr>
        <p:spPr>
          <a:xfrm>
            <a:off x="336549" y="6180445"/>
            <a:ext cx="1845282" cy="369332"/>
          </a:xfrm>
          <a:prstGeom prst="rect">
            <a:avLst/>
          </a:prstGeom>
          <a:noFill/>
        </p:spPr>
        <p:txBody>
          <a:bodyPr wrap="square" rtlCol="0">
            <a:spAutoFit/>
          </a:bodyPr>
          <a:lstStyle/>
          <a:p>
            <a:r>
              <a:rPr lang="nl-NL" sz="1400" dirty="0"/>
              <a:t>Applications</a:t>
            </a:r>
            <a:r>
              <a:rPr lang="nl-NL" dirty="0"/>
              <a:t> </a:t>
            </a:r>
          </a:p>
        </p:txBody>
      </p:sp>
      <p:sp>
        <p:nvSpPr>
          <p:cNvPr id="31" name="TextBox 30">
            <a:extLst>
              <a:ext uri="{FF2B5EF4-FFF2-40B4-BE49-F238E27FC236}">
                <a16:creationId xmlns:a16="http://schemas.microsoft.com/office/drawing/2014/main" id="{0416D1B9-3522-439E-A459-87FB6999EF88}"/>
              </a:ext>
            </a:extLst>
          </p:cNvPr>
          <p:cNvSpPr txBox="1"/>
          <p:nvPr/>
        </p:nvSpPr>
        <p:spPr>
          <a:xfrm>
            <a:off x="3902967" y="6408507"/>
            <a:ext cx="1845282" cy="369332"/>
          </a:xfrm>
          <a:prstGeom prst="rect">
            <a:avLst/>
          </a:prstGeom>
          <a:noFill/>
        </p:spPr>
        <p:txBody>
          <a:bodyPr wrap="square" rtlCol="0">
            <a:spAutoFit/>
          </a:bodyPr>
          <a:lstStyle/>
          <a:p>
            <a:r>
              <a:rPr lang="nl-NL" sz="1400" dirty="0"/>
              <a:t>Developers</a:t>
            </a:r>
            <a:r>
              <a:rPr lang="nl-NL" dirty="0"/>
              <a:t> </a:t>
            </a:r>
          </a:p>
        </p:txBody>
      </p:sp>
      <p:sp>
        <p:nvSpPr>
          <p:cNvPr id="32" name="TextBox 31">
            <a:extLst>
              <a:ext uri="{FF2B5EF4-FFF2-40B4-BE49-F238E27FC236}">
                <a16:creationId xmlns:a16="http://schemas.microsoft.com/office/drawing/2014/main" id="{56249A6D-C61F-4E23-86A2-750D69A12D81}"/>
              </a:ext>
            </a:extLst>
          </p:cNvPr>
          <p:cNvSpPr txBox="1"/>
          <p:nvPr/>
        </p:nvSpPr>
        <p:spPr>
          <a:xfrm>
            <a:off x="6025045" y="6413222"/>
            <a:ext cx="1853559" cy="307777"/>
          </a:xfrm>
          <a:prstGeom prst="rect">
            <a:avLst/>
          </a:prstGeom>
          <a:noFill/>
        </p:spPr>
        <p:txBody>
          <a:bodyPr wrap="square" rtlCol="0">
            <a:spAutoFit/>
          </a:bodyPr>
          <a:lstStyle/>
          <a:p>
            <a:r>
              <a:rPr lang="nl-NL" sz="1400" dirty="0"/>
              <a:t>Internal users </a:t>
            </a:r>
          </a:p>
        </p:txBody>
      </p:sp>
      <p:sp>
        <p:nvSpPr>
          <p:cNvPr id="33" name="Rectangle: Rounded Corners 32">
            <a:extLst>
              <a:ext uri="{FF2B5EF4-FFF2-40B4-BE49-F238E27FC236}">
                <a16:creationId xmlns:a16="http://schemas.microsoft.com/office/drawing/2014/main" id="{91EB307D-99A5-4491-9D11-7209A3499B0B}"/>
              </a:ext>
            </a:extLst>
          </p:cNvPr>
          <p:cNvSpPr/>
          <p:nvPr/>
        </p:nvSpPr>
        <p:spPr>
          <a:xfrm>
            <a:off x="4806370" y="1539789"/>
            <a:ext cx="793939" cy="246608"/>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nl-NL" sz="1400" dirty="0"/>
              <a:t>Maven</a:t>
            </a:r>
          </a:p>
        </p:txBody>
      </p:sp>
      <p:sp>
        <p:nvSpPr>
          <p:cNvPr id="34" name="Rectangle: Rounded Corners 33">
            <a:extLst>
              <a:ext uri="{FF2B5EF4-FFF2-40B4-BE49-F238E27FC236}">
                <a16:creationId xmlns:a16="http://schemas.microsoft.com/office/drawing/2014/main" id="{C87D8936-FBBA-42C4-803D-84CCE7374BF2}"/>
              </a:ext>
            </a:extLst>
          </p:cNvPr>
          <p:cNvSpPr/>
          <p:nvPr/>
        </p:nvSpPr>
        <p:spPr>
          <a:xfrm>
            <a:off x="5815056" y="1543051"/>
            <a:ext cx="1288644" cy="240084"/>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nl-NL" sz="1400" dirty="0"/>
              <a:t>SonarQube</a:t>
            </a:r>
          </a:p>
        </p:txBody>
      </p:sp>
      <p:sp>
        <p:nvSpPr>
          <p:cNvPr id="35" name="Rectangle: Rounded Corners 34">
            <a:extLst>
              <a:ext uri="{FF2B5EF4-FFF2-40B4-BE49-F238E27FC236}">
                <a16:creationId xmlns:a16="http://schemas.microsoft.com/office/drawing/2014/main" id="{07578C4F-AB96-4EF3-89E4-604778DB4CE8}"/>
              </a:ext>
            </a:extLst>
          </p:cNvPr>
          <p:cNvSpPr/>
          <p:nvPr/>
        </p:nvSpPr>
        <p:spPr>
          <a:xfrm>
            <a:off x="7368218" y="1531504"/>
            <a:ext cx="672209" cy="246607"/>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nl-NL" sz="1400" dirty="0"/>
              <a:t>Junit</a:t>
            </a:r>
          </a:p>
        </p:txBody>
      </p:sp>
      <p:sp>
        <p:nvSpPr>
          <p:cNvPr id="36" name="Rectangle: Rounded Corners 35">
            <a:extLst>
              <a:ext uri="{FF2B5EF4-FFF2-40B4-BE49-F238E27FC236}">
                <a16:creationId xmlns:a16="http://schemas.microsoft.com/office/drawing/2014/main" id="{AD34538F-2095-482F-9657-341EC3CD01A5}"/>
              </a:ext>
            </a:extLst>
          </p:cNvPr>
          <p:cNvSpPr/>
          <p:nvPr/>
        </p:nvSpPr>
        <p:spPr>
          <a:xfrm>
            <a:off x="8166913" y="1539788"/>
            <a:ext cx="876583" cy="23682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nl-NL" sz="1400" dirty="0"/>
              <a:t>Jmeter</a:t>
            </a:r>
          </a:p>
        </p:txBody>
      </p:sp>
      <p:sp>
        <p:nvSpPr>
          <p:cNvPr id="37" name="Rectangle: Rounded Corners 36">
            <a:extLst>
              <a:ext uri="{FF2B5EF4-FFF2-40B4-BE49-F238E27FC236}">
                <a16:creationId xmlns:a16="http://schemas.microsoft.com/office/drawing/2014/main" id="{24FE50B2-325C-49E3-B5B9-961467481B9F}"/>
              </a:ext>
            </a:extLst>
          </p:cNvPr>
          <p:cNvSpPr/>
          <p:nvPr/>
        </p:nvSpPr>
        <p:spPr>
          <a:xfrm>
            <a:off x="3688709" y="1530006"/>
            <a:ext cx="944597" cy="246606"/>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nl-NL" sz="1400" dirty="0"/>
              <a:t>Jenkins</a:t>
            </a:r>
          </a:p>
        </p:txBody>
      </p:sp>
      <p:sp>
        <p:nvSpPr>
          <p:cNvPr id="38" name="Rectangle: Rounded Corners 37">
            <a:extLst>
              <a:ext uri="{FF2B5EF4-FFF2-40B4-BE49-F238E27FC236}">
                <a16:creationId xmlns:a16="http://schemas.microsoft.com/office/drawing/2014/main" id="{ADD20357-8E35-4C22-B8A2-CBE57C069AF5}"/>
              </a:ext>
            </a:extLst>
          </p:cNvPr>
          <p:cNvSpPr/>
          <p:nvPr/>
        </p:nvSpPr>
        <p:spPr>
          <a:xfrm>
            <a:off x="2556714" y="1548304"/>
            <a:ext cx="944597" cy="229579"/>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nl-NL" sz="1400" dirty="0"/>
              <a:t>GIT</a:t>
            </a:r>
          </a:p>
        </p:txBody>
      </p:sp>
      <p:sp>
        <p:nvSpPr>
          <p:cNvPr id="39" name="Rectangle: Rounded Corners 38">
            <a:extLst>
              <a:ext uri="{FF2B5EF4-FFF2-40B4-BE49-F238E27FC236}">
                <a16:creationId xmlns:a16="http://schemas.microsoft.com/office/drawing/2014/main" id="{EC6A83AA-FEA6-4137-B2CB-931D10FA606E}"/>
              </a:ext>
            </a:extLst>
          </p:cNvPr>
          <p:cNvSpPr/>
          <p:nvPr/>
        </p:nvSpPr>
        <p:spPr>
          <a:xfrm>
            <a:off x="9417978" y="2615684"/>
            <a:ext cx="1787703" cy="1026988"/>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nl-NL" sz="1400" dirty="0"/>
              <a:t>APIGEE</a:t>
            </a:r>
          </a:p>
          <a:p>
            <a:pPr algn="ctr"/>
            <a:r>
              <a:rPr lang="nl-NL" sz="1400" dirty="0"/>
              <a:t>Gateway</a:t>
            </a:r>
          </a:p>
          <a:p>
            <a:pPr algn="ctr"/>
            <a:r>
              <a:rPr lang="nl-NL" sz="1400" dirty="0"/>
              <a:t>(api proxy) </a:t>
            </a:r>
          </a:p>
        </p:txBody>
      </p:sp>
      <p:sp>
        <p:nvSpPr>
          <p:cNvPr id="40" name="Rectangle: Rounded Corners 39">
            <a:extLst>
              <a:ext uri="{FF2B5EF4-FFF2-40B4-BE49-F238E27FC236}">
                <a16:creationId xmlns:a16="http://schemas.microsoft.com/office/drawing/2014/main" id="{901C62A4-2DB7-454C-B76D-2D7712634CAB}"/>
              </a:ext>
            </a:extLst>
          </p:cNvPr>
          <p:cNvSpPr/>
          <p:nvPr/>
        </p:nvSpPr>
        <p:spPr>
          <a:xfrm>
            <a:off x="9481335" y="4433300"/>
            <a:ext cx="1787703" cy="1026988"/>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nl-NL" sz="1400" dirty="0"/>
              <a:t>Legacy/backend</a:t>
            </a:r>
          </a:p>
        </p:txBody>
      </p:sp>
      <p:sp>
        <p:nvSpPr>
          <p:cNvPr id="41" name="TextBox 40">
            <a:extLst>
              <a:ext uri="{FF2B5EF4-FFF2-40B4-BE49-F238E27FC236}">
                <a16:creationId xmlns:a16="http://schemas.microsoft.com/office/drawing/2014/main" id="{D9395966-5DC7-4FA8-87A8-CB51C1ED0F70}"/>
              </a:ext>
            </a:extLst>
          </p:cNvPr>
          <p:cNvSpPr txBox="1"/>
          <p:nvPr/>
        </p:nvSpPr>
        <p:spPr>
          <a:xfrm>
            <a:off x="10475795" y="2592264"/>
            <a:ext cx="1267567" cy="276999"/>
          </a:xfrm>
          <a:prstGeom prst="rect">
            <a:avLst/>
          </a:prstGeom>
          <a:noFill/>
        </p:spPr>
        <p:txBody>
          <a:bodyPr wrap="square" rtlCol="0">
            <a:spAutoFit/>
          </a:bodyPr>
          <a:lstStyle/>
          <a:p>
            <a:r>
              <a:rPr lang="nl-NL" sz="1200" dirty="0"/>
              <a:t>Anthos</a:t>
            </a:r>
          </a:p>
        </p:txBody>
      </p:sp>
      <p:cxnSp>
        <p:nvCxnSpPr>
          <p:cNvPr id="42" name="Connector: Elbow 41">
            <a:extLst>
              <a:ext uri="{FF2B5EF4-FFF2-40B4-BE49-F238E27FC236}">
                <a16:creationId xmlns:a16="http://schemas.microsoft.com/office/drawing/2014/main" id="{7419966C-6F10-4462-BC56-FE920C6DC8D6}"/>
              </a:ext>
            </a:extLst>
          </p:cNvPr>
          <p:cNvCxnSpPr>
            <a:cxnSpLocks/>
          </p:cNvCxnSpPr>
          <p:nvPr/>
        </p:nvCxnSpPr>
        <p:spPr>
          <a:xfrm flipV="1">
            <a:off x="7480698" y="3258994"/>
            <a:ext cx="1937280" cy="1780482"/>
          </a:xfrm>
          <a:prstGeom prst="bentConnector3">
            <a:avLst>
              <a:gd name="adj1" fmla="val 61137"/>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896267D7-6B4A-4F95-AE05-14415754E9B4}"/>
              </a:ext>
            </a:extLst>
          </p:cNvPr>
          <p:cNvCxnSpPr>
            <a:cxnSpLocks/>
            <a:endCxn id="40" idx="0"/>
          </p:cNvCxnSpPr>
          <p:nvPr/>
        </p:nvCxnSpPr>
        <p:spPr>
          <a:xfrm>
            <a:off x="10375186" y="3642672"/>
            <a:ext cx="1" cy="7906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FCD53CF6-5146-408E-996F-C84932FB6EFE}"/>
              </a:ext>
            </a:extLst>
          </p:cNvPr>
          <p:cNvSpPr txBox="1"/>
          <p:nvPr/>
        </p:nvSpPr>
        <p:spPr>
          <a:xfrm rot="5400000">
            <a:off x="10044670" y="3963041"/>
            <a:ext cx="935306" cy="246221"/>
          </a:xfrm>
          <a:prstGeom prst="rect">
            <a:avLst/>
          </a:prstGeom>
          <a:noFill/>
        </p:spPr>
        <p:txBody>
          <a:bodyPr wrap="square" rtlCol="0">
            <a:spAutoFit/>
          </a:bodyPr>
          <a:lstStyle/>
          <a:p>
            <a:r>
              <a:rPr lang="nl-NL" sz="1000" dirty="0"/>
              <a:t>http/https</a:t>
            </a:r>
          </a:p>
        </p:txBody>
      </p:sp>
      <p:sp>
        <p:nvSpPr>
          <p:cNvPr id="45" name="TextBox 44">
            <a:extLst>
              <a:ext uri="{FF2B5EF4-FFF2-40B4-BE49-F238E27FC236}">
                <a16:creationId xmlns:a16="http://schemas.microsoft.com/office/drawing/2014/main" id="{49E6CB81-BDE7-4053-BB97-B39BF5A1F402}"/>
              </a:ext>
            </a:extLst>
          </p:cNvPr>
          <p:cNvSpPr txBox="1"/>
          <p:nvPr/>
        </p:nvSpPr>
        <p:spPr>
          <a:xfrm rot="5400000">
            <a:off x="8288857" y="4197807"/>
            <a:ext cx="935306" cy="246221"/>
          </a:xfrm>
          <a:prstGeom prst="rect">
            <a:avLst/>
          </a:prstGeom>
          <a:noFill/>
        </p:spPr>
        <p:txBody>
          <a:bodyPr wrap="square" rtlCol="0">
            <a:spAutoFit/>
          </a:bodyPr>
          <a:lstStyle/>
          <a:p>
            <a:r>
              <a:rPr lang="nl-NL" sz="1000" dirty="0"/>
              <a:t>http/https</a:t>
            </a:r>
          </a:p>
        </p:txBody>
      </p:sp>
    </p:spTree>
    <p:extLst>
      <p:ext uri="{BB962C8B-B14F-4D97-AF65-F5344CB8AC3E}">
        <p14:creationId xmlns:p14="http://schemas.microsoft.com/office/powerpoint/2010/main" val="10147491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DA0D78-E109-411B-8D06-955A79B53110}"/>
              </a:ext>
            </a:extLst>
          </p:cNvPr>
          <p:cNvSpPr>
            <a:spLocks noGrp="1"/>
          </p:cNvSpPr>
          <p:nvPr>
            <p:ph type="title"/>
          </p:nvPr>
        </p:nvSpPr>
        <p:spPr/>
        <p:txBody>
          <a:bodyPr/>
          <a:lstStyle/>
          <a:p>
            <a:r>
              <a:rPr lang="nl-NL" b="1" dirty="0"/>
              <a:t>Introduction</a:t>
            </a:r>
          </a:p>
        </p:txBody>
      </p:sp>
      <p:sp>
        <p:nvSpPr>
          <p:cNvPr id="9" name="Rectangle 8">
            <a:extLst>
              <a:ext uri="{FF2B5EF4-FFF2-40B4-BE49-F238E27FC236}">
                <a16:creationId xmlns:a16="http://schemas.microsoft.com/office/drawing/2014/main" id="{236239FF-A202-4EFE-B9A7-AF792B88A6AA}"/>
              </a:ext>
            </a:extLst>
          </p:cNvPr>
          <p:cNvSpPr/>
          <p:nvPr/>
        </p:nvSpPr>
        <p:spPr>
          <a:xfrm>
            <a:off x="4386846" y="2340819"/>
            <a:ext cx="2945038" cy="523220"/>
          </a:xfrm>
          <a:prstGeom prst="rect">
            <a:avLst/>
          </a:prstGeom>
        </p:spPr>
        <p:txBody>
          <a:bodyPr wrap="none">
            <a:spAutoFit/>
          </a:bodyPr>
          <a:lstStyle/>
          <a:p>
            <a:pPr algn="ctr"/>
            <a:r>
              <a:rPr lang="en-US" sz="2800" b="1" dirty="0">
                <a:solidFill>
                  <a:schemeClr val="tx2">
                    <a:lumMod val="50000"/>
                  </a:schemeClr>
                </a:solidFill>
              </a:rPr>
              <a:t>Kapil Dwivedi</a:t>
            </a:r>
          </a:p>
        </p:txBody>
      </p:sp>
      <p:sp>
        <p:nvSpPr>
          <p:cNvPr id="10" name="Rectangle 9">
            <a:extLst>
              <a:ext uri="{FF2B5EF4-FFF2-40B4-BE49-F238E27FC236}">
                <a16:creationId xmlns:a16="http://schemas.microsoft.com/office/drawing/2014/main" id="{AB9E21A7-D61F-45F2-BEEF-678552C361C2}"/>
              </a:ext>
            </a:extLst>
          </p:cNvPr>
          <p:cNvSpPr/>
          <p:nvPr/>
        </p:nvSpPr>
        <p:spPr>
          <a:xfrm>
            <a:off x="443726" y="4018081"/>
            <a:ext cx="11478720" cy="1200329"/>
          </a:xfrm>
          <a:prstGeom prst="rect">
            <a:avLst/>
          </a:prstGeom>
        </p:spPr>
        <p:txBody>
          <a:bodyPr wrap="none" lIns="91440" tIns="45720" rIns="91440" bIns="45720" anchor="t">
            <a:spAutoFit/>
          </a:bodyPr>
          <a:lstStyle/>
          <a:p>
            <a:pPr algn="ctr"/>
            <a:r>
              <a:rPr lang="en-GB" sz="2400" dirty="0">
                <a:solidFill>
                  <a:schemeClr val="tx2"/>
                </a:solidFill>
                <a:latin typeface="Tw Cen MT" panose="020B0602020104020603" pitchFamily="34" charset="0"/>
              </a:rPr>
              <a:t>Enabling Digital Transformation via adoption of an API First strategy and Ensuring Customer </a:t>
            </a:r>
          </a:p>
          <a:p>
            <a:pPr algn="ctr"/>
            <a:r>
              <a:rPr lang="en-GB" sz="2400" dirty="0">
                <a:solidFill>
                  <a:schemeClr val="tx2"/>
                </a:solidFill>
                <a:latin typeface="Tw Cen MT"/>
              </a:rPr>
              <a:t>success with the API Management Platform like APIGEE and Mashery.</a:t>
            </a:r>
          </a:p>
          <a:p>
            <a:pPr algn="ctr"/>
            <a:r>
              <a:rPr lang="en-GB" sz="2400" dirty="0">
                <a:solidFill>
                  <a:schemeClr val="tx2"/>
                </a:solidFill>
                <a:latin typeface="Tw Cen MT" panose="020B0602020104020603" pitchFamily="34" charset="0"/>
              </a:rPr>
              <a:t> Primary focus on API lifecycle and Designing Integration Solution around it.</a:t>
            </a:r>
            <a:endParaRPr lang="en-US" sz="2400" dirty="0">
              <a:solidFill>
                <a:schemeClr val="tx2"/>
              </a:solidFill>
              <a:latin typeface="Tw Cen MT" panose="020B0602020104020603" pitchFamily="34" charset="0"/>
            </a:endParaRPr>
          </a:p>
        </p:txBody>
      </p:sp>
      <p:sp>
        <p:nvSpPr>
          <p:cNvPr id="11" name="Rectangle 10">
            <a:extLst>
              <a:ext uri="{FF2B5EF4-FFF2-40B4-BE49-F238E27FC236}">
                <a16:creationId xmlns:a16="http://schemas.microsoft.com/office/drawing/2014/main" id="{758FEF88-8847-42DD-BBE6-6E8A16020726}"/>
              </a:ext>
            </a:extLst>
          </p:cNvPr>
          <p:cNvSpPr/>
          <p:nvPr/>
        </p:nvSpPr>
        <p:spPr>
          <a:xfrm>
            <a:off x="3264714" y="3244334"/>
            <a:ext cx="5662576" cy="461665"/>
          </a:xfrm>
          <a:prstGeom prst="rect">
            <a:avLst/>
          </a:prstGeom>
        </p:spPr>
        <p:txBody>
          <a:bodyPr wrap="none">
            <a:spAutoFit/>
          </a:bodyPr>
          <a:lstStyle/>
          <a:p>
            <a:pPr algn="ctr"/>
            <a:r>
              <a:rPr lang="en-US" sz="2400" b="1" dirty="0">
                <a:solidFill>
                  <a:schemeClr val="tx2"/>
                </a:solidFill>
                <a:latin typeface="Tw Cen MT" panose="020B0602020104020603" pitchFamily="34" charset="0"/>
              </a:rPr>
              <a:t>API Management &amp; AWS Solution Architect</a:t>
            </a:r>
          </a:p>
        </p:txBody>
      </p:sp>
      <p:pic>
        <p:nvPicPr>
          <p:cNvPr id="13" name="Picture 12" descr="A picture containing drawing&#10;&#10;Description automatically generated">
            <a:extLst>
              <a:ext uri="{FF2B5EF4-FFF2-40B4-BE49-F238E27FC236}">
                <a16:creationId xmlns:a16="http://schemas.microsoft.com/office/drawing/2014/main" id="{23B75369-012A-4D2C-A75F-F70A47B9DE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69719" y="5736771"/>
            <a:ext cx="722368" cy="576943"/>
          </a:xfrm>
          <a:prstGeom prst="rect">
            <a:avLst/>
          </a:prstGeom>
        </p:spPr>
      </p:pic>
      <p:sp>
        <p:nvSpPr>
          <p:cNvPr id="14" name="Rectangle 13">
            <a:extLst>
              <a:ext uri="{FF2B5EF4-FFF2-40B4-BE49-F238E27FC236}">
                <a16:creationId xmlns:a16="http://schemas.microsoft.com/office/drawing/2014/main" id="{2B797AA9-9D18-493C-BD2E-014727CC3438}"/>
              </a:ext>
            </a:extLst>
          </p:cNvPr>
          <p:cNvSpPr/>
          <p:nvPr/>
        </p:nvSpPr>
        <p:spPr>
          <a:xfrm>
            <a:off x="1992087" y="5819391"/>
            <a:ext cx="5782160" cy="461665"/>
          </a:xfrm>
          <a:prstGeom prst="rect">
            <a:avLst/>
          </a:prstGeom>
        </p:spPr>
        <p:txBody>
          <a:bodyPr wrap="none">
            <a:spAutoFit/>
          </a:bodyPr>
          <a:lstStyle/>
          <a:p>
            <a:r>
              <a:rPr lang="nl-NL" sz="2400" b="1" dirty="0">
                <a:solidFill>
                  <a:schemeClr val="tx2"/>
                </a:solidFill>
                <a:latin typeface="Tw Cen MT" panose="020B0602020104020603" pitchFamily="34" charset="0"/>
              </a:rPr>
              <a:t>https://www.linkedin.com/in/kapildwivedi/</a:t>
            </a:r>
          </a:p>
        </p:txBody>
      </p:sp>
    </p:spTree>
    <p:extLst>
      <p:ext uri="{BB962C8B-B14F-4D97-AF65-F5344CB8AC3E}">
        <p14:creationId xmlns:p14="http://schemas.microsoft.com/office/powerpoint/2010/main" val="21469613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8D80A-6AD3-4800-A2C7-00CACB568182}"/>
              </a:ext>
            </a:extLst>
          </p:cNvPr>
          <p:cNvSpPr>
            <a:spLocks noGrp="1"/>
          </p:cNvSpPr>
          <p:nvPr>
            <p:ph type="title"/>
          </p:nvPr>
        </p:nvSpPr>
        <p:spPr/>
        <p:txBody>
          <a:bodyPr/>
          <a:lstStyle/>
          <a:p>
            <a:r>
              <a:rPr lang="nl-NL" b="1" dirty="0"/>
              <a:t>Agenda</a:t>
            </a:r>
            <a:endParaRPr lang="nl-NL" dirty="0"/>
          </a:p>
        </p:txBody>
      </p:sp>
      <p:sp>
        <p:nvSpPr>
          <p:cNvPr id="3" name="Rectangle 2">
            <a:extLst>
              <a:ext uri="{FF2B5EF4-FFF2-40B4-BE49-F238E27FC236}">
                <a16:creationId xmlns:a16="http://schemas.microsoft.com/office/drawing/2014/main" id="{41C846D7-1C76-4657-AF3A-EAEE565432A9}"/>
              </a:ext>
            </a:extLst>
          </p:cNvPr>
          <p:cNvSpPr/>
          <p:nvPr/>
        </p:nvSpPr>
        <p:spPr>
          <a:xfrm>
            <a:off x="3297873" y="1862574"/>
            <a:ext cx="5971507" cy="369332"/>
          </a:xfrm>
          <a:prstGeom prst="rect">
            <a:avLst/>
          </a:prstGeom>
        </p:spPr>
        <p:txBody>
          <a:bodyPr wrap="none">
            <a:spAutoFit/>
          </a:bodyPr>
          <a:lstStyle/>
          <a:p>
            <a:pPr marL="285750" indent="-285750">
              <a:buFont typeface="Arial" panose="020B0604020202020204" pitchFamily="34" charset="0"/>
              <a:buChar char="•"/>
            </a:pPr>
            <a:r>
              <a:rPr lang="en-US" b="1" dirty="0">
                <a:solidFill>
                  <a:schemeClr val="tx2">
                    <a:lumMod val="50000"/>
                  </a:schemeClr>
                </a:solidFill>
              </a:rPr>
              <a:t>Digital Transformation and Power of API’s</a:t>
            </a:r>
            <a:endParaRPr lang="nl-NL" b="1" dirty="0">
              <a:solidFill>
                <a:schemeClr val="tx2">
                  <a:lumMod val="50000"/>
                </a:schemeClr>
              </a:solidFill>
            </a:endParaRPr>
          </a:p>
        </p:txBody>
      </p:sp>
      <p:sp>
        <p:nvSpPr>
          <p:cNvPr id="4" name="Rectangle 3">
            <a:extLst>
              <a:ext uri="{FF2B5EF4-FFF2-40B4-BE49-F238E27FC236}">
                <a16:creationId xmlns:a16="http://schemas.microsoft.com/office/drawing/2014/main" id="{DEE5B597-6618-4996-BE03-61500D0AE34B}"/>
              </a:ext>
            </a:extLst>
          </p:cNvPr>
          <p:cNvSpPr/>
          <p:nvPr/>
        </p:nvSpPr>
        <p:spPr>
          <a:xfrm>
            <a:off x="3297873" y="2461260"/>
            <a:ext cx="5150769"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en-US" b="1" dirty="0">
                <a:solidFill>
                  <a:schemeClr val="tx2">
                    <a:lumMod val="50000"/>
                  </a:schemeClr>
                </a:solidFill>
              </a:rPr>
              <a:t>API Management Platform - </a:t>
            </a:r>
            <a:r>
              <a:rPr lang="en-GB" b="1" dirty="0">
                <a:solidFill>
                  <a:schemeClr val="tx2">
                    <a:lumMod val="50000"/>
                  </a:schemeClr>
                </a:solidFill>
              </a:rPr>
              <a:t>APIGEE</a:t>
            </a:r>
            <a:endParaRPr lang="en-US" b="1" dirty="0">
              <a:solidFill>
                <a:schemeClr val="accent2"/>
              </a:solidFill>
            </a:endParaRPr>
          </a:p>
        </p:txBody>
      </p:sp>
      <p:sp>
        <p:nvSpPr>
          <p:cNvPr id="5" name="Rectangle 4">
            <a:extLst>
              <a:ext uri="{FF2B5EF4-FFF2-40B4-BE49-F238E27FC236}">
                <a16:creationId xmlns:a16="http://schemas.microsoft.com/office/drawing/2014/main" id="{06A55B2D-7129-413F-AF4B-0A14DC8932E2}"/>
              </a:ext>
            </a:extLst>
          </p:cNvPr>
          <p:cNvSpPr/>
          <p:nvPr/>
        </p:nvSpPr>
        <p:spPr>
          <a:xfrm>
            <a:off x="3320315" y="3208678"/>
            <a:ext cx="4461478"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en-US" b="1" dirty="0">
                <a:solidFill>
                  <a:schemeClr val="tx2">
                    <a:lumMod val="50000"/>
                  </a:schemeClr>
                </a:solidFill>
              </a:rPr>
              <a:t>APIGEE Product and Offerings </a:t>
            </a:r>
            <a:endParaRPr lang="en-US" b="1" dirty="0">
              <a:solidFill>
                <a:schemeClr val="accent2"/>
              </a:solidFill>
            </a:endParaRPr>
          </a:p>
        </p:txBody>
      </p:sp>
      <p:sp>
        <p:nvSpPr>
          <p:cNvPr id="7" name="Rectangle 6">
            <a:extLst>
              <a:ext uri="{FF2B5EF4-FFF2-40B4-BE49-F238E27FC236}">
                <a16:creationId xmlns:a16="http://schemas.microsoft.com/office/drawing/2014/main" id="{5D9D6645-0143-46AB-AA6E-68E7B8903DD3}"/>
              </a:ext>
            </a:extLst>
          </p:cNvPr>
          <p:cNvSpPr/>
          <p:nvPr/>
        </p:nvSpPr>
        <p:spPr>
          <a:xfrm>
            <a:off x="3328929" y="3956096"/>
            <a:ext cx="5832046" cy="369332"/>
          </a:xfrm>
          <a:prstGeom prst="rect">
            <a:avLst/>
          </a:prstGeom>
        </p:spPr>
        <p:txBody>
          <a:bodyPr wrap="none">
            <a:spAutoFit/>
          </a:bodyPr>
          <a:lstStyle/>
          <a:p>
            <a:pPr marL="285750" indent="-285750">
              <a:buFont typeface="Arial" panose="020B0604020202020204" pitchFamily="34" charset="0"/>
              <a:buChar char="•"/>
            </a:pPr>
            <a:r>
              <a:rPr lang="en-US" b="1" dirty="0">
                <a:solidFill>
                  <a:schemeClr val="tx2">
                    <a:lumMod val="50000"/>
                  </a:schemeClr>
                </a:solidFill>
              </a:rPr>
              <a:t>API Components and Deployment Models</a:t>
            </a:r>
            <a:endParaRPr lang="nl-NL" b="1" dirty="0">
              <a:solidFill>
                <a:schemeClr val="tx2">
                  <a:lumMod val="50000"/>
                </a:schemeClr>
              </a:solidFill>
            </a:endParaRPr>
          </a:p>
        </p:txBody>
      </p:sp>
      <p:sp>
        <p:nvSpPr>
          <p:cNvPr id="9" name="Rectangle 8">
            <a:extLst>
              <a:ext uri="{FF2B5EF4-FFF2-40B4-BE49-F238E27FC236}">
                <a16:creationId xmlns:a16="http://schemas.microsoft.com/office/drawing/2014/main" id="{54BD8A21-92E5-494E-8BD9-504385C99B4F}"/>
              </a:ext>
            </a:extLst>
          </p:cNvPr>
          <p:cNvSpPr/>
          <p:nvPr/>
        </p:nvSpPr>
        <p:spPr>
          <a:xfrm>
            <a:off x="3328929" y="4652613"/>
            <a:ext cx="2170787" cy="369332"/>
          </a:xfrm>
          <a:prstGeom prst="rect">
            <a:avLst/>
          </a:prstGeom>
        </p:spPr>
        <p:txBody>
          <a:bodyPr wrap="none">
            <a:spAutoFit/>
          </a:bodyPr>
          <a:lstStyle/>
          <a:p>
            <a:pPr marL="285750" indent="-285750">
              <a:buFont typeface="Arial" panose="020B0604020202020204" pitchFamily="34" charset="0"/>
              <a:buChar char="•"/>
            </a:pPr>
            <a:r>
              <a:rPr lang="en-US" b="1" dirty="0">
                <a:solidFill>
                  <a:schemeClr val="tx2">
                    <a:lumMod val="50000"/>
                  </a:schemeClr>
                </a:solidFill>
              </a:rPr>
              <a:t>API lifecycle </a:t>
            </a:r>
            <a:endParaRPr lang="nl-NL" b="1" dirty="0">
              <a:solidFill>
                <a:schemeClr val="tx2">
                  <a:lumMod val="50000"/>
                </a:schemeClr>
              </a:solidFill>
            </a:endParaRPr>
          </a:p>
        </p:txBody>
      </p:sp>
      <p:sp>
        <p:nvSpPr>
          <p:cNvPr id="10" name="Rectangle 9">
            <a:extLst>
              <a:ext uri="{FF2B5EF4-FFF2-40B4-BE49-F238E27FC236}">
                <a16:creationId xmlns:a16="http://schemas.microsoft.com/office/drawing/2014/main" id="{63009F01-D6E9-4774-8487-27B56211FA84}"/>
              </a:ext>
            </a:extLst>
          </p:cNvPr>
          <p:cNvSpPr/>
          <p:nvPr/>
        </p:nvSpPr>
        <p:spPr>
          <a:xfrm>
            <a:off x="3297873" y="5199992"/>
            <a:ext cx="4044697" cy="369332"/>
          </a:xfrm>
          <a:prstGeom prst="rect">
            <a:avLst/>
          </a:prstGeom>
        </p:spPr>
        <p:txBody>
          <a:bodyPr wrap="none">
            <a:spAutoFit/>
          </a:bodyPr>
          <a:lstStyle/>
          <a:p>
            <a:pPr marL="285750" indent="-285750">
              <a:buFont typeface="Arial" panose="020B0604020202020204" pitchFamily="34" charset="0"/>
              <a:buChar char="•"/>
            </a:pPr>
            <a:r>
              <a:rPr lang="en-US" b="1" dirty="0">
                <a:solidFill>
                  <a:schemeClr val="tx2">
                    <a:lumMod val="50000"/>
                  </a:schemeClr>
                </a:solidFill>
              </a:rPr>
              <a:t>Demo : </a:t>
            </a:r>
            <a:r>
              <a:rPr lang="nl-NL" b="1" dirty="0">
                <a:solidFill>
                  <a:schemeClr val="tx2">
                    <a:lumMod val="50000"/>
                  </a:schemeClr>
                </a:solidFill>
              </a:rPr>
              <a:t>Real Time Use case </a:t>
            </a:r>
          </a:p>
        </p:txBody>
      </p:sp>
      <p:sp>
        <p:nvSpPr>
          <p:cNvPr id="11" name="Rounded Rectangle 7">
            <a:extLst>
              <a:ext uri="{FF2B5EF4-FFF2-40B4-BE49-F238E27FC236}">
                <a16:creationId xmlns:a16="http://schemas.microsoft.com/office/drawing/2014/main" id="{E008399B-3AAE-41BB-AFD1-E210BCFC9887}"/>
              </a:ext>
            </a:extLst>
          </p:cNvPr>
          <p:cNvSpPr/>
          <p:nvPr/>
        </p:nvSpPr>
        <p:spPr bwMode="auto">
          <a:xfrm>
            <a:off x="2256805" y="4538383"/>
            <a:ext cx="7823200" cy="550155"/>
          </a:xfrm>
          <a:prstGeom prst="roundRect">
            <a:avLst>
              <a:gd name="adj" fmla="val 50000"/>
            </a:avLst>
          </a:prstGeom>
          <a:noFill/>
          <a:ln w="28575" cap="flat" cmpd="sng" algn="ctr">
            <a:solidFill>
              <a:schemeClr val="accent2"/>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algn="ctr" defTabSz="685800" eaLnBrk="0" fontAlgn="base" hangingPunct="0">
              <a:spcBef>
                <a:spcPct val="0"/>
              </a:spcBef>
              <a:spcAft>
                <a:spcPct val="0"/>
              </a:spcAft>
            </a:pPr>
            <a:endParaRPr lang="en-US" sz="1400" b="1" dirty="0">
              <a:cs typeface="Arial" charset="0"/>
            </a:endParaRPr>
          </a:p>
        </p:txBody>
      </p:sp>
    </p:spTree>
    <p:extLst>
      <p:ext uri="{BB962C8B-B14F-4D97-AF65-F5344CB8AC3E}">
        <p14:creationId xmlns:p14="http://schemas.microsoft.com/office/powerpoint/2010/main" val="4102842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549" y="100329"/>
            <a:ext cx="9533377" cy="816259"/>
          </a:xfrm>
        </p:spPr>
        <p:txBody>
          <a:bodyPr/>
          <a:lstStyle/>
          <a:p>
            <a:r>
              <a:rPr lang="en-GB" b="1" dirty="0">
                <a:solidFill>
                  <a:schemeClr val="tx2">
                    <a:lumMod val="50000"/>
                  </a:schemeClr>
                </a:solidFill>
              </a:rPr>
              <a:t>	Real Time Use case  </a:t>
            </a: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rot="5400000">
            <a:off x="3566910" y="2878906"/>
            <a:ext cx="5437352" cy="952937"/>
          </a:xfrm>
        </p:spPr>
      </p:pic>
      <p:sp>
        <p:nvSpPr>
          <p:cNvPr id="18" name="TextBox 17"/>
          <p:cNvSpPr txBox="1"/>
          <p:nvPr/>
        </p:nvSpPr>
        <p:spPr>
          <a:xfrm>
            <a:off x="3330426" y="584083"/>
            <a:ext cx="2474480" cy="369332"/>
          </a:xfrm>
          <a:prstGeom prst="rect">
            <a:avLst/>
          </a:prstGeom>
          <a:noFill/>
        </p:spPr>
        <p:txBody>
          <a:bodyPr wrap="square" rtlCol="0">
            <a:spAutoFit/>
          </a:bodyPr>
          <a:lstStyle/>
          <a:p>
            <a:r>
              <a:rPr lang="en-GB" dirty="0"/>
              <a:t>Developer Portal</a:t>
            </a:r>
          </a:p>
        </p:txBody>
      </p:sp>
      <p:cxnSp>
        <p:nvCxnSpPr>
          <p:cNvPr id="21" name="Straight Arrow Connector 20"/>
          <p:cNvCxnSpPr/>
          <p:nvPr/>
        </p:nvCxnSpPr>
        <p:spPr bwMode="auto">
          <a:xfrm flipV="1">
            <a:off x="1741073" y="3856908"/>
            <a:ext cx="4109264" cy="5018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Elbow Connector 28"/>
          <p:cNvCxnSpPr>
            <a:cxnSpLocks/>
          </p:cNvCxnSpPr>
          <p:nvPr/>
        </p:nvCxnSpPr>
        <p:spPr bwMode="auto">
          <a:xfrm flipV="1">
            <a:off x="1699853" y="1878601"/>
            <a:ext cx="1626362" cy="1286223"/>
          </a:xfrm>
          <a:prstGeom prst="bentConnector3">
            <a:avLst>
              <a:gd name="adj1" fmla="val 50000"/>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TextBox 30"/>
          <p:cNvSpPr txBox="1"/>
          <p:nvPr/>
        </p:nvSpPr>
        <p:spPr>
          <a:xfrm>
            <a:off x="699275" y="762884"/>
            <a:ext cx="2352084" cy="830997"/>
          </a:xfrm>
          <a:prstGeom prst="rect">
            <a:avLst/>
          </a:prstGeom>
          <a:noFill/>
        </p:spPr>
        <p:txBody>
          <a:bodyPr wrap="square" rtlCol="0">
            <a:spAutoFit/>
          </a:bodyPr>
          <a:lstStyle/>
          <a:p>
            <a:r>
              <a:rPr lang="en-GB" sz="1600" dirty="0"/>
              <a:t>Step 5 – </a:t>
            </a:r>
          </a:p>
          <a:p>
            <a:r>
              <a:rPr lang="en-GB" sz="1600" dirty="0"/>
              <a:t>Register an app at developer portal</a:t>
            </a:r>
          </a:p>
        </p:txBody>
      </p:sp>
      <p:sp>
        <p:nvSpPr>
          <p:cNvPr id="52" name="TextBox 51"/>
          <p:cNvSpPr txBox="1"/>
          <p:nvPr/>
        </p:nvSpPr>
        <p:spPr>
          <a:xfrm>
            <a:off x="2403891" y="3206139"/>
            <a:ext cx="3257430" cy="584775"/>
          </a:xfrm>
          <a:prstGeom prst="rect">
            <a:avLst/>
          </a:prstGeom>
          <a:noFill/>
        </p:spPr>
        <p:txBody>
          <a:bodyPr wrap="none" rtlCol="0">
            <a:spAutoFit/>
          </a:bodyPr>
          <a:lstStyle/>
          <a:p>
            <a:r>
              <a:rPr lang="en-GB" sz="1600" dirty="0"/>
              <a:t>Step 6 - Request for weather </a:t>
            </a:r>
          </a:p>
          <a:p>
            <a:r>
              <a:rPr lang="en-GB" sz="1600" dirty="0"/>
              <a:t>data with API key or token  </a:t>
            </a:r>
          </a:p>
        </p:txBody>
      </p:sp>
      <p:sp>
        <p:nvSpPr>
          <p:cNvPr id="58" name="Curved Left Arrow 57"/>
          <p:cNvSpPr/>
          <p:nvPr/>
        </p:nvSpPr>
        <p:spPr bwMode="auto">
          <a:xfrm>
            <a:off x="6563921" y="3245199"/>
            <a:ext cx="916535" cy="1384323"/>
          </a:xfrm>
          <a:prstGeom prst="curvedLeftArrow">
            <a:avLst/>
          </a:prstGeom>
          <a:gradFill>
            <a:gsLst>
              <a:gs pos="0">
                <a:srgbClr val="009286">
                  <a:alpha val="80000"/>
                </a:srgbClr>
              </a:gs>
              <a:gs pos="80000">
                <a:srgbClr val="009286">
                  <a:alpha val="80000"/>
                </a:srgbClr>
              </a:gs>
              <a:gs pos="100000">
                <a:srgbClr val="005E5D">
                  <a:alpha val="80000"/>
                </a:srgbClr>
              </a:gs>
            </a:gsLst>
            <a:lin ang="0" scaled="1"/>
          </a:gra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390616" fontAlgn="base">
              <a:spcBef>
                <a:spcPct val="0"/>
              </a:spcBef>
              <a:spcAft>
                <a:spcPct val="0"/>
              </a:spcAft>
            </a:pPr>
            <a:endParaRPr lang="en-GB" sz="2400">
              <a:latin typeface="Arial" charset="0"/>
              <a:cs typeface="Arial" charset="0"/>
            </a:endParaRPr>
          </a:p>
        </p:txBody>
      </p:sp>
      <p:sp>
        <p:nvSpPr>
          <p:cNvPr id="59" name="TextBox 58"/>
          <p:cNvSpPr txBox="1"/>
          <p:nvPr/>
        </p:nvSpPr>
        <p:spPr>
          <a:xfrm>
            <a:off x="6563921" y="2251006"/>
            <a:ext cx="1966564" cy="646331"/>
          </a:xfrm>
          <a:prstGeom prst="rect">
            <a:avLst/>
          </a:prstGeom>
          <a:noFill/>
        </p:spPr>
        <p:txBody>
          <a:bodyPr wrap="none" rtlCol="0">
            <a:spAutoFit/>
          </a:bodyPr>
          <a:lstStyle/>
          <a:p>
            <a:r>
              <a:rPr lang="en-GB" dirty="0"/>
              <a:t>Step 2 – </a:t>
            </a:r>
          </a:p>
          <a:p>
            <a:r>
              <a:rPr lang="en-GB" dirty="0"/>
              <a:t>Build API Proxy</a:t>
            </a:r>
          </a:p>
        </p:txBody>
      </p:sp>
      <p:pic>
        <p:nvPicPr>
          <p:cNvPr id="4" name="Picture 3">
            <a:extLst>
              <a:ext uri="{FF2B5EF4-FFF2-40B4-BE49-F238E27FC236}">
                <a16:creationId xmlns:a16="http://schemas.microsoft.com/office/drawing/2014/main" id="{3ACD6471-E1F6-4BD3-854E-39DDC6F9DBBC}"/>
              </a:ext>
            </a:extLst>
          </p:cNvPr>
          <p:cNvPicPr>
            <a:picLocks noChangeAspect="1"/>
          </p:cNvPicPr>
          <p:nvPr/>
        </p:nvPicPr>
        <p:blipFill>
          <a:blip r:embed="rId3"/>
          <a:stretch>
            <a:fillRect/>
          </a:stretch>
        </p:blipFill>
        <p:spPr>
          <a:xfrm>
            <a:off x="287524" y="2821686"/>
            <a:ext cx="2101924" cy="2705811"/>
          </a:xfrm>
          <a:prstGeom prst="rect">
            <a:avLst/>
          </a:prstGeom>
        </p:spPr>
      </p:pic>
      <p:pic>
        <p:nvPicPr>
          <p:cNvPr id="12" name="Picture 11">
            <a:extLst>
              <a:ext uri="{FF2B5EF4-FFF2-40B4-BE49-F238E27FC236}">
                <a16:creationId xmlns:a16="http://schemas.microsoft.com/office/drawing/2014/main" id="{7DDF2E88-6E0F-46EB-942A-CB272CBF64BC}"/>
              </a:ext>
            </a:extLst>
          </p:cNvPr>
          <p:cNvPicPr>
            <a:picLocks noChangeAspect="1"/>
          </p:cNvPicPr>
          <p:nvPr/>
        </p:nvPicPr>
        <p:blipFill>
          <a:blip r:embed="rId4"/>
          <a:stretch>
            <a:fillRect/>
          </a:stretch>
        </p:blipFill>
        <p:spPr>
          <a:xfrm>
            <a:off x="3346160" y="953977"/>
            <a:ext cx="2073634" cy="1589910"/>
          </a:xfrm>
          <a:prstGeom prst="rect">
            <a:avLst/>
          </a:prstGeom>
        </p:spPr>
      </p:pic>
      <p:pic>
        <p:nvPicPr>
          <p:cNvPr id="13" name="Picture 12">
            <a:extLst>
              <a:ext uri="{FF2B5EF4-FFF2-40B4-BE49-F238E27FC236}">
                <a16:creationId xmlns:a16="http://schemas.microsoft.com/office/drawing/2014/main" id="{D636A954-7663-40F3-9446-02437B22E8FC}"/>
              </a:ext>
            </a:extLst>
          </p:cNvPr>
          <p:cNvPicPr>
            <a:picLocks noChangeAspect="1"/>
          </p:cNvPicPr>
          <p:nvPr/>
        </p:nvPicPr>
        <p:blipFill>
          <a:blip r:embed="rId5"/>
          <a:stretch>
            <a:fillRect/>
          </a:stretch>
        </p:blipFill>
        <p:spPr>
          <a:xfrm>
            <a:off x="8976016" y="1312111"/>
            <a:ext cx="3215984" cy="4297579"/>
          </a:xfrm>
          <a:prstGeom prst="rect">
            <a:avLst/>
          </a:prstGeom>
        </p:spPr>
      </p:pic>
      <p:cxnSp>
        <p:nvCxnSpPr>
          <p:cNvPr id="48" name="Elbow Connector 28">
            <a:extLst>
              <a:ext uri="{FF2B5EF4-FFF2-40B4-BE49-F238E27FC236}">
                <a16:creationId xmlns:a16="http://schemas.microsoft.com/office/drawing/2014/main" id="{A8BEA023-2D96-47B0-BD56-0178ED9A31A5}"/>
              </a:ext>
            </a:extLst>
          </p:cNvPr>
          <p:cNvCxnSpPr>
            <a:cxnSpLocks/>
          </p:cNvCxnSpPr>
          <p:nvPr/>
        </p:nvCxnSpPr>
        <p:spPr bwMode="auto">
          <a:xfrm rot="16200000" flipV="1">
            <a:off x="5450295" y="1410749"/>
            <a:ext cx="739907" cy="800910"/>
          </a:xfrm>
          <a:prstGeom prst="bentConnector2">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4" name="TextBox 63">
            <a:extLst>
              <a:ext uri="{FF2B5EF4-FFF2-40B4-BE49-F238E27FC236}">
                <a16:creationId xmlns:a16="http://schemas.microsoft.com/office/drawing/2014/main" id="{FA205FD2-1A55-44C3-9BF3-0A2AAB2AD98A}"/>
              </a:ext>
            </a:extLst>
          </p:cNvPr>
          <p:cNvSpPr txBox="1"/>
          <p:nvPr/>
        </p:nvSpPr>
        <p:spPr>
          <a:xfrm>
            <a:off x="5419793" y="724041"/>
            <a:ext cx="3466845" cy="369332"/>
          </a:xfrm>
          <a:prstGeom prst="rect">
            <a:avLst/>
          </a:prstGeom>
          <a:noFill/>
        </p:spPr>
        <p:txBody>
          <a:bodyPr wrap="square" rtlCol="0">
            <a:spAutoFit/>
          </a:bodyPr>
          <a:lstStyle/>
          <a:p>
            <a:r>
              <a:rPr lang="en-GB" dirty="0"/>
              <a:t>Step 3 -  Create API Product</a:t>
            </a:r>
          </a:p>
        </p:txBody>
      </p:sp>
      <p:sp>
        <p:nvSpPr>
          <p:cNvPr id="67" name="TextBox 66">
            <a:extLst>
              <a:ext uri="{FF2B5EF4-FFF2-40B4-BE49-F238E27FC236}">
                <a16:creationId xmlns:a16="http://schemas.microsoft.com/office/drawing/2014/main" id="{957207E8-39EF-43FE-95C7-0CC49639A5A9}"/>
              </a:ext>
            </a:extLst>
          </p:cNvPr>
          <p:cNvSpPr txBox="1"/>
          <p:nvPr/>
        </p:nvSpPr>
        <p:spPr>
          <a:xfrm>
            <a:off x="6680540" y="3546080"/>
            <a:ext cx="2187112" cy="584775"/>
          </a:xfrm>
          <a:prstGeom prst="rect">
            <a:avLst/>
          </a:prstGeom>
          <a:noFill/>
        </p:spPr>
        <p:txBody>
          <a:bodyPr wrap="square" rtlCol="0">
            <a:spAutoFit/>
          </a:bodyPr>
          <a:lstStyle/>
          <a:p>
            <a:r>
              <a:rPr lang="en-GB" sz="1600" dirty="0"/>
              <a:t>Validate the request </a:t>
            </a:r>
          </a:p>
        </p:txBody>
      </p:sp>
      <p:cxnSp>
        <p:nvCxnSpPr>
          <p:cNvPr id="68" name="Straight Arrow Connector 67">
            <a:extLst>
              <a:ext uri="{FF2B5EF4-FFF2-40B4-BE49-F238E27FC236}">
                <a16:creationId xmlns:a16="http://schemas.microsoft.com/office/drawing/2014/main" id="{D54CAE86-AA34-4A48-B4F1-BBA690EA18A5}"/>
              </a:ext>
            </a:extLst>
          </p:cNvPr>
          <p:cNvCxnSpPr/>
          <p:nvPr/>
        </p:nvCxnSpPr>
        <p:spPr bwMode="auto">
          <a:xfrm>
            <a:off x="8001000" y="3790914"/>
            <a:ext cx="975016" cy="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1" name="Straight Arrow Connector 70">
            <a:extLst>
              <a:ext uri="{FF2B5EF4-FFF2-40B4-BE49-F238E27FC236}">
                <a16:creationId xmlns:a16="http://schemas.microsoft.com/office/drawing/2014/main" id="{7429E9B2-A81A-4A1B-B844-2380D2AE4C75}"/>
              </a:ext>
            </a:extLst>
          </p:cNvPr>
          <p:cNvCxnSpPr/>
          <p:nvPr/>
        </p:nvCxnSpPr>
        <p:spPr bwMode="auto">
          <a:xfrm flipH="1" flipV="1">
            <a:off x="2389450" y="5212198"/>
            <a:ext cx="6563941" cy="1042"/>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8" name="TextBox 77">
            <a:extLst>
              <a:ext uri="{FF2B5EF4-FFF2-40B4-BE49-F238E27FC236}">
                <a16:creationId xmlns:a16="http://schemas.microsoft.com/office/drawing/2014/main" id="{72A67C31-4B8F-476F-A7C1-C840D4B8BA6B}"/>
              </a:ext>
            </a:extLst>
          </p:cNvPr>
          <p:cNvSpPr txBox="1"/>
          <p:nvPr/>
        </p:nvSpPr>
        <p:spPr>
          <a:xfrm>
            <a:off x="6698757" y="4609085"/>
            <a:ext cx="3189386" cy="584775"/>
          </a:xfrm>
          <a:prstGeom prst="rect">
            <a:avLst/>
          </a:prstGeom>
          <a:noFill/>
        </p:spPr>
        <p:txBody>
          <a:bodyPr wrap="square" rtlCol="0">
            <a:spAutoFit/>
          </a:bodyPr>
          <a:lstStyle/>
          <a:p>
            <a:r>
              <a:rPr lang="en-GB" sz="1600" dirty="0"/>
              <a:t>Transformation if </a:t>
            </a:r>
          </a:p>
          <a:p>
            <a:r>
              <a:rPr lang="en-GB" sz="1600" dirty="0"/>
              <a:t>required</a:t>
            </a:r>
          </a:p>
        </p:txBody>
      </p:sp>
      <p:pic>
        <p:nvPicPr>
          <p:cNvPr id="8" name="Picture 7" descr="A picture containing drawing&#10;&#10;Description automatically generated">
            <a:extLst>
              <a:ext uri="{FF2B5EF4-FFF2-40B4-BE49-F238E27FC236}">
                <a16:creationId xmlns:a16="http://schemas.microsoft.com/office/drawing/2014/main" id="{E1827FD2-E3EA-498B-B7A1-82230BF3E2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5400000">
            <a:off x="4533426" y="3466816"/>
            <a:ext cx="3333750" cy="780184"/>
          </a:xfrm>
          <a:prstGeom prst="rect">
            <a:avLst/>
          </a:prstGeom>
        </p:spPr>
      </p:pic>
      <p:sp>
        <p:nvSpPr>
          <p:cNvPr id="3" name="TextBox 2">
            <a:extLst>
              <a:ext uri="{FF2B5EF4-FFF2-40B4-BE49-F238E27FC236}">
                <a16:creationId xmlns:a16="http://schemas.microsoft.com/office/drawing/2014/main" id="{C756755D-EA9A-4ABD-9166-26B67E8C3483}"/>
              </a:ext>
            </a:extLst>
          </p:cNvPr>
          <p:cNvSpPr txBox="1"/>
          <p:nvPr/>
        </p:nvSpPr>
        <p:spPr>
          <a:xfrm>
            <a:off x="11247511" y="1379600"/>
            <a:ext cx="944489" cy="369332"/>
          </a:xfrm>
          <a:prstGeom prst="rect">
            <a:avLst/>
          </a:prstGeom>
          <a:noFill/>
        </p:spPr>
        <p:txBody>
          <a:bodyPr wrap="none" rtlCol="0">
            <a:spAutoFit/>
          </a:bodyPr>
          <a:lstStyle/>
          <a:p>
            <a:r>
              <a:rPr lang="nl-NL" dirty="0"/>
              <a:t>Step 1</a:t>
            </a:r>
          </a:p>
        </p:txBody>
      </p:sp>
      <p:sp>
        <p:nvSpPr>
          <p:cNvPr id="11" name="TextBox 10">
            <a:extLst>
              <a:ext uri="{FF2B5EF4-FFF2-40B4-BE49-F238E27FC236}">
                <a16:creationId xmlns:a16="http://schemas.microsoft.com/office/drawing/2014/main" id="{A78FFF76-313D-498E-95B4-B64D97C120CA}"/>
              </a:ext>
            </a:extLst>
          </p:cNvPr>
          <p:cNvSpPr txBox="1"/>
          <p:nvPr/>
        </p:nvSpPr>
        <p:spPr>
          <a:xfrm>
            <a:off x="374841" y="4695176"/>
            <a:ext cx="1752600" cy="584775"/>
          </a:xfrm>
          <a:prstGeom prst="rect">
            <a:avLst/>
          </a:prstGeom>
          <a:noFill/>
        </p:spPr>
        <p:txBody>
          <a:bodyPr wrap="square" rtlCol="0">
            <a:spAutoFit/>
          </a:bodyPr>
          <a:lstStyle/>
          <a:p>
            <a:r>
              <a:rPr lang="nl-NL" sz="1600" dirty="0"/>
              <a:t>Step 4-Mobile Client</a:t>
            </a:r>
          </a:p>
        </p:txBody>
      </p:sp>
      <p:sp>
        <p:nvSpPr>
          <p:cNvPr id="30" name="TextBox 29">
            <a:extLst>
              <a:ext uri="{FF2B5EF4-FFF2-40B4-BE49-F238E27FC236}">
                <a16:creationId xmlns:a16="http://schemas.microsoft.com/office/drawing/2014/main" id="{146D86A0-5CAE-42E7-A8AD-1E750A9A78A9}"/>
              </a:ext>
            </a:extLst>
          </p:cNvPr>
          <p:cNvSpPr txBox="1"/>
          <p:nvPr/>
        </p:nvSpPr>
        <p:spPr>
          <a:xfrm>
            <a:off x="4185839" y="4765568"/>
            <a:ext cx="1361270" cy="338554"/>
          </a:xfrm>
          <a:prstGeom prst="rect">
            <a:avLst/>
          </a:prstGeom>
          <a:noFill/>
        </p:spPr>
        <p:txBody>
          <a:bodyPr wrap="square" rtlCol="0">
            <a:spAutoFit/>
          </a:bodyPr>
          <a:lstStyle/>
          <a:p>
            <a:r>
              <a:rPr lang="en-GB" sz="1600" dirty="0"/>
              <a:t>Logging </a:t>
            </a:r>
          </a:p>
        </p:txBody>
      </p:sp>
      <p:sp>
        <p:nvSpPr>
          <p:cNvPr id="32" name="TextBox 31">
            <a:extLst>
              <a:ext uri="{FF2B5EF4-FFF2-40B4-BE49-F238E27FC236}">
                <a16:creationId xmlns:a16="http://schemas.microsoft.com/office/drawing/2014/main" id="{61827CC9-2000-4F06-AC0B-E43429D69D42}"/>
              </a:ext>
            </a:extLst>
          </p:cNvPr>
          <p:cNvSpPr txBox="1"/>
          <p:nvPr/>
        </p:nvSpPr>
        <p:spPr>
          <a:xfrm>
            <a:off x="5837563" y="5659628"/>
            <a:ext cx="952938" cy="338554"/>
          </a:xfrm>
          <a:prstGeom prst="rect">
            <a:avLst/>
          </a:prstGeom>
          <a:noFill/>
        </p:spPr>
        <p:txBody>
          <a:bodyPr wrap="square" rtlCol="0">
            <a:spAutoFit/>
          </a:bodyPr>
          <a:lstStyle/>
          <a:p>
            <a:r>
              <a:rPr lang="en-GB" sz="1600" dirty="0"/>
              <a:t>Step 7 </a:t>
            </a:r>
          </a:p>
        </p:txBody>
      </p:sp>
    </p:spTree>
    <p:extLst>
      <p:ext uri="{BB962C8B-B14F-4D97-AF65-F5344CB8AC3E}">
        <p14:creationId xmlns:p14="http://schemas.microsoft.com/office/powerpoint/2010/main" val="1424642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500"/>
                                        <p:tgtEl>
                                          <p:spTgt spid="13"/>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down)">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1000"/>
                                        <p:tgtEl>
                                          <p:spTgt spid="8"/>
                                        </p:tgtEl>
                                      </p:cBhvr>
                                    </p:animEffect>
                                    <p:anim calcmode="lin" valueType="num">
                                      <p:cBhvr>
                                        <p:cTn id="16" dur="1000" fill="hold"/>
                                        <p:tgtEl>
                                          <p:spTgt spid="8"/>
                                        </p:tgtEl>
                                        <p:attrNameLst>
                                          <p:attrName>ppt_x</p:attrName>
                                        </p:attrNameLst>
                                      </p:cBhvr>
                                      <p:tavLst>
                                        <p:tav tm="0">
                                          <p:val>
                                            <p:strVal val="#ppt_x"/>
                                          </p:val>
                                        </p:tav>
                                        <p:tav tm="100000">
                                          <p:val>
                                            <p:strVal val="#ppt_x"/>
                                          </p:val>
                                        </p:tav>
                                      </p:tavLst>
                                    </p:anim>
                                    <p:anim calcmode="lin" valueType="num">
                                      <p:cBhvr>
                                        <p:cTn id="17" dur="1000" fill="hold"/>
                                        <p:tgtEl>
                                          <p:spTgt spid="8"/>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0"/>
                                  </p:stCondLst>
                                  <p:childTnLst>
                                    <p:set>
                                      <p:cBhvr>
                                        <p:cTn id="19" dur="1" fill="hold">
                                          <p:stCondLst>
                                            <p:cond delay="0"/>
                                          </p:stCondLst>
                                        </p:cTn>
                                        <p:tgtEl>
                                          <p:spTgt spid="59"/>
                                        </p:tgtEl>
                                        <p:attrNameLst>
                                          <p:attrName>style.visibility</p:attrName>
                                        </p:attrNameLst>
                                      </p:cBhvr>
                                      <p:to>
                                        <p:strVal val="visible"/>
                                      </p:to>
                                    </p:set>
                                    <p:animEffect transition="in" filter="fade">
                                      <p:cBhvr>
                                        <p:cTn id="20" dur="1000"/>
                                        <p:tgtEl>
                                          <p:spTgt spid="59"/>
                                        </p:tgtEl>
                                      </p:cBhvr>
                                    </p:animEffect>
                                    <p:anim calcmode="lin" valueType="num">
                                      <p:cBhvr>
                                        <p:cTn id="21" dur="1000" fill="hold"/>
                                        <p:tgtEl>
                                          <p:spTgt spid="59"/>
                                        </p:tgtEl>
                                        <p:attrNameLst>
                                          <p:attrName>ppt_x</p:attrName>
                                        </p:attrNameLst>
                                      </p:cBhvr>
                                      <p:tavLst>
                                        <p:tav tm="0">
                                          <p:val>
                                            <p:strVal val="#ppt_x"/>
                                          </p:val>
                                        </p:tav>
                                        <p:tav tm="100000">
                                          <p:val>
                                            <p:strVal val="#ppt_x"/>
                                          </p:val>
                                        </p:tav>
                                      </p:tavLst>
                                    </p:anim>
                                    <p:anim calcmode="lin" valueType="num">
                                      <p:cBhvr>
                                        <p:cTn id="22" dur="1000" fill="hold"/>
                                        <p:tgtEl>
                                          <p:spTgt spid="59"/>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ppt_x"/>
                                          </p:val>
                                        </p:tav>
                                        <p:tav tm="100000">
                                          <p:val>
                                            <p:strVal val="#ppt_x"/>
                                          </p:val>
                                        </p:tav>
                                      </p:tavLst>
                                    </p:anim>
                                    <p:anim calcmode="lin" valueType="num">
                                      <p:cBhvr additive="base">
                                        <p:cTn id="28" dur="500" fill="hold"/>
                                        <p:tgtEl>
                                          <p:spTgt spid="12"/>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500" fill="hold"/>
                                        <p:tgtEl>
                                          <p:spTgt spid="18"/>
                                        </p:tgtEl>
                                        <p:attrNameLst>
                                          <p:attrName>ppt_x</p:attrName>
                                        </p:attrNameLst>
                                      </p:cBhvr>
                                      <p:tavLst>
                                        <p:tav tm="0">
                                          <p:val>
                                            <p:strVal val="#ppt_x"/>
                                          </p:val>
                                        </p:tav>
                                        <p:tav tm="100000">
                                          <p:val>
                                            <p:strVal val="#ppt_x"/>
                                          </p:val>
                                        </p:tav>
                                      </p:tavLst>
                                    </p:anim>
                                    <p:anim calcmode="lin" valueType="num">
                                      <p:cBhvr additive="base">
                                        <p:cTn id="32" dur="500" fill="hold"/>
                                        <p:tgtEl>
                                          <p:spTgt spid="18"/>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64"/>
                                        </p:tgtEl>
                                        <p:attrNameLst>
                                          <p:attrName>style.visibility</p:attrName>
                                        </p:attrNameLst>
                                      </p:cBhvr>
                                      <p:to>
                                        <p:strVal val="visible"/>
                                      </p:to>
                                    </p:set>
                                    <p:anim calcmode="lin" valueType="num">
                                      <p:cBhvr additive="base">
                                        <p:cTn id="35" dur="500" fill="hold"/>
                                        <p:tgtEl>
                                          <p:spTgt spid="64"/>
                                        </p:tgtEl>
                                        <p:attrNameLst>
                                          <p:attrName>ppt_x</p:attrName>
                                        </p:attrNameLst>
                                      </p:cBhvr>
                                      <p:tavLst>
                                        <p:tav tm="0">
                                          <p:val>
                                            <p:strVal val="#ppt_x"/>
                                          </p:val>
                                        </p:tav>
                                        <p:tav tm="100000">
                                          <p:val>
                                            <p:strVal val="#ppt_x"/>
                                          </p:val>
                                        </p:tav>
                                      </p:tavLst>
                                    </p:anim>
                                    <p:anim calcmode="lin" valueType="num">
                                      <p:cBhvr additive="base">
                                        <p:cTn id="36" dur="500" fill="hold"/>
                                        <p:tgtEl>
                                          <p:spTgt spid="64"/>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48"/>
                                        </p:tgtEl>
                                        <p:attrNameLst>
                                          <p:attrName>style.visibility</p:attrName>
                                        </p:attrNameLst>
                                      </p:cBhvr>
                                      <p:to>
                                        <p:strVal val="visible"/>
                                      </p:to>
                                    </p:set>
                                    <p:anim calcmode="lin" valueType="num">
                                      <p:cBhvr additive="base">
                                        <p:cTn id="39" dur="500" fill="hold"/>
                                        <p:tgtEl>
                                          <p:spTgt spid="48"/>
                                        </p:tgtEl>
                                        <p:attrNameLst>
                                          <p:attrName>ppt_x</p:attrName>
                                        </p:attrNameLst>
                                      </p:cBhvr>
                                      <p:tavLst>
                                        <p:tav tm="0">
                                          <p:val>
                                            <p:strVal val="#ppt_x"/>
                                          </p:val>
                                        </p:tav>
                                        <p:tav tm="100000">
                                          <p:val>
                                            <p:strVal val="#ppt_x"/>
                                          </p:val>
                                        </p:tav>
                                      </p:tavLst>
                                    </p:anim>
                                    <p:anim calcmode="lin" valueType="num">
                                      <p:cBhvr additive="base">
                                        <p:cTn id="40"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nodeType="clickEffect">
                                  <p:stCondLst>
                                    <p:cond delay="0"/>
                                  </p:stCondLst>
                                  <p:childTnLst>
                                    <p:set>
                                      <p:cBhvr>
                                        <p:cTn id="44" dur="1" fill="hold">
                                          <p:stCondLst>
                                            <p:cond delay="0"/>
                                          </p:stCondLst>
                                        </p:cTn>
                                        <p:tgtEl>
                                          <p:spTgt spid="4"/>
                                        </p:tgtEl>
                                        <p:attrNameLst>
                                          <p:attrName>style.visibility</p:attrName>
                                        </p:attrNameLst>
                                      </p:cBhvr>
                                      <p:to>
                                        <p:strVal val="visible"/>
                                      </p:to>
                                    </p:set>
                                    <p:anim calcmode="lin" valueType="num">
                                      <p:cBhvr additive="base">
                                        <p:cTn id="45" dur="500" fill="hold"/>
                                        <p:tgtEl>
                                          <p:spTgt spid="4"/>
                                        </p:tgtEl>
                                        <p:attrNameLst>
                                          <p:attrName>ppt_x</p:attrName>
                                        </p:attrNameLst>
                                      </p:cBhvr>
                                      <p:tavLst>
                                        <p:tav tm="0">
                                          <p:val>
                                            <p:strVal val="#ppt_x"/>
                                          </p:val>
                                        </p:tav>
                                        <p:tav tm="100000">
                                          <p:val>
                                            <p:strVal val="#ppt_x"/>
                                          </p:val>
                                        </p:tav>
                                      </p:tavLst>
                                    </p:anim>
                                    <p:anim calcmode="lin" valueType="num">
                                      <p:cBhvr additive="base">
                                        <p:cTn id="46" dur="500" fill="hold"/>
                                        <p:tgtEl>
                                          <p:spTgt spid="4"/>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11"/>
                                        </p:tgtEl>
                                        <p:attrNameLst>
                                          <p:attrName>style.visibility</p:attrName>
                                        </p:attrNameLst>
                                      </p:cBhvr>
                                      <p:to>
                                        <p:strVal val="visible"/>
                                      </p:to>
                                    </p:set>
                                    <p:anim calcmode="lin" valueType="num">
                                      <p:cBhvr additive="base">
                                        <p:cTn id="49" dur="500" fill="hold"/>
                                        <p:tgtEl>
                                          <p:spTgt spid="11"/>
                                        </p:tgtEl>
                                        <p:attrNameLst>
                                          <p:attrName>ppt_x</p:attrName>
                                        </p:attrNameLst>
                                      </p:cBhvr>
                                      <p:tavLst>
                                        <p:tav tm="0">
                                          <p:val>
                                            <p:strVal val="#ppt_x"/>
                                          </p:val>
                                        </p:tav>
                                        <p:tav tm="100000">
                                          <p:val>
                                            <p:strVal val="#ppt_x"/>
                                          </p:val>
                                        </p:tav>
                                      </p:tavLst>
                                    </p:anim>
                                    <p:anim calcmode="lin" valueType="num">
                                      <p:cBhvr additive="base">
                                        <p:cTn id="50"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29"/>
                                        </p:tgtEl>
                                        <p:attrNameLst>
                                          <p:attrName>style.visibility</p:attrName>
                                        </p:attrNameLst>
                                      </p:cBhvr>
                                      <p:to>
                                        <p:strVal val="visible"/>
                                      </p:to>
                                    </p:set>
                                    <p:anim calcmode="lin" valueType="num">
                                      <p:cBhvr additive="base">
                                        <p:cTn id="55" dur="500" fill="hold"/>
                                        <p:tgtEl>
                                          <p:spTgt spid="29"/>
                                        </p:tgtEl>
                                        <p:attrNameLst>
                                          <p:attrName>ppt_x</p:attrName>
                                        </p:attrNameLst>
                                      </p:cBhvr>
                                      <p:tavLst>
                                        <p:tav tm="0">
                                          <p:val>
                                            <p:strVal val="#ppt_x"/>
                                          </p:val>
                                        </p:tav>
                                        <p:tav tm="100000">
                                          <p:val>
                                            <p:strVal val="#ppt_x"/>
                                          </p:val>
                                        </p:tav>
                                      </p:tavLst>
                                    </p:anim>
                                    <p:anim calcmode="lin" valueType="num">
                                      <p:cBhvr additive="base">
                                        <p:cTn id="56" dur="500" fill="hold"/>
                                        <p:tgtEl>
                                          <p:spTgt spid="29"/>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31"/>
                                        </p:tgtEl>
                                        <p:attrNameLst>
                                          <p:attrName>style.visibility</p:attrName>
                                        </p:attrNameLst>
                                      </p:cBhvr>
                                      <p:to>
                                        <p:strVal val="visible"/>
                                      </p:to>
                                    </p:set>
                                    <p:anim calcmode="lin" valueType="num">
                                      <p:cBhvr additive="base">
                                        <p:cTn id="59" dur="500" fill="hold"/>
                                        <p:tgtEl>
                                          <p:spTgt spid="31"/>
                                        </p:tgtEl>
                                        <p:attrNameLst>
                                          <p:attrName>ppt_x</p:attrName>
                                        </p:attrNameLst>
                                      </p:cBhvr>
                                      <p:tavLst>
                                        <p:tav tm="0">
                                          <p:val>
                                            <p:strVal val="#ppt_x"/>
                                          </p:val>
                                        </p:tav>
                                        <p:tav tm="100000">
                                          <p:val>
                                            <p:strVal val="#ppt_x"/>
                                          </p:val>
                                        </p:tav>
                                      </p:tavLst>
                                    </p:anim>
                                    <p:anim calcmode="lin" valueType="num">
                                      <p:cBhvr additive="base">
                                        <p:cTn id="60"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2" presetClass="entr" presetSubtype="4" fill="hold" nodeType="clickEffect">
                                  <p:stCondLst>
                                    <p:cond delay="0"/>
                                  </p:stCondLst>
                                  <p:childTnLst>
                                    <p:set>
                                      <p:cBhvr>
                                        <p:cTn id="64" dur="1" fill="hold">
                                          <p:stCondLst>
                                            <p:cond delay="0"/>
                                          </p:stCondLst>
                                        </p:cTn>
                                        <p:tgtEl>
                                          <p:spTgt spid="21"/>
                                        </p:tgtEl>
                                        <p:attrNameLst>
                                          <p:attrName>style.visibility</p:attrName>
                                        </p:attrNameLst>
                                      </p:cBhvr>
                                      <p:to>
                                        <p:strVal val="visible"/>
                                      </p:to>
                                    </p:set>
                                    <p:anim calcmode="lin" valueType="num">
                                      <p:cBhvr additive="base">
                                        <p:cTn id="65" dur="500" fill="hold"/>
                                        <p:tgtEl>
                                          <p:spTgt spid="21"/>
                                        </p:tgtEl>
                                        <p:attrNameLst>
                                          <p:attrName>ppt_x</p:attrName>
                                        </p:attrNameLst>
                                      </p:cBhvr>
                                      <p:tavLst>
                                        <p:tav tm="0">
                                          <p:val>
                                            <p:strVal val="#ppt_x"/>
                                          </p:val>
                                        </p:tav>
                                        <p:tav tm="100000">
                                          <p:val>
                                            <p:strVal val="#ppt_x"/>
                                          </p:val>
                                        </p:tav>
                                      </p:tavLst>
                                    </p:anim>
                                    <p:anim calcmode="lin" valueType="num">
                                      <p:cBhvr additive="base">
                                        <p:cTn id="66" dur="500" fill="hold"/>
                                        <p:tgtEl>
                                          <p:spTgt spid="21"/>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52"/>
                                        </p:tgtEl>
                                        <p:attrNameLst>
                                          <p:attrName>style.visibility</p:attrName>
                                        </p:attrNameLst>
                                      </p:cBhvr>
                                      <p:to>
                                        <p:strVal val="visible"/>
                                      </p:to>
                                    </p:set>
                                    <p:anim calcmode="lin" valueType="num">
                                      <p:cBhvr additive="base">
                                        <p:cTn id="69" dur="500" fill="hold"/>
                                        <p:tgtEl>
                                          <p:spTgt spid="52"/>
                                        </p:tgtEl>
                                        <p:attrNameLst>
                                          <p:attrName>ppt_x</p:attrName>
                                        </p:attrNameLst>
                                      </p:cBhvr>
                                      <p:tavLst>
                                        <p:tav tm="0">
                                          <p:val>
                                            <p:strVal val="#ppt_x"/>
                                          </p:val>
                                        </p:tav>
                                        <p:tav tm="100000">
                                          <p:val>
                                            <p:strVal val="#ppt_x"/>
                                          </p:val>
                                        </p:tav>
                                      </p:tavLst>
                                    </p:anim>
                                    <p:anim calcmode="lin" valueType="num">
                                      <p:cBhvr additive="base">
                                        <p:cTn id="70" dur="500" fill="hold"/>
                                        <p:tgtEl>
                                          <p:spTgt spid="52"/>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58"/>
                                        </p:tgtEl>
                                        <p:attrNameLst>
                                          <p:attrName>style.visibility</p:attrName>
                                        </p:attrNameLst>
                                      </p:cBhvr>
                                      <p:to>
                                        <p:strVal val="visible"/>
                                      </p:to>
                                    </p:set>
                                    <p:anim calcmode="lin" valueType="num">
                                      <p:cBhvr additive="base">
                                        <p:cTn id="73" dur="500" fill="hold"/>
                                        <p:tgtEl>
                                          <p:spTgt spid="58"/>
                                        </p:tgtEl>
                                        <p:attrNameLst>
                                          <p:attrName>ppt_x</p:attrName>
                                        </p:attrNameLst>
                                      </p:cBhvr>
                                      <p:tavLst>
                                        <p:tav tm="0">
                                          <p:val>
                                            <p:strVal val="#ppt_x"/>
                                          </p:val>
                                        </p:tav>
                                        <p:tav tm="100000">
                                          <p:val>
                                            <p:strVal val="#ppt_x"/>
                                          </p:val>
                                        </p:tav>
                                      </p:tavLst>
                                    </p:anim>
                                    <p:anim calcmode="lin" valueType="num">
                                      <p:cBhvr additive="base">
                                        <p:cTn id="74" dur="500" fill="hold"/>
                                        <p:tgtEl>
                                          <p:spTgt spid="58"/>
                                        </p:tgtEl>
                                        <p:attrNameLst>
                                          <p:attrName>ppt_y</p:attrName>
                                        </p:attrNameLst>
                                      </p:cBhvr>
                                      <p:tavLst>
                                        <p:tav tm="0">
                                          <p:val>
                                            <p:strVal val="1+#ppt_h/2"/>
                                          </p:val>
                                        </p:tav>
                                        <p:tav tm="100000">
                                          <p:val>
                                            <p:strVal val="#ppt_y"/>
                                          </p:val>
                                        </p:tav>
                                      </p:tavLst>
                                    </p:anim>
                                  </p:childTnLst>
                                </p:cTn>
                              </p:par>
                              <p:par>
                                <p:cTn id="75" presetID="2" presetClass="entr" presetSubtype="4" fill="hold" nodeType="withEffect">
                                  <p:stCondLst>
                                    <p:cond delay="0"/>
                                  </p:stCondLst>
                                  <p:childTnLst>
                                    <p:set>
                                      <p:cBhvr>
                                        <p:cTn id="76" dur="1" fill="hold">
                                          <p:stCondLst>
                                            <p:cond delay="0"/>
                                          </p:stCondLst>
                                        </p:cTn>
                                        <p:tgtEl>
                                          <p:spTgt spid="68"/>
                                        </p:tgtEl>
                                        <p:attrNameLst>
                                          <p:attrName>style.visibility</p:attrName>
                                        </p:attrNameLst>
                                      </p:cBhvr>
                                      <p:to>
                                        <p:strVal val="visible"/>
                                      </p:to>
                                    </p:set>
                                    <p:anim calcmode="lin" valueType="num">
                                      <p:cBhvr additive="base">
                                        <p:cTn id="77" dur="500" fill="hold"/>
                                        <p:tgtEl>
                                          <p:spTgt spid="68"/>
                                        </p:tgtEl>
                                        <p:attrNameLst>
                                          <p:attrName>ppt_x</p:attrName>
                                        </p:attrNameLst>
                                      </p:cBhvr>
                                      <p:tavLst>
                                        <p:tav tm="0">
                                          <p:val>
                                            <p:strVal val="#ppt_x"/>
                                          </p:val>
                                        </p:tav>
                                        <p:tav tm="100000">
                                          <p:val>
                                            <p:strVal val="#ppt_x"/>
                                          </p:val>
                                        </p:tav>
                                      </p:tavLst>
                                    </p:anim>
                                    <p:anim calcmode="lin" valueType="num">
                                      <p:cBhvr additive="base">
                                        <p:cTn id="78" dur="500" fill="hold"/>
                                        <p:tgtEl>
                                          <p:spTgt spid="68"/>
                                        </p:tgtEl>
                                        <p:attrNameLst>
                                          <p:attrName>ppt_y</p:attrName>
                                        </p:attrNameLst>
                                      </p:cBhvr>
                                      <p:tavLst>
                                        <p:tav tm="0">
                                          <p:val>
                                            <p:strVal val="1+#ppt_h/2"/>
                                          </p:val>
                                        </p:tav>
                                        <p:tav tm="100000">
                                          <p:val>
                                            <p:strVal val="#ppt_y"/>
                                          </p:val>
                                        </p:tav>
                                      </p:tavLst>
                                    </p:anim>
                                  </p:childTnLst>
                                </p:cTn>
                              </p:par>
                              <p:par>
                                <p:cTn id="79" presetID="2" presetClass="entr" presetSubtype="4" fill="hold" grpId="0" nodeType="withEffect">
                                  <p:stCondLst>
                                    <p:cond delay="0"/>
                                  </p:stCondLst>
                                  <p:childTnLst>
                                    <p:set>
                                      <p:cBhvr>
                                        <p:cTn id="80" dur="1" fill="hold">
                                          <p:stCondLst>
                                            <p:cond delay="0"/>
                                          </p:stCondLst>
                                        </p:cTn>
                                        <p:tgtEl>
                                          <p:spTgt spid="67"/>
                                        </p:tgtEl>
                                        <p:attrNameLst>
                                          <p:attrName>style.visibility</p:attrName>
                                        </p:attrNameLst>
                                      </p:cBhvr>
                                      <p:to>
                                        <p:strVal val="visible"/>
                                      </p:to>
                                    </p:set>
                                    <p:anim calcmode="lin" valueType="num">
                                      <p:cBhvr additive="base">
                                        <p:cTn id="81" dur="500" fill="hold"/>
                                        <p:tgtEl>
                                          <p:spTgt spid="67"/>
                                        </p:tgtEl>
                                        <p:attrNameLst>
                                          <p:attrName>ppt_x</p:attrName>
                                        </p:attrNameLst>
                                      </p:cBhvr>
                                      <p:tavLst>
                                        <p:tav tm="0">
                                          <p:val>
                                            <p:strVal val="#ppt_x"/>
                                          </p:val>
                                        </p:tav>
                                        <p:tav tm="100000">
                                          <p:val>
                                            <p:strVal val="#ppt_x"/>
                                          </p:val>
                                        </p:tav>
                                      </p:tavLst>
                                    </p:anim>
                                    <p:anim calcmode="lin" valueType="num">
                                      <p:cBhvr additive="base">
                                        <p:cTn id="82" dur="500" fill="hold"/>
                                        <p:tgtEl>
                                          <p:spTgt spid="67"/>
                                        </p:tgtEl>
                                        <p:attrNameLst>
                                          <p:attrName>ppt_y</p:attrName>
                                        </p:attrNameLst>
                                      </p:cBhvr>
                                      <p:tavLst>
                                        <p:tav tm="0">
                                          <p:val>
                                            <p:strVal val="1+#ppt_h/2"/>
                                          </p:val>
                                        </p:tav>
                                        <p:tav tm="100000">
                                          <p:val>
                                            <p:strVal val="#ppt_y"/>
                                          </p:val>
                                        </p:tav>
                                      </p:tavLst>
                                    </p:anim>
                                  </p:childTnLst>
                                </p:cTn>
                              </p:par>
                            </p:childTnLst>
                          </p:cTn>
                        </p:par>
                      </p:childTnLst>
                    </p:cTn>
                  </p:par>
                  <p:par>
                    <p:cTn id="83" fill="hold">
                      <p:stCondLst>
                        <p:cond delay="indefinite"/>
                      </p:stCondLst>
                      <p:childTnLst>
                        <p:par>
                          <p:cTn id="84" fill="hold">
                            <p:stCondLst>
                              <p:cond delay="0"/>
                            </p:stCondLst>
                            <p:childTnLst>
                              <p:par>
                                <p:cTn id="85" presetID="2" presetClass="entr" presetSubtype="4" fill="hold" grpId="0" nodeType="clickEffect">
                                  <p:stCondLst>
                                    <p:cond delay="0"/>
                                  </p:stCondLst>
                                  <p:childTnLst>
                                    <p:set>
                                      <p:cBhvr>
                                        <p:cTn id="86" dur="1" fill="hold">
                                          <p:stCondLst>
                                            <p:cond delay="0"/>
                                          </p:stCondLst>
                                        </p:cTn>
                                        <p:tgtEl>
                                          <p:spTgt spid="78"/>
                                        </p:tgtEl>
                                        <p:attrNameLst>
                                          <p:attrName>style.visibility</p:attrName>
                                        </p:attrNameLst>
                                      </p:cBhvr>
                                      <p:to>
                                        <p:strVal val="visible"/>
                                      </p:to>
                                    </p:set>
                                    <p:anim calcmode="lin" valueType="num">
                                      <p:cBhvr additive="base">
                                        <p:cTn id="87" dur="500" fill="hold"/>
                                        <p:tgtEl>
                                          <p:spTgt spid="78"/>
                                        </p:tgtEl>
                                        <p:attrNameLst>
                                          <p:attrName>ppt_x</p:attrName>
                                        </p:attrNameLst>
                                      </p:cBhvr>
                                      <p:tavLst>
                                        <p:tav tm="0">
                                          <p:val>
                                            <p:strVal val="#ppt_x"/>
                                          </p:val>
                                        </p:tav>
                                        <p:tav tm="100000">
                                          <p:val>
                                            <p:strVal val="#ppt_x"/>
                                          </p:val>
                                        </p:tav>
                                      </p:tavLst>
                                    </p:anim>
                                    <p:anim calcmode="lin" valueType="num">
                                      <p:cBhvr additive="base">
                                        <p:cTn id="88" dur="500" fill="hold"/>
                                        <p:tgtEl>
                                          <p:spTgt spid="78"/>
                                        </p:tgtEl>
                                        <p:attrNameLst>
                                          <p:attrName>ppt_y</p:attrName>
                                        </p:attrNameLst>
                                      </p:cBhvr>
                                      <p:tavLst>
                                        <p:tav tm="0">
                                          <p:val>
                                            <p:strVal val="1+#ppt_h/2"/>
                                          </p:val>
                                        </p:tav>
                                        <p:tav tm="100000">
                                          <p:val>
                                            <p:strVal val="#ppt_y"/>
                                          </p:val>
                                        </p:tav>
                                      </p:tavLst>
                                    </p:anim>
                                  </p:childTnLst>
                                </p:cTn>
                              </p:par>
                              <p:par>
                                <p:cTn id="89" presetID="2" presetClass="entr" presetSubtype="4" fill="hold" nodeType="withEffect">
                                  <p:stCondLst>
                                    <p:cond delay="0"/>
                                  </p:stCondLst>
                                  <p:childTnLst>
                                    <p:set>
                                      <p:cBhvr>
                                        <p:cTn id="90" dur="1" fill="hold">
                                          <p:stCondLst>
                                            <p:cond delay="0"/>
                                          </p:stCondLst>
                                        </p:cTn>
                                        <p:tgtEl>
                                          <p:spTgt spid="71"/>
                                        </p:tgtEl>
                                        <p:attrNameLst>
                                          <p:attrName>style.visibility</p:attrName>
                                        </p:attrNameLst>
                                      </p:cBhvr>
                                      <p:to>
                                        <p:strVal val="visible"/>
                                      </p:to>
                                    </p:set>
                                    <p:anim calcmode="lin" valueType="num">
                                      <p:cBhvr additive="base">
                                        <p:cTn id="91" dur="500" fill="hold"/>
                                        <p:tgtEl>
                                          <p:spTgt spid="71"/>
                                        </p:tgtEl>
                                        <p:attrNameLst>
                                          <p:attrName>ppt_x</p:attrName>
                                        </p:attrNameLst>
                                      </p:cBhvr>
                                      <p:tavLst>
                                        <p:tav tm="0">
                                          <p:val>
                                            <p:strVal val="#ppt_x"/>
                                          </p:val>
                                        </p:tav>
                                        <p:tav tm="100000">
                                          <p:val>
                                            <p:strVal val="#ppt_x"/>
                                          </p:val>
                                        </p:tav>
                                      </p:tavLst>
                                    </p:anim>
                                    <p:anim calcmode="lin" valueType="num">
                                      <p:cBhvr additive="base">
                                        <p:cTn id="92" dur="500" fill="hold"/>
                                        <p:tgtEl>
                                          <p:spTgt spid="71"/>
                                        </p:tgtEl>
                                        <p:attrNameLst>
                                          <p:attrName>ppt_y</p:attrName>
                                        </p:attrNameLst>
                                      </p:cBhvr>
                                      <p:tavLst>
                                        <p:tav tm="0">
                                          <p:val>
                                            <p:strVal val="1+#ppt_h/2"/>
                                          </p:val>
                                        </p:tav>
                                        <p:tav tm="100000">
                                          <p:val>
                                            <p:strVal val="#ppt_y"/>
                                          </p:val>
                                        </p:tav>
                                      </p:tavLst>
                                    </p:anim>
                                  </p:childTnLst>
                                </p:cTn>
                              </p:par>
                              <p:par>
                                <p:cTn id="93" presetID="2" presetClass="entr" presetSubtype="4" fill="hold" grpId="0" nodeType="withEffect">
                                  <p:stCondLst>
                                    <p:cond delay="0"/>
                                  </p:stCondLst>
                                  <p:childTnLst>
                                    <p:set>
                                      <p:cBhvr>
                                        <p:cTn id="94" dur="1" fill="hold">
                                          <p:stCondLst>
                                            <p:cond delay="0"/>
                                          </p:stCondLst>
                                        </p:cTn>
                                        <p:tgtEl>
                                          <p:spTgt spid="30"/>
                                        </p:tgtEl>
                                        <p:attrNameLst>
                                          <p:attrName>style.visibility</p:attrName>
                                        </p:attrNameLst>
                                      </p:cBhvr>
                                      <p:to>
                                        <p:strVal val="visible"/>
                                      </p:to>
                                    </p:set>
                                    <p:anim calcmode="lin" valueType="num">
                                      <p:cBhvr additive="base">
                                        <p:cTn id="95" dur="500" fill="hold"/>
                                        <p:tgtEl>
                                          <p:spTgt spid="30"/>
                                        </p:tgtEl>
                                        <p:attrNameLst>
                                          <p:attrName>ppt_x</p:attrName>
                                        </p:attrNameLst>
                                      </p:cBhvr>
                                      <p:tavLst>
                                        <p:tav tm="0">
                                          <p:val>
                                            <p:strVal val="#ppt_x"/>
                                          </p:val>
                                        </p:tav>
                                        <p:tav tm="100000">
                                          <p:val>
                                            <p:strVal val="#ppt_x"/>
                                          </p:val>
                                        </p:tav>
                                      </p:tavLst>
                                    </p:anim>
                                    <p:anim calcmode="lin" valueType="num">
                                      <p:cBhvr additive="base">
                                        <p:cTn id="96" dur="500" fill="hold"/>
                                        <p:tgtEl>
                                          <p:spTgt spid="30"/>
                                        </p:tgtEl>
                                        <p:attrNameLst>
                                          <p:attrName>ppt_y</p:attrName>
                                        </p:attrNameLst>
                                      </p:cBhvr>
                                      <p:tavLst>
                                        <p:tav tm="0">
                                          <p:val>
                                            <p:strVal val="1+#ppt_h/2"/>
                                          </p:val>
                                        </p:tav>
                                        <p:tav tm="100000">
                                          <p:val>
                                            <p:strVal val="#ppt_y"/>
                                          </p:val>
                                        </p:tav>
                                      </p:tavLst>
                                    </p:anim>
                                  </p:childTnLst>
                                </p:cTn>
                              </p:par>
                              <p:par>
                                <p:cTn id="97" presetID="2" presetClass="entr" presetSubtype="4" fill="hold" grpId="0" nodeType="withEffect">
                                  <p:stCondLst>
                                    <p:cond delay="0"/>
                                  </p:stCondLst>
                                  <p:childTnLst>
                                    <p:set>
                                      <p:cBhvr>
                                        <p:cTn id="98" dur="1" fill="hold">
                                          <p:stCondLst>
                                            <p:cond delay="0"/>
                                          </p:stCondLst>
                                        </p:cTn>
                                        <p:tgtEl>
                                          <p:spTgt spid="32"/>
                                        </p:tgtEl>
                                        <p:attrNameLst>
                                          <p:attrName>style.visibility</p:attrName>
                                        </p:attrNameLst>
                                      </p:cBhvr>
                                      <p:to>
                                        <p:strVal val="visible"/>
                                      </p:to>
                                    </p:set>
                                    <p:anim calcmode="lin" valueType="num">
                                      <p:cBhvr additive="base">
                                        <p:cTn id="99" dur="500" fill="hold"/>
                                        <p:tgtEl>
                                          <p:spTgt spid="32"/>
                                        </p:tgtEl>
                                        <p:attrNameLst>
                                          <p:attrName>ppt_x</p:attrName>
                                        </p:attrNameLst>
                                      </p:cBhvr>
                                      <p:tavLst>
                                        <p:tav tm="0">
                                          <p:val>
                                            <p:strVal val="#ppt_x"/>
                                          </p:val>
                                        </p:tav>
                                        <p:tav tm="100000">
                                          <p:val>
                                            <p:strVal val="#ppt_x"/>
                                          </p:val>
                                        </p:tav>
                                      </p:tavLst>
                                    </p:anim>
                                    <p:anim calcmode="lin" valueType="num">
                                      <p:cBhvr additive="base">
                                        <p:cTn id="100" dur="500" fill="hold"/>
                                        <p:tgtEl>
                                          <p:spTgt spid="3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31" grpId="0"/>
      <p:bldP spid="52" grpId="0"/>
      <p:bldP spid="58" grpId="0" animBg="1"/>
      <p:bldP spid="59" grpId="0"/>
      <p:bldP spid="64" grpId="0"/>
      <p:bldP spid="67" grpId="0"/>
      <p:bldP spid="78" grpId="0"/>
      <p:bldP spid="3" grpId="0"/>
      <p:bldP spid="11" grpId="0"/>
      <p:bldP spid="30" grpId="0"/>
      <p:bldP spid="3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CD0C4D-44DD-42EA-BA35-E069C2E1A6EA}"/>
              </a:ext>
            </a:extLst>
          </p:cNvPr>
          <p:cNvSpPr>
            <a:spLocks noGrp="1"/>
          </p:cNvSpPr>
          <p:nvPr>
            <p:ph type="title"/>
          </p:nvPr>
        </p:nvSpPr>
        <p:spPr>
          <a:xfrm>
            <a:off x="442913" y="-26108"/>
            <a:ext cx="6085087" cy="822960"/>
          </a:xfrm>
        </p:spPr>
        <p:txBody>
          <a:bodyPr/>
          <a:lstStyle/>
          <a:p>
            <a:r>
              <a:rPr lang="nl-NL" b="1" dirty="0"/>
              <a:t>API Life Cycle </a:t>
            </a:r>
          </a:p>
        </p:txBody>
      </p:sp>
      <p:sp>
        <p:nvSpPr>
          <p:cNvPr id="4" name="Rectangle 3">
            <a:extLst>
              <a:ext uri="{FF2B5EF4-FFF2-40B4-BE49-F238E27FC236}">
                <a16:creationId xmlns:a16="http://schemas.microsoft.com/office/drawing/2014/main" id="{A9C4397B-F02D-4CA7-9F4D-CE738403E901}"/>
              </a:ext>
            </a:extLst>
          </p:cNvPr>
          <p:cNvSpPr/>
          <p:nvPr/>
        </p:nvSpPr>
        <p:spPr>
          <a:xfrm>
            <a:off x="2672080" y="1748469"/>
            <a:ext cx="7223760" cy="3879652"/>
          </a:xfrm>
          <a:prstGeom prst="rect">
            <a:avLst/>
          </a:prstGeom>
        </p:spPr>
        <p:txBody>
          <a:bodyPr wrap="square">
            <a:spAutoFit/>
          </a:bodyPr>
          <a:lstStyle/>
          <a:p>
            <a:pPr marL="342900" indent="-342900">
              <a:lnSpc>
                <a:spcPct val="200000"/>
              </a:lnSpc>
              <a:buFont typeface="Arial" panose="020B0604020202020204" pitchFamily="34" charset="0"/>
              <a:buChar char="•"/>
            </a:pPr>
            <a:r>
              <a:rPr lang="nl-NL" b="1" dirty="0"/>
              <a:t>Design</a:t>
            </a:r>
          </a:p>
          <a:p>
            <a:pPr marL="342900" indent="-342900">
              <a:lnSpc>
                <a:spcPct val="200000"/>
              </a:lnSpc>
              <a:buFont typeface="Arial" panose="020B0604020202020204" pitchFamily="34" charset="0"/>
              <a:buChar char="•"/>
            </a:pPr>
            <a:r>
              <a:rPr lang="nl-NL" b="1" dirty="0"/>
              <a:t>Develop </a:t>
            </a:r>
          </a:p>
          <a:p>
            <a:pPr marL="342900" indent="-342900">
              <a:lnSpc>
                <a:spcPct val="200000"/>
              </a:lnSpc>
              <a:buFont typeface="Arial" panose="020B0604020202020204" pitchFamily="34" charset="0"/>
              <a:buChar char="•"/>
            </a:pPr>
            <a:r>
              <a:rPr lang="nl-NL" b="1" dirty="0"/>
              <a:t>Secure</a:t>
            </a:r>
          </a:p>
          <a:p>
            <a:pPr marL="342900" indent="-342900">
              <a:lnSpc>
                <a:spcPct val="200000"/>
              </a:lnSpc>
              <a:buFont typeface="Arial" panose="020B0604020202020204" pitchFamily="34" charset="0"/>
              <a:buChar char="•"/>
            </a:pPr>
            <a:r>
              <a:rPr lang="nl-NL" b="1" dirty="0"/>
              <a:t>Publish</a:t>
            </a:r>
          </a:p>
          <a:p>
            <a:pPr marL="342900" indent="-342900">
              <a:lnSpc>
                <a:spcPct val="200000"/>
              </a:lnSpc>
              <a:buFont typeface="Arial" panose="020B0604020202020204" pitchFamily="34" charset="0"/>
              <a:buChar char="•"/>
            </a:pPr>
            <a:r>
              <a:rPr lang="nl-NL" b="1" dirty="0"/>
              <a:t>Scale </a:t>
            </a:r>
          </a:p>
          <a:p>
            <a:pPr marL="342900" indent="-342900">
              <a:lnSpc>
                <a:spcPct val="200000"/>
              </a:lnSpc>
              <a:buFont typeface="Arial" panose="020B0604020202020204" pitchFamily="34" charset="0"/>
              <a:buChar char="•"/>
            </a:pPr>
            <a:r>
              <a:rPr lang="nl-NL" b="1" dirty="0"/>
              <a:t>Monitoring &amp; Analytics  </a:t>
            </a:r>
          </a:p>
          <a:p>
            <a:pPr marL="342900" indent="-342900">
              <a:lnSpc>
                <a:spcPct val="200000"/>
              </a:lnSpc>
              <a:buFont typeface="Arial" panose="020B0604020202020204" pitchFamily="34" charset="0"/>
              <a:buChar char="•"/>
            </a:pPr>
            <a:r>
              <a:rPr lang="nl-NL" b="1" dirty="0"/>
              <a:t>Monitze</a:t>
            </a:r>
            <a:r>
              <a:rPr lang="nl-NL" dirty="0"/>
              <a:t> </a:t>
            </a:r>
          </a:p>
        </p:txBody>
      </p:sp>
      <p:graphicFrame>
        <p:nvGraphicFramePr>
          <p:cNvPr id="5" name="Diagram 4">
            <a:extLst>
              <a:ext uri="{FF2B5EF4-FFF2-40B4-BE49-F238E27FC236}">
                <a16:creationId xmlns:a16="http://schemas.microsoft.com/office/drawing/2014/main" id="{C2CD3696-5359-42E4-B761-0494E9E27B57}"/>
              </a:ext>
            </a:extLst>
          </p:cNvPr>
          <p:cNvGraphicFramePr/>
          <p:nvPr/>
        </p:nvGraphicFramePr>
        <p:xfrm>
          <a:off x="5044208" y="1664381"/>
          <a:ext cx="6664602" cy="44430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6" name="Group 12">
            <a:extLst>
              <a:ext uri="{FF2B5EF4-FFF2-40B4-BE49-F238E27FC236}">
                <a16:creationId xmlns:a16="http://schemas.microsoft.com/office/drawing/2014/main" id="{588024D2-F0E3-40F9-9F5F-7765BB695C27}"/>
              </a:ext>
            </a:extLst>
          </p:cNvPr>
          <p:cNvGrpSpPr>
            <a:grpSpLocks/>
          </p:cNvGrpSpPr>
          <p:nvPr/>
        </p:nvGrpSpPr>
        <p:grpSpPr bwMode="auto">
          <a:xfrm>
            <a:off x="7459073" y="2896919"/>
            <a:ext cx="1951130" cy="1951130"/>
            <a:chOff x="2772846" y="2535353"/>
            <a:chExt cx="1932122" cy="1932122"/>
          </a:xfrm>
        </p:grpSpPr>
        <p:sp>
          <p:nvSpPr>
            <p:cNvPr id="7" name="Oval 6">
              <a:extLst>
                <a:ext uri="{FF2B5EF4-FFF2-40B4-BE49-F238E27FC236}">
                  <a16:creationId xmlns:a16="http://schemas.microsoft.com/office/drawing/2014/main" id="{AD371673-5E4E-4ACC-B3FF-67F4217B5506}"/>
                </a:ext>
              </a:extLst>
            </p:cNvPr>
            <p:cNvSpPr>
              <a:spLocks noChangeArrowheads="1"/>
            </p:cNvSpPr>
            <p:nvPr/>
          </p:nvSpPr>
          <p:spPr bwMode="auto">
            <a:xfrm>
              <a:off x="2772846" y="2535353"/>
              <a:ext cx="1932122" cy="1932122"/>
            </a:xfrm>
            <a:prstGeom prst="ellipse">
              <a:avLst/>
            </a:prstGeom>
            <a:solidFill>
              <a:srgbClr val="C00000">
                <a:alpha val="10980"/>
              </a:srgbClr>
            </a:solidFill>
            <a:ln w="38100">
              <a:solidFill>
                <a:srgbClr val="FFFFFF"/>
              </a:solidFill>
              <a:round/>
              <a:headEnd/>
              <a:tailEnd/>
            </a:ln>
            <a:effectLst>
              <a:outerShdw blurRad="63500" dist="20000" dir="5400000" rotWithShape="0">
                <a:srgbClr val="000000">
                  <a:alpha val="37999"/>
                </a:srgbClr>
              </a:outerShdw>
            </a:effectLst>
          </p:spPr>
          <p:txBody>
            <a:bodyPr anchor="ctr"/>
            <a:lstStyle>
              <a:lvl1pPr>
                <a:spcAft>
                  <a:spcPts val="600"/>
                </a:spcAft>
                <a:buClr>
                  <a:srgbClr val="ED771A"/>
                </a:buClr>
                <a:buFont typeface="Wingdings" charset="2"/>
                <a:buChar char="§"/>
                <a:defRPr>
                  <a:solidFill>
                    <a:schemeClr val="tx1"/>
                  </a:solidFill>
                  <a:latin typeface="Arial" charset="0"/>
                </a:defRPr>
              </a:lvl1pPr>
              <a:lvl2pPr marL="742950" indent="-285750">
                <a:spcAft>
                  <a:spcPts val="600"/>
                </a:spcAft>
                <a:buClr>
                  <a:srgbClr val="ED771A"/>
                </a:buClr>
                <a:buFont typeface="Arial" charset="0"/>
                <a:buChar char="•"/>
                <a:defRPr sz="1600">
                  <a:solidFill>
                    <a:schemeClr val="tx1"/>
                  </a:solidFill>
                  <a:latin typeface="Arial" charset="0"/>
                </a:defRPr>
              </a:lvl2pPr>
              <a:lvl3pPr marL="1143000" indent="-228600">
                <a:spcAft>
                  <a:spcPts val="600"/>
                </a:spcAft>
                <a:buClr>
                  <a:srgbClr val="ED771A"/>
                </a:buClr>
                <a:buFont typeface="Arial" charset="0"/>
                <a:buChar char="–"/>
                <a:defRPr sz="1400">
                  <a:solidFill>
                    <a:schemeClr val="tx1"/>
                  </a:solidFill>
                  <a:latin typeface="Arial" charset="0"/>
                </a:defRPr>
              </a:lvl3pPr>
              <a:lvl4pPr marL="1600200" indent="-228600">
                <a:buClr>
                  <a:srgbClr val="ED771A"/>
                </a:buClr>
                <a:buFont typeface="Courier New" charset="0"/>
                <a:buChar char="o"/>
                <a:defRPr sz="1200">
                  <a:solidFill>
                    <a:schemeClr val="tx1"/>
                  </a:solidFill>
                  <a:latin typeface="Arial" charset="0"/>
                </a:defRPr>
              </a:lvl4pPr>
              <a:lvl5pPr marL="2057400" indent="-228600">
                <a:buClr>
                  <a:srgbClr val="B1B1B1"/>
                </a:buClr>
                <a:buFont typeface="Arial" charset="0"/>
                <a:buChar char="–"/>
                <a:defRPr sz="1700">
                  <a:solidFill>
                    <a:srgbClr val="494949"/>
                  </a:solidFill>
                  <a:latin typeface="Arial" charset="0"/>
                </a:defRPr>
              </a:lvl5pPr>
              <a:lvl6pPr marL="2514600" indent="-228600" eaLnBrk="0" fontAlgn="base" hangingPunct="0">
                <a:spcBef>
                  <a:spcPct val="0"/>
                </a:spcBef>
                <a:spcAft>
                  <a:spcPct val="0"/>
                </a:spcAft>
                <a:buClr>
                  <a:srgbClr val="B1B1B1"/>
                </a:buClr>
                <a:buFont typeface="Arial" charset="0"/>
                <a:buChar char="–"/>
                <a:defRPr sz="1700">
                  <a:solidFill>
                    <a:srgbClr val="494949"/>
                  </a:solidFill>
                  <a:latin typeface="Arial" charset="0"/>
                </a:defRPr>
              </a:lvl6pPr>
              <a:lvl7pPr marL="2971800" indent="-228600" eaLnBrk="0" fontAlgn="base" hangingPunct="0">
                <a:spcBef>
                  <a:spcPct val="0"/>
                </a:spcBef>
                <a:spcAft>
                  <a:spcPct val="0"/>
                </a:spcAft>
                <a:buClr>
                  <a:srgbClr val="B1B1B1"/>
                </a:buClr>
                <a:buFont typeface="Arial" charset="0"/>
                <a:buChar char="–"/>
                <a:defRPr sz="1700">
                  <a:solidFill>
                    <a:srgbClr val="494949"/>
                  </a:solidFill>
                  <a:latin typeface="Arial" charset="0"/>
                </a:defRPr>
              </a:lvl7pPr>
              <a:lvl8pPr marL="3429000" indent="-228600" eaLnBrk="0" fontAlgn="base" hangingPunct="0">
                <a:spcBef>
                  <a:spcPct val="0"/>
                </a:spcBef>
                <a:spcAft>
                  <a:spcPct val="0"/>
                </a:spcAft>
                <a:buClr>
                  <a:srgbClr val="B1B1B1"/>
                </a:buClr>
                <a:buFont typeface="Arial" charset="0"/>
                <a:buChar char="–"/>
                <a:defRPr sz="1700">
                  <a:solidFill>
                    <a:srgbClr val="494949"/>
                  </a:solidFill>
                  <a:latin typeface="Arial" charset="0"/>
                </a:defRPr>
              </a:lvl8pPr>
              <a:lvl9pPr marL="3886200" indent="-228600" eaLnBrk="0" fontAlgn="base" hangingPunct="0">
                <a:spcBef>
                  <a:spcPct val="0"/>
                </a:spcBef>
                <a:spcAft>
                  <a:spcPct val="0"/>
                </a:spcAft>
                <a:buClr>
                  <a:srgbClr val="B1B1B1"/>
                </a:buClr>
                <a:buFont typeface="Arial" charset="0"/>
                <a:buChar char="–"/>
                <a:defRPr sz="1700">
                  <a:solidFill>
                    <a:srgbClr val="494949"/>
                  </a:solidFill>
                  <a:latin typeface="Arial" charset="0"/>
                </a:defRPr>
              </a:lvl9pPr>
            </a:lstStyle>
            <a:p>
              <a:pPr algn="ctr">
                <a:spcAft>
                  <a:spcPct val="0"/>
                </a:spcAft>
                <a:buClrTx/>
                <a:buNone/>
              </a:pPr>
              <a:endParaRPr lang="en-US" altLang="en-US" b="1">
                <a:solidFill>
                  <a:srgbClr val="FFFFFF"/>
                </a:solidFill>
                <a:latin typeface="Calibri" charset="0"/>
              </a:endParaRPr>
            </a:p>
          </p:txBody>
        </p:sp>
        <p:sp>
          <p:nvSpPr>
            <p:cNvPr id="8" name="TextBox 14">
              <a:extLst>
                <a:ext uri="{FF2B5EF4-FFF2-40B4-BE49-F238E27FC236}">
                  <a16:creationId xmlns:a16="http://schemas.microsoft.com/office/drawing/2014/main" id="{7B2C3C0D-DF14-49BF-99CD-8F6B650AAB4A}"/>
                </a:ext>
              </a:extLst>
            </p:cNvPr>
            <p:cNvSpPr txBox="1">
              <a:spLocks noChangeArrowheads="1"/>
            </p:cNvSpPr>
            <p:nvPr/>
          </p:nvSpPr>
          <p:spPr bwMode="auto">
            <a:xfrm>
              <a:off x="3340604" y="2693224"/>
              <a:ext cx="768295" cy="1828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scene3d>
                <a:camera prst="orthographicFront">
                  <a:rot lat="0" lon="0" rev="0"/>
                </a:camera>
                <a:lightRig rig="threePt" dir="t"/>
              </a:scene3d>
              <a:sp3d/>
            </a:bodyPr>
            <a:lstStyle>
              <a:lvl1pPr>
                <a:spcAft>
                  <a:spcPts val="600"/>
                </a:spcAft>
                <a:buClr>
                  <a:srgbClr val="ED771A"/>
                </a:buClr>
                <a:buFont typeface="Wingdings" charset="2"/>
                <a:buChar char="§"/>
                <a:defRPr>
                  <a:solidFill>
                    <a:schemeClr val="tx1"/>
                  </a:solidFill>
                  <a:latin typeface="Arial" charset="0"/>
                </a:defRPr>
              </a:lvl1pPr>
              <a:lvl2pPr marL="742950" indent="-285750">
                <a:spcAft>
                  <a:spcPts val="600"/>
                </a:spcAft>
                <a:buClr>
                  <a:srgbClr val="ED771A"/>
                </a:buClr>
                <a:buFont typeface="Arial" charset="0"/>
                <a:buChar char="•"/>
                <a:defRPr sz="1600">
                  <a:solidFill>
                    <a:schemeClr val="tx1"/>
                  </a:solidFill>
                  <a:latin typeface="Arial" charset="0"/>
                </a:defRPr>
              </a:lvl2pPr>
              <a:lvl3pPr marL="1143000" indent="-228600">
                <a:spcAft>
                  <a:spcPts val="600"/>
                </a:spcAft>
                <a:buClr>
                  <a:srgbClr val="ED771A"/>
                </a:buClr>
                <a:buFont typeface="Arial" charset="0"/>
                <a:buChar char="–"/>
                <a:defRPr sz="1400">
                  <a:solidFill>
                    <a:schemeClr val="tx1"/>
                  </a:solidFill>
                  <a:latin typeface="Arial" charset="0"/>
                </a:defRPr>
              </a:lvl3pPr>
              <a:lvl4pPr marL="1600200" indent="-228600">
                <a:buClr>
                  <a:srgbClr val="ED771A"/>
                </a:buClr>
                <a:buFont typeface="Courier New" charset="0"/>
                <a:buChar char="o"/>
                <a:defRPr sz="1200">
                  <a:solidFill>
                    <a:schemeClr val="tx1"/>
                  </a:solidFill>
                  <a:latin typeface="Arial" charset="0"/>
                </a:defRPr>
              </a:lvl4pPr>
              <a:lvl5pPr marL="2057400" indent="-228600">
                <a:buClr>
                  <a:srgbClr val="B1B1B1"/>
                </a:buClr>
                <a:buFont typeface="Arial" charset="0"/>
                <a:buChar char="–"/>
                <a:defRPr sz="1700">
                  <a:solidFill>
                    <a:srgbClr val="494949"/>
                  </a:solidFill>
                  <a:latin typeface="Arial" charset="0"/>
                </a:defRPr>
              </a:lvl5pPr>
              <a:lvl6pPr marL="25146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defRPr>
              </a:lvl6pPr>
              <a:lvl7pPr marL="29718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defRPr>
              </a:lvl7pPr>
              <a:lvl8pPr marL="34290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defRPr>
              </a:lvl8pPr>
              <a:lvl9pPr marL="38862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defRPr>
              </a:lvl9pPr>
            </a:lstStyle>
            <a:p>
              <a:pPr algn="ctr" eaLnBrk="1" hangingPunct="1">
                <a:spcAft>
                  <a:spcPct val="0"/>
                </a:spcAft>
                <a:buClr>
                  <a:schemeClr val="tx2"/>
                </a:buClr>
                <a:buFontTx/>
                <a:buNone/>
              </a:pPr>
              <a:r>
                <a:rPr lang="en-US" altLang="en-US" sz="1200" dirty="0">
                  <a:solidFill>
                    <a:srgbClr val="9C1200"/>
                  </a:solidFill>
                </a:rPr>
                <a:t>Community</a:t>
              </a:r>
            </a:p>
          </p:txBody>
        </p:sp>
        <p:sp>
          <p:nvSpPr>
            <p:cNvPr id="9" name="TextBox 15">
              <a:extLst>
                <a:ext uri="{FF2B5EF4-FFF2-40B4-BE49-F238E27FC236}">
                  <a16:creationId xmlns:a16="http://schemas.microsoft.com/office/drawing/2014/main" id="{3DA750AD-8306-4DF5-8C2F-4360F474F445}"/>
                </a:ext>
              </a:extLst>
            </p:cNvPr>
            <p:cNvSpPr txBox="1">
              <a:spLocks noChangeArrowheads="1"/>
            </p:cNvSpPr>
            <p:nvPr/>
          </p:nvSpPr>
          <p:spPr bwMode="auto">
            <a:xfrm>
              <a:off x="3290165" y="4155754"/>
              <a:ext cx="885762" cy="1828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Aft>
                  <a:spcPts val="600"/>
                </a:spcAft>
                <a:buClr>
                  <a:srgbClr val="ED771A"/>
                </a:buClr>
                <a:buFont typeface="Wingdings" charset="2"/>
                <a:buChar char="§"/>
                <a:defRPr>
                  <a:solidFill>
                    <a:schemeClr val="tx1"/>
                  </a:solidFill>
                  <a:latin typeface="Arial" charset="0"/>
                </a:defRPr>
              </a:lvl1pPr>
              <a:lvl2pPr marL="742950" indent="-285750">
                <a:spcAft>
                  <a:spcPts val="600"/>
                </a:spcAft>
                <a:buClr>
                  <a:srgbClr val="ED771A"/>
                </a:buClr>
                <a:buFont typeface="Arial" charset="0"/>
                <a:buChar char="•"/>
                <a:defRPr sz="1600">
                  <a:solidFill>
                    <a:schemeClr val="tx1"/>
                  </a:solidFill>
                  <a:latin typeface="Arial" charset="0"/>
                </a:defRPr>
              </a:lvl2pPr>
              <a:lvl3pPr marL="1143000" indent="-228600">
                <a:spcAft>
                  <a:spcPts val="600"/>
                </a:spcAft>
                <a:buClr>
                  <a:srgbClr val="ED771A"/>
                </a:buClr>
                <a:buFont typeface="Arial" charset="0"/>
                <a:buChar char="–"/>
                <a:defRPr sz="1400">
                  <a:solidFill>
                    <a:schemeClr val="tx1"/>
                  </a:solidFill>
                  <a:latin typeface="Arial" charset="0"/>
                </a:defRPr>
              </a:lvl3pPr>
              <a:lvl4pPr marL="1600200" indent="-228600">
                <a:buClr>
                  <a:srgbClr val="ED771A"/>
                </a:buClr>
                <a:buFont typeface="Courier New" charset="0"/>
                <a:buChar char="o"/>
                <a:defRPr sz="1200">
                  <a:solidFill>
                    <a:schemeClr val="tx1"/>
                  </a:solidFill>
                  <a:latin typeface="Arial" charset="0"/>
                </a:defRPr>
              </a:lvl4pPr>
              <a:lvl5pPr marL="2057400" indent="-228600">
                <a:buClr>
                  <a:srgbClr val="B1B1B1"/>
                </a:buClr>
                <a:buFont typeface="Arial" charset="0"/>
                <a:buChar char="–"/>
                <a:defRPr sz="1700">
                  <a:solidFill>
                    <a:srgbClr val="494949"/>
                  </a:solidFill>
                  <a:latin typeface="Arial" charset="0"/>
                </a:defRPr>
              </a:lvl5pPr>
              <a:lvl6pPr marL="25146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defRPr>
              </a:lvl6pPr>
              <a:lvl7pPr marL="29718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defRPr>
              </a:lvl7pPr>
              <a:lvl8pPr marL="34290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defRPr>
              </a:lvl8pPr>
              <a:lvl9pPr marL="3886200" indent="-228600" defTabSz="957263" eaLnBrk="0" fontAlgn="base" hangingPunct="0">
                <a:spcBef>
                  <a:spcPct val="0"/>
                </a:spcBef>
                <a:spcAft>
                  <a:spcPct val="0"/>
                </a:spcAft>
                <a:buClr>
                  <a:srgbClr val="B1B1B1"/>
                </a:buClr>
                <a:buFont typeface="Arial" charset="0"/>
                <a:buChar char="–"/>
                <a:defRPr sz="1700">
                  <a:solidFill>
                    <a:srgbClr val="494949"/>
                  </a:solidFill>
                  <a:latin typeface="Arial" charset="0"/>
                </a:defRPr>
              </a:lvl9pPr>
            </a:lstStyle>
            <a:p>
              <a:pPr algn="ctr" eaLnBrk="1" hangingPunct="1">
                <a:spcAft>
                  <a:spcPct val="0"/>
                </a:spcAft>
                <a:buClr>
                  <a:schemeClr val="tx2"/>
                </a:buClr>
                <a:buFontTx/>
                <a:buNone/>
              </a:pPr>
              <a:r>
                <a:rPr lang="en-US" altLang="en-US" sz="1200">
                  <a:solidFill>
                    <a:srgbClr val="9C1200"/>
                  </a:solidFill>
                </a:rPr>
                <a:t>Management</a:t>
              </a:r>
            </a:p>
          </p:txBody>
        </p:sp>
      </p:grpSp>
      <p:sp>
        <p:nvSpPr>
          <p:cNvPr id="10" name="Oval 9">
            <a:extLst>
              <a:ext uri="{FF2B5EF4-FFF2-40B4-BE49-F238E27FC236}">
                <a16:creationId xmlns:a16="http://schemas.microsoft.com/office/drawing/2014/main" id="{10A6F8A5-0D85-477B-B7ED-167948D70735}"/>
              </a:ext>
            </a:extLst>
          </p:cNvPr>
          <p:cNvSpPr>
            <a:spLocks noChangeArrowheads="1"/>
          </p:cNvSpPr>
          <p:nvPr/>
        </p:nvSpPr>
        <p:spPr bwMode="auto">
          <a:xfrm>
            <a:off x="7866589" y="3304435"/>
            <a:ext cx="1136101" cy="1136101"/>
          </a:xfrm>
          <a:prstGeom prst="ellipse">
            <a:avLst/>
          </a:prstGeom>
          <a:solidFill>
            <a:srgbClr val="C0504D"/>
          </a:solidFill>
          <a:ln w="38100">
            <a:solidFill>
              <a:srgbClr val="FFFFFF"/>
            </a:solidFill>
            <a:round/>
            <a:headEnd/>
            <a:tailEnd/>
          </a:ln>
          <a:effectLst>
            <a:outerShdw blurRad="63500" dist="20000" dir="5400000" rotWithShape="0">
              <a:srgbClr val="000000">
                <a:alpha val="37999"/>
              </a:srgbClr>
            </a:outerShdw>
          </a:effectLst>
        </p:spPr>
        <p:txBody>
          <a:bodyPr anchor="ctr"/>
          <a:lstStyle/>
          <a:p>
            <a:pPr algn="ctr">
              <a:defRPr/>
            </a:pPr>
            <a:r>
              <a:rPr lang="en-US" b="1" kern="0" dirty="0">
                <a:solidFill>
                  <a:sysClr val="window" lastClr="FFFFFF"/>
                </a:solidFill>
                <a:latin typeface="Calibri"/>
              </a:rPr>
              <a:t>APIs</a:t>
            </a:r>
          </a:p>
        </p:txBody>
      </p:sp>
    </p:spTree>
    <p:extLst>
      <p:ext uri="{BB962C8B-B14F-4D97-AF65-F5344CB8AC3E}">
        <p14:creationId xmlns:p14="http://schemas.microsoft.com/office/powerpoint/2010/main" val="3372496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8D80A-6AD3-4800-A2C7-00CACB568182}"/>
              </a:ext>
            </a:extLst>
          </p:cNvPr>
          <p:cNvSpPr>
            <a:spLocks noGrp="1"/>
          </p:cNvSpPr>
          <p:nvPr>
            <p:ph type="title"/>
          </p:nvPr>
        </p:nvSpPr>
        <p:spPr/>
        <p:txBody>
          <a:bodyPr/>
          <a:lstStyle/>
          <a:p>
            <a:r>
              <a:rPr lang="nl-NL" b="1" dirty="0"/>
              <a:t>Agenda</a:t>
            </a:r>
            <a:endParaRPr lang="nl-NL" dirty="0"/>
          </a:p>
        </p:txBody>
      </p:sp>
      <p:sp>
        <p:nvSpPr>
          <p:cNvPr id="3" name="Rectangle 2">
            <a:extLst>
              <a:ext uri="{FF2B5EF4-FFF2-40B4-BE49-F238E27FC236}">
                <a16:creationId xmlns:a16="http://schemas.microsoft.com/office/drawing/2014/main" id="{41C846D7-1C76-4657-AF3A-EAEE565432A9}"/>
              </a:ext>
            </a:extLst>
          </p:cNvPr>
          <p:cNvSpPr/>
          <p:nvPr/>
        </p:nvSpPr>
        <p:spPr>
          <a:xfrm>
            <a:off x="3297873" y="1862574"/>
            <a:ext cx="1361270" cy="369332"/>
          </a:xfrm>
          <a:prstGeom prst="rect">
            <a:avLst/>
          </a:prstGeom>
        </p:spPr>
        <p:txBody>
          <a:bodyPr wrap="none">
            <a:spAutoFit/>
          </a:bodyPr>
          <a:lstStyle/>
          <a:p>
            <a:pPr marL="285750" indent="-285750">
              <a:buFont typeface="Arial" panose="020B0604020202020204" pitchFamily="34" charset="0"/>
              <a:buChar char="•"/>
            </a:pPr>
            <a:r>
              <a:rPr lang="nl-NL" b="1" dirty="0"/>
              <a:t>Design</a:t>
            </a:r>
            <a:endParaRPr lang="nl-NL" b="1" dirty="0">
              <a:solidFill>
                <a:schemeClr val="tx2">
                  <a:lumMod val="50000"/>
                </a:schemeClr>
              </a:solidFill>
            </a:endParaRPr>
          </a:p>
        </p:txBody>
      </p:sp>
      <p:sp>
        <p:nvSpPr>
          <p:cNvPr id="4" name="Rectangle 3">
            <a:extLst>
              <a:ext uri="{FF2B5EF4-FFF2-40B4-BE49-F238E27FC236}">
                <a16:creationId xmlns:a16="http://schemas.microsoft.com/office/drawing/2014/main" id="{DEE5B597-6618-4996-BE03-61500D0AE34B}"/>
              </a:ext>
            </a:extLst>
          </p:cNvPr>
          <p:cNvSpPr/>
          <p:nvPr/>
        </p:nvSpPr>
        <p:spPr>
          <a:xfrm>
            <a:off x="3297873" y="2461260"/>
            <a:ext cx="1523174"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nl-NL" b="1" dirty="0"/>
              <a:t>Develop</a:t>
            </a:r>
            <a:endParaRPr lang="en-US" b="1" dirty="0">
              <a:solidFill>
                <a:schemeClr val="accent2"/>
              </a:solidFill>
            </a:endParaRPr>
          </a:p>
        </p:txBody>
      </p:sp>
      <p:sp>
        <p:nvSpPr>
          <p:cNvPr id="5" name="Rectangle 4">
            <a:extLst>
              <a:ext uri="{FF2B5EF4-FFF2-40B4-BE49-F238E27FC236}">
                <a16:creationId xmlns:a16="http://schemas.microsoft.com/office/drawing/2014/main" id="{06A55B2D-7129-413F-AF4B-0A14DC8932E2}"/>
              </a:ext>
            </a:extLst>
          </p:cNvPr>
          <p:cNvSpPr/>
          <p:nvPr/>
        </p:nvSpPr>
        <p:spPr>
          <a:xfrm>
            <a:off x="3320315" y="3208678"/>
            <a:ext cx="1361270"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nl-NL" b="1" dirty="0"/>
              <a:t>Secure</a:t>
            </a:r>
            <a:endParaRPr lang="en-US" b="1" dirty="0">
              <a:solidFill>
                <a:schemeClr val="accent2"/>
              </a:solidFill>
            </a:endParaRPr>
          </a:p>
        </p:txBody>
      </p:sp>
      <p:sp>
        <p:nvSpPr>
          <p:cNvPr id="7" name="Rectangle 6">
            <a:extLst>
              <a:ext uri="{FF2B5EF4-FFF2-40B4-BE49-F238E27FC236}">
                <a16:creationId xmlns:a16="http://schemas.microsoft.com/office/drawing/2014/main" id="{5D9D6645-0143-46AB-AA6E-68E7B8903DD3}"/>
              </a:ext>
            </a:extLst>
          </p:cNvPr>
          <p:cNvSpPr/>
          <p:nvPr/>
        </p:nvSpPr>
        <p:spPr>
          <a:xfrm>
            <a:off x="3334743" y="3769763"/>
            <a:ext cx="1486304" cy="555665"/>
          </a:xfrm>
          <a:prstGeom prst="rect">
            <a:avLst/>
          </a:prstGeom>
        </p:spPr>
        <p:txBody>
          <a:bodyPr wrap="none">
            <a:spAutoFit/>
          </a:bodyPr>
          <a:lstStyle/>
          <a:p>
            <a:pPr marL="342900" indent="-342900">
              <a:lnSpc>
                <a:spcPct val="200000"/>
              </a:lnSpc>
              <a:buFont typeface="Arial" panose="020B0604020202020204" pitchFamily="34" charset="0"/>
              <a:buChar char="•"/>
            </a:pPr>
            <a:r>
              <a:rPr lang="nl-NL" b="1" dirty="0"/>
              <a:t>Publish</a:t>
            </a:r>
          </a:p>
        </p:txBody>
      </p:sp>
      <p:sp>
        <p:nvSpPr>
          <p:cNvPr id="8" name="Rectangle 7">
            <a:extLst>
              <a:ext uri="{FF2B5EF4-FFF2-40B4-BE49-F238E27FC236}">
                <a16:creationId xmlns:a16="http://schemas.microsoft.com/office/drawing/2014/main" id="{C9EFACED-7176-4B4F-AC46-AB24219109FB}"/>
              </a:ext>
            </a:extLst>
          </p:cNvPr>
          <p:cNvSpPr/>
          <p:nvPr/>
        </p:nvSpPr>
        <p:spPr>
          <a:xfrm>
            <a:off x="3320315" y="4621056"/>
            <a:ext cx="1159292" cy="369332"/>
          </a:xfrm>
          <a:prstGeom prst="rect">
            <a:avLst/>
          </a:prstGeom>
        </p:spPr>
        <p:txBody>
          <a:bodyPr wrap="none">
            <a:spAutoFit/>
          </a:bodyPr>
          <a:lstStyle/>
          <a:p>
            <a:pPr marL="285750" indent="-285750">
              <a:buFont typeface="Arial" panose="020B0604020202020204" pitchFamily="34" charset="0"/>
              <a:buChar char="•"/>
            </a:pPr>
            <a:r>
              <a:rPr lang="nl-NL" b="1" dirty="0"/>
              <a:t>Scale</a:t>
            </a:r>
            <a:endParaRPr lang="nl-NL" b="1" dirty="0">
              <a:solidFill>
                <a:schemeClr val="accent2"/>
              </a:solidFill>
            </a:endParaRPr>
          </a:p>
        </p:txBody>
      </p:sp>
      <p:sp>
        <p:nvSpPr>
          <p:cNvPr id="9" name="Rectangle 8">
            <a:extLst>
              <a:ext uri="{FF2B5EF4-FFF2-40B4-BE49-F238E27FC236}">
                <a16:creationId xmlns:a16="http://schemas.microsoft.com/office/drawing/2014/main" id="{54BD8A21-92E5-494E-8BD9-504385C99B4F}"/>
              </a:ext>
            </a:extLst>
          </p:cNvPr>
          <p:cNvSpPr/>
          <p:nvPr/>
        </p:nvSpPr>
        <p:spPr>
          <a:xfrm>
            <a:off x="3328929" y="5286016"/>
            <a:ext cx="3498073" cy="369332"/>
          </a:xfrm>
          <a:prstGeom prst="rect">
            <a:avLst/>
          </a:prstGeom>
        </p:spPr>
        <p:txBody>
          <a:bodyPr wrap="none">
            <a:spAutoFit/>
          </a:bodyPr>
          <a:lstStyle/>
          <a:p>
            <a:pPr marL="285750" indent="-285750">
              <a:buFont typeface="Arial" panose="020B0604020202020204" pitchFamily="34" charset="0"/>
              <a:buChar char="•"/>
            </a:pPr>
            <a:r>
              <a:rPr lang="nl-NL" b="1" dirty="0"/>
              <a:t>Monitoring &amp; Analytics </a:t>
            </a:r>
            <a:endParaRPr lang="nl-NL" b="1" dirty="0">
              <a:solidFill>
                <a:schemeClr val="accent2"/>
              </a:solidFill>
            </a:endParaRPr>
          </a:p>
        </p:txBody>
      </p:sp>
      <p:sp>
        <p:nvSpPr>
          <p:cNvPr id="10" name="Rectangle 9">
            <a:extLst>
              <a:ext uri="{FF2B5EF4-FFF2-40B4-BE49-F238E27FC236}">
                <a16:creationId xmlns:a16="http://schemas.microsoft.com/office/drawing/2014/main" id="{63009F01-D6E9-4774-8487-27B56211FA84}"/>
              </a:ext>
            </a:extLst>
          </p:cNvPr>
          <p:cNvSpPr/>
          <p:nvPr/>
        </p:nvSpPr>
        <p:spPr>
          <a:xfrm>
            <a:off x="3320315" y="5664462"/>
            <a:ext cx="1630575" cy="555665"/>
          </a:xfrm>
          <a:prstGeom prst="rect">
            <a:avLst/>
          </a:prstGeom>
        </p:spPr>
        <p:txBody>
          <a:bodyPr wrap="none">
            <a:spAutoFit/>
          </a:bodyPr>
          <a:lstStyle/>
          <a:p>
            <a:pPr marL="342900" indent="-342900">
              <a:lnSpc>
                <a:spcPct val="200000"/>
              </a:lnSpc>
              <a:buFont typeface="Arial" panose="020B0604020202020204" pitchFamily="34" charset="0"/>
              <a:buChar char="•"/>
            </a:pPr>
            <a:r>
              <a:rPr lang="nl-NL" b="1" dirty="0"/>
              <a:t>Monitze</a:t>
            </a:r>
            <a:r>
              <a:rPr lang="nl-NL" dirty="0"/>
              <a:t> </a:t>
            </a:r>
          </a:p>
        </p:txBody>
      </p:sp>
      <p:sp>
        <p:nvSpPr>
          <p:cNvPr id="11" name="Rounded Rectangle 7">
            <a:extLst>
              <a:ext uri="{FF2B5EF4-FFF2-40B4-BE49-F238E27FC236}">
                <a16:creationId xmlns:a16="http://schemas.microsoft.com/office/drawing/2014/main" id="{0DBF98E3-DF59-487A-A44E-90E309995122}"/>
              </a:ext>
            </a:extLst>
          </p:cNvPr>
          <p:cNvSpPr/>
          <p:nvPr/>
        </p:nvSpPr>
        <p:spPr bwMode="auto">
          <a:xfrm>
            <a:off x="2018145" y="1796428"/>
            <a:ext cx="7823200" cy="550155"/>
          </a:xfrm>
          <a:prstGeom prst="roundRect">
            <a:avLst>
              <a:gd name="adj" fmla="val 50000"/>
            </a:avLst>
          </a:prstGeom>
          <a:noFill/>
          <a:ln w="28575" cap="flat" cmpd="sng" algn="ctr">
            <a:solidFill>
              <a:schemeClr val="accent2"/>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algn="ctr" defTabSz="685800" eaLnBrk="0" fontAlgn="base" hangingPunct="0">
              <a:spcBef>
                <a:spcPct val="0"/>
              </a:spcBef>
              <a:spcAft>
                <a:spcPct val="0"/>
              </a:spcAft>
            </a:pPr>
            <a:endParaRPr lang="en-US" sz="1400" b="1" dirty="0">
              <a:cs typeface="Arial" charset="0"/>
            </a:endParaRPr>
          </a:p>
        </p:txBody>
      </p:sp>
    </p:spTree>
    <p:extLst>
      <p:ext uri="{BB962C8B-B14F-4D97-AF65-F5344CB8AC3E}">
        <p14:creationId xmlns:p14="http://schemas.microsoft.com/office/powerpoint/2010/main" val="7971589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02"/>
          <p:cNvSpPr>
            <a:spLocks noGrp="1"/>
          </p:cNvSpPr>
          <p:nvPr>
            <p:ph type="title"/>
          </p:nvPr>
        </p:nvSpPr>
        <p:spPr/>
        <p:txBody>
          <a:bodyPr/>
          <a:lstStyle/>
          <a:p>
            <a:br>
              <a:rPr lang="en-US" dirty="0"/>
            </a:br>
            <a:endParaRPr lang="en-GB" dirty="0"/>
          </a:p>
        </p:txBody>
      </p:sp>
      <p:sp>
        <p:nvSpPr>
          <p:cNvPr id="52" name="Rectangle 51">
            <a:extLst>
              <a:ext uri="{FF2B5EF4-FFF2-40B4-BE49-F238E27FC236}">
                <a16:creationId xmlns:a16="http://schemas.microsoft.com/office/drawing/2014/main" id="{3004B549-EB02-42FD-B432-43F5D9AC551E}"/>
              </a:ext>
            </a:extLst>
          </p:cNvPr>
          <p:cNvSpPr/>
          <p:nvPr/>
        </p:nvSpPr>
        <p:spPr>
          <a:xfrm>
            <a:off x="2689156" y="1871519"/>
            <a:ext cx="2068473" cy="817353"/>
          </a:xfrm>
          <a:prstGeom prst="rect">
            <a:avLst/>
          </a:prstGeom>
          <a:solidFill>
            <a:srgbClr val="3DC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3" name="Rectangle 52">
            <a:extLst>
              <a:ext uri="{FF2B5EF4-FFF2-40B4-BE49-F238E27FC236}">
                <a16:creationId xmlns:a16="http://schemas.microsoft.com/office/drawing/2014/main" id="{86304B18-FE01-4A88-AA17-A2A76AB7E3F6}"/>
              </a:ext>
            </a:extLst>
          </p:cNvPr>
          <p:cNvSpPr/>
          <p:nvPr/>
        </p:nvSpPr>
        <p:spPr>
          <a:xfrm>
            <a:off x="247135"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4" name="Rectangle 53">
            <a:extLst>
              <a:ext uri="{FF2B5EF4-FFF2-40B4-BE49-F238E27FC236}">
                <a16:creationId xmlns:a16="http://schemas.microsoft.com/office/drawing/2014/main" id="{AC8E1C88-76B5-4FBC-8619-E07B3932BC02}"/>
              </a:ext>
            </a:extLst>
          </p:cNvPr>
          <p:cNvSpPr/>
          <p:nvPr/>
        </p:nvSpPr>
        <p:spPr>
          <a:xfrm>
            <a:off x="303853" y="1871519"/>
            <a:ext cx="2068473" cy="817353"/>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grpSp>
        <p:nvGrpSpPr>
          <p:cNvPr id="55" name="Group 23">
            <a:extLst>
              <a:ext uri="{FF2B5EF4-FFF2-40B4-BE49-F238E27FC236}">
                <a16:creationId xmlns:a16="http://schemas.microsoft.com/office/drawing/2014/main" id="{1B58497A-0F7B-4703-85F2-39E02EFE84A4}"/>
              </a:ext>
            </a:extLst>
          </p:cNvPr>
          <p:cNvGrpSpPr/>
          <p:nvPr/>
        </p:nvGrpSpPr>
        <p:grpSpPr>
          <a:xfrm>
            <a:off x="2752796" y="2026889"/>
            <a:ext cx="569860" cy="503634"/>
            <a:chOff x="-3076576" y="4076701"/>
            <a:chExt cx="1465263" cy="1363663"/>
          </a:xfrm>
        </p:grpSpPr>
        <p:sp>
          <p:nvSpPr>
            <p:cNvPr id="98" name="Freeform 5">
              <a:extLst>
                <a:ext uri="{FF2B5EF4-FFF2-40B4-BE49-F238E27FC236}">
                  <a16:creationId xmlns:a16="http://schemas.microsoft.com/office/drawing/2014/main" id="{84D5A19F-B65F-49AC-944B-1A977542973D}"/>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6">
              <a:extLst>
                <a:ext uri="{FF2B5EF4-FFF2-40B4-BE49-F238E27FC236}">
                  <a16:creationId xmlns:a16="http://schemas.microsoft.com/office/drawing/2014/main" id="{BFA6D27A-A35A-4ED5-80F9-60C3296DAC0D}"/>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6" name="Rectangle 55">
            <a:extLst>
              <a:ext uri="{FF2B5EF4-FFF2-40B4-BE49-F238E27FC236}">
                <a16:creationId xmlns:a16="http://schemas.microsoft.com/office/drawing/2014/main" id="{A1809CA5-7D56-407C-9D28-9C025BC3466D}"/>
              </a:ext>
            </a:extLst>
          </p:cNvPr>
          <p:cNvSpPr/>
          <p:nvPr/>
        </p:nvSpPr>
        <p:spPr>
          <a:xfrm>
            <a:off x="2632438"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57" name="Group 9">
            <a:extLst>
              <a:ext uri="{FF2B5EF4-FFF2-40B4-BE49-F238E27FC236}">
                <a16:creationId xmlns:a16="http://schemas.microsoft.com/office/drawing/2014/main" id="{C6611CCA-FE04-4683-AE2D-7BE320258138}"/>
              </a:ext>
            </a:extLst>
          </p:cNvPr>
          <p:cNvGrpSpPr>
            <a:grpSpLocks noChangeAspect="1"/>
          </p:cNvGrpSpPr>
          <p:nvPr/>
        </p:nvGrpSpPr>
        <p:grpSpPr>
          <a:xfrm>
            <a:off x="373533" y="2010751"/>
            <a:ext cx="544820" cy="482948"/>
            <a:chOff x="-2063751" y="3944938"/>
            <a:chExt cx="882651" cy="823913"/>
          </a:xfrm>
        </p:grpSpPr>
        <p:sp>
          <p:nvSpPr>
            <p:cNvPr id="89" name="Freeform 5">
              <a:extLst>
                <a:ext uri="{FF2B5EF4-FFF2-40B4-BE49-F238E27FC236}">
                  <a16:creationId xmlns:a16="http://schemas.microsoft.com/office/drawing/2014/main" id="{0D2CE382-DA61-498E-9753-F5D9B7E126B7}"/>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6">
              <a:extLst>
                <a:ext uri="{FF2B5EF4-FFF2-40B4-BE49-F238E27FC236}">
                  <a16:creationId xmlns:a16="http://schemas.microsoft.com/office/drawing/2014/main" id="{37E95AC3-0AEF-45DB-9EB8-FF2ACEEF5674}"/>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7">
              <a:extLst>
                <a:ext uri="{FF2B5EF4-FFF2-40B4-BE49-F238E27FC236}">
                  <a16:creationId xmlns:a16="http://schemas.microsoft.com/office/drawing/2014/main" id="{18337A4D-854E-4D7A-A52C-38A8A8E61790}"/>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8">
              <a:extLst>
                <a:ext uri="{FF2B5EF4-FFF2-40B4-BE49-F238E27FC236}">
                  <a16:creationId xmlns:a16="http://schemas.microsoft.com/office/drawing/2014/main" id="{802C945B-069B-4318-BCFA-9BC05C947B3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9">
              <a:extLst>
                <a:ext uri="{FF2B5EF4-FFF2-40B4-BE49-F238E27FC236}">
                  <a16:creationId xmlns:a16="http://schemas.microsoft.com/office/drawing/2014/main" id="{086BAAB9-9BD7-4943-8EEF-1C03CA4F1D23}"/>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0">
              <a:extLst>
                <a:ext uri="{FF2B5EF4-FFF2-40B4-BE49-F238E27FC236}">
                  <a16:creationId xmlns:a16="http://schemas.microsoft.com/office/drawing/2014/main" id="{050C2732-8AAA-467D-A763-A6029E3A218C}"/>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1">
              <a:extLst>
                <a:ext uri="{FF2B5EF4-FFF2-40B4-BE49-F238E27FC236}">
                  <a16:creationId xmlns:a16="http://schemas.microsoft.com/office/drawing/2014/main" id="{2DDDDFF8-998B-4270-A052-DBE8E62151CC}"/>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2">
              <a:extLst>
                <a:ext uri="{FF2B5EF4-FFF2-40B4-BE49-F238E27FC236}">
                  <a16:creationId xmlns:a16="http://schemas.microsoft.com/office/drawing/2014/main" id="{0AB91BA9-65EC-4C9E-9619-ABBC57566353}"/>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3">
              <a:extLst>
                <a:ext uri="{FF2B5EF4-FFF2-40B4-BE49-F238E27FC236}">
                  <a16:creationId xmlns:a16="http://schemas.microsoft.com/office/drawing/2014/main" id="{4BC4FD46-12DB-45E1-8558-F55317B0D172}"/>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8" name="Rectangle 57">
            <a:extLst>
              <a:ext uri="{FF2B5EF4-FFF2-40B4-BE49-F238E27FC236}">
                <a16:creationId xmlns:a16="http://schemas.microsoft.com/office/drawing/2014/main" id="{E84F61DF-65CA-45BF-9A0B-34B97F6A97EA}"/>
              </a:ext>
            </a:extLst>
          </p:cNvPr>
          <p:cNvSpPr/>
          <p:nvPr/>
        </p:nvSpPr>
        <p:spPr>
          <a:xfrm>
            <a:off x="5017740"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9" name="Rectangle 58">
            <a:extLst>
              <a:ext uri="{FF2B5EF4-FFF2-40B4-BE49-F238E27FC236}">
                <a16:creationId xmlns:a16="http://schemas.microsoft.com/office/drawing/2014/main" id="{831AED31-10FD-4B27-990C-A819D745E531}"/>
              </a:ext>
            </a:extLst>
          </p:cNvPr>
          <p:cNvSpPr/>
          <p:nvPr/>
        </p:nvSpPr>
        <p:spPr>
          <a:xfrm>
            <a:off x="5074458" y="1871519"/>
            <a:ext cx="2068473" cy="81735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1" name="Rectangle 60">
            <a:extLst>
              <a:ext uri="{FF2B5EF4-FFF2-40B4-BE49-F238E27FC236}">
                <a16:creationId xmlns:a16="http://schemas.microsoft.com/office/drawing/2014/main" id="{6A2E64E3-C40B-4FA6-866D-445B474C04A6}"/>
              </a:ext>
            </a:extLst>
          </p:cNvPr>
          <p:cNvSpPr/>
          <p:nvPr/>
        </p:nvSpPr>
        <p:spPr>
          <a:xfrm>
            <a:off x="7403043"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2" name="Rectangle 61">
            <a:extLst>
              <a:ext uri="{FF2B5EF4-FFF2-40B4-BE49-F238E27FC236}">
                <a16:creationId xmlns:a16="http://schemas.microsoft.com/office/drawing/2014/main" id="{E6142444-0D7A-4B76-850A-8328C7265351}"/>
              </a:ext>
            </a:extLst>
          </p:cNvPr>
          <p:cNvSpPr/>
          <p:nvPr/>
        </p:nvSpPr>
        <p:spPr>
          <a:xfrm>
            <a:off x="7459761" y="1871519"/>
            <a:ext cx="2068473" cy="817353"/>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3" name="Group 19">
            <a:extLst>
              <a:ext uri="{FF2B5EF4-FFF2-40B4-BE49-F238E27FC236}">
                <a16:creationId xmlns:a16="http://schemas.microsoft.com/office/drawing/2014/main" id="{1726E9E8-BDE6-475F-B50B-255DDC05C427}"/>
              </a:ext>
            </a:extLst>
          </p:cNvPr>
          <p:cNvGrpSpPr>
            <a:grpSpLocks noChangeAspect="1"/>
          </p:cNvGrpSpPr>
          <p:nvPr/>
        </p:nvGrpSpPr>
        <p:grpSpPr>
          <a:xfrm>
            <a:off x="5138937" y="2007476"/>
            <a:ext cx="565005" cy="500840"/>
            <a:chOff x="-2187576" y="5018088"/>
            <a:chExt cx="882651" cy="823913"/>
          </a:xfrm>
        </p:grpSpPr>
        <p:sp>
          <p:nvSpPr>
            <p:cNvPr id="84" name="Freeform 17">
              <a:extLst>
                <a:ext uri="{FF2B5EF4-FFF2-40B4-BE49-F238E27FC236}">
                  <a16:creationId xmlns:a16="http://schemas.microsoft.com/office/drawing/2014/main" id="{1015426A-D4AE-4215-A976-10035EFBB6F7}"/>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8">
              <a:extLst>
                <a:ext uri="{FF2B5EF4-FFF2-40B4-BE49-F238E27FC236}">
                  <a16:creationId xmlns:a16="http://schemas.microsoft.com/office/drawing/2014/main" id="{89116A03-ED4A-4602-A990-88AF0D84FA71}"/>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CC29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9">
              <a:extLst>
                <a:ext uri="{FF2B5EF4-FFF2-40B4-BE49-F238E27FC236}">
                  <a16:creationId xmlns:a16="http://schemas.microsoft.com/office/drawing/2014/main" id="{C9FB4D06-11B6-4B34-8630-33D043D486D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7D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4" name="Rectangle 63">
            <a:extLst>
              <a:ext uri="{FF2B5EF4-FFF2-40B4-BE49-F238E27FC236}">
                <a16:creationId xmlns:a16="http://schemas.microsoft.com/office/drawing/2014/main" id="{9C16D0F2-2CA3-4538-9C3C-86C7AA9E9C07}"/>
              </a:ext>
            </a:extLst>
          </p:cNvPr>
          <p:cNvSpPr/>
          <p:nvPr/>
        </p:nvSpPr>
        <p:spPr>
          <a:xfrm>
            <a:off x="9788346"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5" name="Rectangle 64">
            <a:extLst>
              <a:ext uri="{FF2B5EF4-FFF2-40B4-BE49-F238E27FC236}">
                <a16:creationId xmlns:a16="http://schemas.microsoft.com/office/drawing/2014/main" id="{F632AB97-A0B1-4CCB-95C6-07407A0214F2}"/>
              </a:ext>
            </a:extLst>
          </p:cNvPr>
          <p:cNvSpPr/>
          <p:nvPr/>
        </p:nvSpPr>
        <p:spPr>
          <a:xfrm>
            <a:off x="9845064" y="1871519"/>
            <a:ext cx="2068473" cy="8173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6" name="Group 23">
            <a:extLst>
              <a:ext uri="{FF2B5EF4-FFF2-40B4-BE49-F238E27FC236}">
                <a16:creationId xmlns:a16="http://schemas.microsoft.com/office/drawing/2014/main" id="{6637FD03-2A69-4B0E-9145-84BE19095B05}"/>
              </a:ext>
            </a:extLst>
          </p:cNvPr>
          <p:cNvGrpSpPr>
            <a:grpSpLocks noChangeAspect="1"/>
          </p:cNvGrpSpPr>
          <p:nvPr/>
        </p:nvGrpSpPr>
        <p:grpSpPr>
          <a:xfrm>
            <a:off x="9942541" y="2021487"/>
            <a:ext cx="574680" cy="507592"/>
            <a:chOff x="-2836862" y="6440488"/>
            <a:chExt cx="885824" cy="823913"/>
          </a:xfrm>
        </p:grpSpPr>
        <p:sp>
          <p:nvSpPr>
            <p:cNvPr id="77" name="Freeform 23">
              <a:extLst>
                <a:ext uri="{FF2B5EF4-FFF2-40B4-BE49-F238E27FC236}">
                  <a16:creationId xmlns:a16="http://schemas.microsoft.com/office/drawing/2014/main" id="{D60549F4-D458-4521-9578-087EA675A14E}"/>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4">
              <a:extLst>
                <a:ext uri="{FF2B5EF4-FFF2-40B4-BE49-F238E27FC236}">
                  <a16:creationId xmlns:a16="http://schemas.microsoft.com/office/drawing/2014/main" id="{C204602E-E3B2-4B43-8A41-CAEF9FE0D945}"/>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5">
              <a:extLst>
                <a:ext uri="{FF2B5EF4-FFF2-40B4-BE49-F238E27FC236}">
                  <a16:creationId xmlns:a16="http://schemas.microsoft.com/office/drawing/2014/main" id="{4D24536C-0787-45F3-981C-45A263294172}"/>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26">
              <a:extLst>
                <a:ext uri="{FF2B5EF4-FFF2-40B4-BE49-F238E27FC236}">
                  <a16:creationId xmlns:a16="http://schemas.microsoft.com/office/drawing/2014/main" id="{BD97D8B8-F1A2-421D-B85E-EF91200F150A}"/>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27">
              <a:extLst>
                <a:ext uri="{FF2B5EF4-FFF2-40B4-BE49-F238E27FC236}">
                  <a16:creationId xmlns:a16="http://schemas.microsoft.com/office/drawing/2014/main" id="{4A6B9362-D264-4FDE-9625-675518C3AA9C}"/>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28">
              <a:extLst>
                <a:ext uri="{FF2B5EF4-FFF2-40B4-BE49-F238E27FC236}">
                  <a16:creationId xmlns:a16="http://schemas.microsoft.com/office/drawing/2014/main" id="{B7DF9E03-FFA0-4B20-8139-4704FDDED031}"/>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29">
              <a:extLst>
                <a:ext uri="{FF2B5EF4-FFF2-40B4-BE49-F238E27FC236}">
                  <a16:creationId xmlns:a16="http://schemas.microsoft.com/office/drawing/2014/main" id="{703BE759-6853-470A-9B25-9A4FB68B071A}"/>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7" name="Text Placeholder 49">
            <a:extLst>
              <a:ext uri="{FF2B5EF4-FFF2-40B4-BE49-F238E27FC236}">
                <a16:creationId xmlns:a16="http://schemas.microsoft.com/office/drawing/2014/main" id="{B7587CDB-1C07-4A35-9025-AA8CE7486F0C}"/>
              </a:ext>
            </a:extLst>
          </p:cNvPr>
          <p:cNvSpPr txBox="1">
            <a:spLocks/>
          </p:cNvSpPr>
          <p:nvPr/>
        </p:nvSpPr>
        <p:spPr>
          <a:xfrm>
            <a:off x="970302" y="2061815"/>
            <a:ext cx="1403984"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chemeClr val="bg1"/>
                </a:solidFill>
                <a:effectLst/>
                <a:uLnTx/>
                <a:uFillTx/>
                <a:latin typeface="+mn-lt"/>
                <a:ea typeface="+mn-ea"/>
                <a:cs typeface="+mn-cs"/>
              </a:rPr>
              <a:t>Naming Convention </a:t>
            </a:r>
            <a:endParaRPr kumimoji="0" lang="pt-PT" sz="1400" b="1" i="0" u="none" strike="noStrike" kern="1200" cap="none" spc="0" normalizeH="0" baseline="0" noProof="0" dirty="0">
              <a:ln>
                <a:noFill/>
              </a:ln>
              <a:solidFill>
                <a:schemeClr val="bg1"/>
              </a:solidFill>
              <a:effectLst/>
              <a:uLnTx/>
              <a:uFillTx/>
              <a:latin typeface="+mn-lt"/>
              <a:ea typeface="+mn-ea"/>
              <a:cs typeface="+mn-cs"/>
            </a:endParaRPr>
          </a:p>
        </p:txBody>
      </p:sp>
      <p:sp>
        <p:nvSpPr>
          <p:cNvPr id="68" name="Text Placeholder 49">
            <a:extLst>
              <a:ext uri="{FF2B5EF4-FFF2-40B4-BE49-F238E27FC236}">
                <a16:creationId xmlns:a16="http://schemas.microsoft.com/office/drawing/2014/main" id="{34D2C465-7F4C-4412-92A1-4BD3CF691704}"/>
              </a:ext>
            </a:extLst>
          </p:cNvPr>
          <p:cNvSpPr txBox="1">
            <a:spLocks/>
          </p:cNvSpPr>
          <p:nvPr/>
        </p:nvSpPr>
        <p:spPr>
          <a:xfrm>
            <a:off x="5741018"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chemeClr val="bg1"/>
                </a:solidFill>
                <a:effectLst/>
                <a:uLnTx/>
                <a:uFillTx/>
                <a:latin typeface="+mn-lt"/>
                <a:ea typeface="+mn-ea"/>
                <a:cs typeface="+mn-cs"/>
              </a:rPr>
              <a:t>Response</a:t>
            </a:r>
            <a:r>
              <a:rPr kumimoji="0" lang="en-US" sz="1400" b="0" i="0" u="none" strike="noStrike" kern="1200" cap="none" spc="0" normalizeH="0" baseline="0" noProof="0" dirty="0">
                <a:ln>
                  <a:noFill/>
                </a:ln>
                <a:solidFill>
                  <a:schemeClr val="bg1"/>
                </a:solidFill>
                <a:effectLst/>
                <a:uLnTx/>
                <a:uFillTx/>
                <a:latin typeface="+mn-lt"/>
                <a:ea typeface="+mn-ea"/>
                <a:cs typeface="+mn-cs"/>
              </a:rPr>
              <a:t> </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9" name="Text Placeholder 49">
            <a:extLst>
              <a:ext uri="{FF2B5EF4-FFF2-40B4-BE49-F238E27FC236}">
                <a16:creationId xmlns:a16="http://schemas.microsoft.com/office/drawing/2014/main" id="{57B6C7B7-664B-4E3D-88DB-E05D01E893A5}"/>
              </a:ext>
            </a:extLst>
          </p:cNvPr>
          <p:cNvSpPr txBox="1">
            <a:spLocks/>
          </p:cNvSpPr>
          <p:nvPr/>
        </p:nvSpPr>
        <p:spPr>
          <a:xfrm>
            <a:off x="8125739" y="2061815"/>
            <a:ext cx="1286371" cy="436761"/>
          </a:xfrm>
          <a:prstGeom prst="rect">
            <a:avLst/>
          </a:prstGeom>
        </p:spPr>
        <p:txBody>
          <a:bodyPr vert="horz" lIns="91440" tIns="45720" rIns="91440" bIns="45720" rtlCol="0" anchor="ctr">
            <a:noAutofit/>
          </a:bodyPr>
          <a:lstStyle/>
          <a:p>
            <a:pPr>
              <a:lnSpc>
                <a:spcPct val="85000"/>
              </a:lnSpc>
              <a:spcBef>
                <a:spcPts val="600"/>
              </a:spcBef>
              <a:defRPr/>
            </a:pPr>
            <a:r>
              <a:rPr lang="nl-NL" sz="1400" b="1" dirty="0">
                <a:solidFill>
                  <a:schemeClr val="bg1"/>
                </a:solidFill>
              </a:rPr>
              <a:t>Versioning</a:t>
            </a:r>
          </a:p>
        </p:txBody>
      </p:sp>
      <p:sp>
        <p:nvSpPr>
          <p:cNvPr id="70" name="Text Placeholder 49">
            <a:extLst>
              <a:ext uri="{FF2B5EF4-FFF2-40B4-BE49-F238E27FC236}">
                <a16:creationId xmlns:a16="http://schemas.microsoft.com/office/drawing/2014/main" id="{EB482FB4-F3E7-4789-AB1F-61FD480489A7}"/>
              </a:ext>
            </a:extLst>
          </p:cNvPr>
          <p:cNvSpPr txBox="1">
            <a:spLocks/>
          </p:cNvSpPr>
          <p:nvPr/>
        </p:nvSpPr>
        <p:spPr>
          <a:xfrm>
            <a:off x="10537684" y="2061815"/>
            <a:ext cx="1286371" cy="436761"/>
          </a:xfrm>
          <a:prstGeom prst="rect">
            <a:avLst/>
          </a:prstGeom>
        </p:spPr>
        <p:txBody>
          <a:bodyPr vert="horz" lIns="91440" tIns="45720" rIns="91440" bIns="45720" rtlCol="0" anchor="ctr">
            <a:noAutofit/>
          </a:bodyPr>
          <a:lstStyle/>
          <a:p>
            <a:pPr lvl="0">
              <a:lnSpc>
                <a:spcPct val="85000"/>
              </a:lnSpc>
              <a:spcBef>
                <a:spcPts val="600"/>
              </a:spcBef>
              <a:defRPr/>
            </a:pPr>
            <a:r>
              <a:rPr lang="nl-NL" sz="1400" b="1" dirty="0">
                <a:solidFill>
                  <a:schemeClr val="bg1"/>
                </a:solidFill>
              </a:rPr>
              <a:t>HATEOAS</a:t>
            </a:r>
            <a:endParaRPr lang="pt-PT" sz="1400" b="1" dirty="0">
              <a:solidFill>
                <a:schemeClr val="bg1"/>
              </a:solidFill>
            </a:endParaRPr>
          </a:p>
        </p:txBody>
      </p:sp>
      <p:sp>
        <p:nvSpPr>
          <p:cNvPr id="71" name="Text Placeholder 53">
            <a:extLst>
              <a:ext uri="{FF2B5EF4-FFF2-40B4-BE49-F238E27FC236}">
                <a16:creationId xmlns:a16="http://schemas.microsoft.com/office/drawing/2014/main" id="{B381AF7E-E2EF-45EC-A796-E48D60A5BD42}"/>
              </a:ext>
            </a:extLst>
          </p:cNvPr>
          <p:cNvSpPr txBox="1">
            <a:spLocks/>
          </p:cNvSpPr>
          <p:nvPr/>
        </p:nvSpPr>
        <p:spPr>
          <a:xfrm>
            <a:off x="327117"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KISS</a:t>
            </a:r>
          </a:p>
          <a:p>
            <a:pPr marL="173038" indent="-173038">
              <a:lnSpc>
                <a:spcPct val="90000"/>
              </a:lnSpc>
              <a:spcBef>
                <a:spcPts val="1000"/>
              </a:spcBef>
              <a:buClr>
                <a:srgbClr val="0070AD"/>
              </a:buClr>
              <a:buFont typeface="Arial" panose="020B0604020202020204" pitchFamily="34" charset="0"/>
              <a:buChar char="•"/>
              <a:tabLst>
                <a:tab pos="180975" algn="l"/>
              </a:tabLst>
              <a:defRPr/>
            </a:pPr>
            <a:r>
              <a:rPr lang="en-US" sz="1300" dirty="0"/>
              <a:t>Use nouns and NOT the verbs, Use of right HTTP methods</a:t>
            </a:r>
          </a:p>
          <a:p>
            <a:pPr marL="173038" indent="-173038">
              <a:lnSpc>
                <a:spcPct val="90000"/>
              </a:lnSpc>
              <a:spcBef>
                <a:spcPts val="1000"/>
              </a:spcBef>
              <a:buClr>
                <a:srgbClr val="0070AD"/>
              </a:buClr>
              <a:buFont typeface="Arial" panose="020B0604020202020204" pitchFamily="34" charset="0"/>
              <a:buChar char="•"/>
              <a:tabLst>
                <a:tab pos="180975" algn="l"/>
              </a:tabLst>
              <a:defRPr/>
            </a:pPr>
            <a:r>
              <a:rPr lang="nl-NL" sz="1300" dirty="0"/>
              <a:t>Use Plurals</a:t>
            </a:r>
            <a:endParaRPr lang="nl-NL" sz="1400" dirty="0"/>
          </a:p>
          <a:p>
            <a:pPr marL="630238" lvl="1" indent="-173038">
              <a:lnSpc>
                <a:spcPct val="90000"/>
              </a:lnSpc>
              <a:spcBef>
                <a:spcPts val="1000"/>
              </a:spcBef>
              <a:buClr>
                <a:srgbClr val="0070AD"/>
              </a:buClr>
              <a:buFont typeface="Arial" panose="020B0604020202020204" pitchFamily="34" charset="0"/>
              <a:buChar char="•"/>
              <a:tabLst>
                <a:tab pos="180975" algn="l"/>
              </a:tabLst>
              <a:defRPr/>
            </a:pPr>
            <a:endParaRPr lang="en-US" sz="1300" dirty="0"/>
          </a:p>
          <a:p>
            <a:pPr marL="173038" marR="0" lvl="0" indent="-173038"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None/>
              <a:tabLst/>
              <a:defRPr/>
            </a:pPr>
            <a:endParaRPr kumimoji="0" lang="en-US" sz="1300" b="0" i="0" u="none" strike="noStrike" kern="1200" cap="none" spc="0" normalizeH="0" baseline="0" noProof="0" dirty="0">
              <a:ln>
                <a:noFill/>
              </a:ln>
              <a:solidFill>
                <a:schemeClr val="tx1"/>
              </a:solidFill>
              <a:effectLst/>
              <a:uLnTx/>
              <a:uFillTx/>
              <a:latin typeface="+mn-lt"/>
              <a:ea typeface="+mn-ea"/>
              <a:cs typeface="+mn-cs"/>
            </a:endParaRPr>
          </a:p>
        </p:txBody>
      </p:sp>
      <p:sp>
        <p:nvSpPr>
          <p:cNvPr id="72" name="Text Placeholder 54">
            <a:extLst>
              <a:ext uri="{FF2B5EF4-FFF2-40B4-BE49-F238E27FC236}">
                <a16:creationId xmlns:a16="http://schemas.microsoft.com/office/drawing/2014/main" id="{CFEE2F2B-C0AC-4233-BD61-A582DD47325E}"/>
              </a:ext>
            </a:extLst>
          </p:cNvPr>
          <p:cNvSpPr txBox="1">
            <a:spLocks/>
          </p:cNvSpPr>
          <p:nvPr/>
        </p:nvSpPr>
        <p:spPr>
          <a:xfrm>
            <a:off x="2701203" y="2694954"/>
            <a:ext cx="2040560" cy="3487575"/>
          </a:xfrm>
          <a:prstGeom prst="rect">
            <a:avLst/>
          </a:prstGeom>
        </p:spPr>
        <p:txBody>
          <a:bodyPr vert="horz" lIns="91440" tIns="45720" rIns="91440" bIns="45720" rtlCol="0">
            <a:noAutofit/>
          </a:bodyPr>
          <a:lstStyle/>
          <a:p>
            <a:pPr marL="173038" lvl="0" indent="-173038">
              <a:lnSpc>
                <a:spcPct val="90000"/>
              </a:lnSpc>
              <a:spcBef>
                <a:spcPts val="1000"/>
              </a:spcBef>
              <a:buClr>
                <a:srgbClr val="0070AD"/>
              </a:buClr>
              <a:buFont typeface="Arial" panose="020B0604020202020204" pitchFamily="34" charset="0"/>
              <a:buChar char="•"/>
              <a:defRPr/>
            </a:pPr>
            <a:r>
              <a:rPr lang="nl-NL" sz="1200" b="1" dirty="0"/>
              <a:t>Use parameter –</a:t>
            </a:r>
          </a:p>
          <a:p>
            <a:pPr marL="630238" lvl="1" indent="-173038">
              <a:lnSpc>
                <a:spcPct val="90000"/>
              </a:lnSpc>
              <a:spcBef>
                <a:spcPts val="1000"/>
              </a:spcBef>
              <a:buClr>
                <a:srgbClr val="0070AD"/>
              </a:buClr>
              <a:buFont typeface="Arial" panose="020B0604020202020204" pitchFamily="34" charset="0"/>
              <a:buChar char="•"/>
              <a:defRPr/>
            </a:pPr>
            <a:r>
              <a:rPr lang="nl-NL" altLang="nl-NL" sz="1200" dirty="0">
                <a:solidFill>
                  <a:srgbClr val="111111"/>
                </a:solidFill>
                <a:latin typeface="inherit"/>
              </a:rPr>
              <a:t>products?name=’ABC’</a:t>
            </a:r>
            <a:r>
              <a:rPr lang="nl-NL" altLang="nl-NL" sz="1200" dirty="0">
                <a:solidFill>
                  <a:srgbClr val="111111"/>
                </a:solidFill>
                <a:latin typeface="IBM Plex Sans"/>
              </a:rPr>
              <a:t> should be preffered over </a:t>
            </a:r>
            <a:r>
              <a:rPr lang="nl-NL" altLang="nl-NL" sz="1200" dirty="0">
                <a:solidFill>
                  <a:srgbClr val="111111"/>
                </a:solidFill>
                <a:latin typeface="inherit"/>
              </a:rPr>
              <a:t>/getProductsByName</a:t>
            </a:r>
            <a:r>
              <a:rPr lang="nl-NL" sz="1200" b="1" dirty="0"/>
              <a:t> </a:t>
            </a:r>
          </a:p>
          <a:p>
            <a:pPr marL="173038" lvl="0" indent="-173038">
              <a:lnSpc>
                <a:spcPct val="90000"/>
              </a:lnSpc>
              <a:spcBef>
                <a:spcPts val="1000"/>
              </a:spcBef>
              <a:buClr>
                <a:srgbClr val="0070AD"/>
              </a:buClr>
              <a:buFont typeface="Arial" panose="020B0604020202020204" pitchFamily="34" charset="0"/>
              <a:buChar char="•"/>
              <a:defRPr/>
            </a:pPr>
            <a:r>
              <a:rPr lang="nl-NL" sz="1200" b="1" dirty="0"/>
              <a:t>Use Pagination</a:t>
            </a:r>
          </a:p>
          <a:p>
            <a:pPr marL="628650" lvl="1" indent="-171450">
              <a:buFont typeface="Arial" panose="020B0604020202020204" pitchFamily="34" charset="0"/>
              <a:buChar char="•"/>
            </a:pPr>
            <a:r>
              <a:rPr lang="nl-NL" sz="1200" dirty="0"/>
              <a:t>/products?limit =25&amp;offset  = 50</a:t>
            </a:r>
          </a:p>
          <a:p>
            <a:pPr marL="628650" lvl="1" indent="-171450">
              <a:buFont typeface="Arial" panose="020B0604020202020204" pitchFamily="34" charset="0"/>
              <a:buChar char="•"/>
            </a:pPr>
            <a:r>
              <a:rPr lang="en-GB" sz="1200" dirty="0"/>
              <a:t>give link to previous and next page for the information</a:t>
            </a:r>
            <a:endParaRPr lang="nl-NL" sz="1200" dirty="0"/>
          </a:p>
          <a:p>
            <a:pPr marL="630238" lvl="1" indent="-173038">
              <a:lnSpc>
                <a:spcPct val="90000"/>
              </a:lnSpc>
              <a:spcBef>
                <a:spcPts val="1000"/>
              </a:spcBef>
              <a:buClr>
                <a:srgbClr val="0070AD"/>
              </a:buClr>
              <a:buFont typeface="Arial" panose="020B0604020202020204" pitchFamily="34" charset="0"/>
              <a:buChar char="•"/>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73" name="Text Placeholder 55">
            <a:extLst>
              <a:ext uri="{FF2B5EF4-FFF2-40B4-BE49-F238E27FC236}">
                <a16:creationId xmlns:a16="http://schemas.microsoft.com/office/drawing/2014/main" id="{2490ED01-BBF4-4534-BC78-234CA59A4782}"/>
              </a:ext>
            </a:extLst>
          </p:cNvPr>
          <p:cNvSpPr txBox="1">
            <a:spLocks/>
          </p:cNvSpPr>
          <p:nvPr/>
        </p:nvSpPr>
        <p:spPr>
          <a:xfrm>
            <a:off x="5099131" y="2694954"/>
            <a:ext cx="2040560" cy="3487575"/>
          </a:xfrm>
          <a:prstGeom prst="rect">
            <a:avLst/>
          </a:prstGeom>
        </p:spPr>
        <p:txBody>
          <a:bodyPr vert="horz" lIns="91440" tIns="45720" rIns="91440" bIns="45720" rtlCol="0">
            <a:noAutofit/>
          </a:bodyPr>
          <a:lstStyle/>
          <a:p>
            <a:pPr marL="173038" indent="-173038">
              <a:lnSpc>
                <a:spcPct val="90000"/>
              </a:lnSpc>
              <a:spcBef>
                <a:spcPts val="1000"/>
              </a:spcBef>
              <a:buClr>
                <a:srgbClr val="0070AD"/>
              </a:buClr>
              <a:buFont typeface="Arial" panose="020B0604020202020204" pitchFamily="34" charset="0"/>
              <a:buChar char="•"/>
              <a:tabLst>
                <a:tab pos="180975" algn="l"/>
              </a:tabLst>
              <a:defRPr/>
            </a:pPr>
            <a:r>
              <a:rPr lang="nl-NL" sz="1400" b="1" dirty="0"/>
              <a:t>Proper error codes</a:t>
            </a:r>
          </a:p>
          <a:p>
            <a:pPr marL="742950" lvl="1" indent="-285750">
              <a:buFont typeface="Arial" panose="020B0604020202020204" pitchFamily="34" charset="0"/>
              <a:buChar char="•"/>
            </a:pPr>
            <a:r>
              <a:rPr lang="nl-NL" sz="1400" dirty="0"/>
              <a:t>2xx</a:t>
            </a:r>
          </a:p>
          <a:p>
            <a:pPr marL="742950" lvl="1" indent="-285750">
              <a:buFont typeface="Arial" panose="020B0604020202020204" pitchFamily="34" charset="0"/>
              <a:buChar char="•"/>
            </a:pPr>
            <a:r>
              <a:rPr lang="nl-NL" sz="1400" dirty="0"/>
              <a:t>3xx</a:t>
            </a:r>
          </a:p>
          <a:p>
            <a:pPr marL="742950" lvl="1" indent="-285750">
              <a:buFont typeface="Arial" panose="020B0604020202020204" pitchFamily="34" charset="0"/>
              <a:buChar char="•"/>
            </a:pPr>
            <a:r>
              <a:rPr lang="nl-NL" sz="1400" dirty="0"/>
              <a:t>4xx</a:t>
            </a:r>
          </a:p>
          <a:p>
            <a:pPr marL="742950" lvl="1" indent="-285750">
              <a:buFont typeface="Arial" panose="020B0604020202020204" pitchFamily="34" charset="0"/>
              <a:buChar char="•"/>
            </a:pPr>
            <a:r>
              <a:rPr lang="nl-NL" sz="1400" dirty="0"/>
              <a:t>5xx</a:t>
            </a:r>
          </a:p>
          <a:p>
            <a:pPr marL="285750" indent="-285750">
              <a:buFont typeface="Arial" panose="020B0604020202020204" pitchFamily="34" charset="0"/>
              <a:buChar char="•"/>
            </a:pPr>
            <a:r>
              <a:rPr lang="nl-NL" sz="1400" b="1" dirty="0"/>
              <a:t>Use Proper Error Messages  </a:t>
            </a:r>
          </a:p>
          <a:p>
            <a:pPr marL="742950" lvl="1" indent="-285750">
              <a:buFont typeface="Arial" panose="020B0604020202020204" pitchFamily="34" charset="0"/>
              <a:buChar char="•"/>
            </a:pPr>
            <a:r>
              <a:rPr lang="nl-NL" sz="1400" dirty="0"/>
              <a:t>Send co-relation id or message ID to trace back </a:t>
            </a:r>
          </a:p>
        </p:txBody>
      </p:sp>
      <p:sp>
        <p:nvSpPr>
          <p:cNvPr id="74" name="Text Placeholder 56">
            <a:extLst>
              <a:ext uri="{FF2B5EF4-FFF2-40B4-BE49-F238E27FC236}">
                <a16:creationId xmlns:a16="http://schemas.microsoft.com/office/drawing/2014/main" id="{67D0B6C8-3FAB-4C9A-849C-9BA2E2856233}"/>
              </a:ext>
            </a:extLst>
          </p:cNvPr>
          <p:cNvSpPr txBox="1">
            <a:spLocks/>
          </p:cNvSpPr>
          <p:nvPr/>
        </p:nvSpPr>
        <p:spPr>
          <a:xfrm>
            <a:off x="7482554" y="2694954"/>
            <a:ext cx="2040560" cy="3487575"/>
          </a:xfrm>
          <a:prstGeom prst="rect">
            <a:avLst/>
          </a:prstGeom>
        </p:spPr>
        <p:txBody>
          <a:bodyPr vert="horz" lIns="91440" tIns="45720" rIns="91440" bIns="45720" rtlCol="0">
            <a:noAutofit/>
          </a:bodyPr>
          <a:lstStyle/>
          <a:p>
            <a:pPr marL="173038" lvl="0" indent="-173038">
              <a:lnSpc>
                <a:spcPct val="90000"/>
              </a:lnSpc>
              <a:spcBef>
                <a:spcPts val="1000"/>
              </a:spcBef>
              <a:buClr>
                <a:srgbClr val="0070AD"/>
              </a:buClr>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mn-lt"/>
                <a:ea typeface="+mn-ea"/>
                <a:cs typeface="+mn-cs"/>
              </a:rPr>
              <a:t>URI </a:t>
            </a:r>
            <a:r>
              <a:rPr lang="nl-NL" sz="1200" dirty="0"/>
              <a:t>versioning</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p>
            <a:pPr marL="173038" lvl="0" indent="-173038">
              <a:lnSpc>
                <a:spcPct val="90000"/>
              </a:lnSpc>
              <a:spcBef>
                <a:spcPts val="1000"/>
              </a:spcBef>
              <a:buClr>
                <a:srgbClr val="0070AD"/>
              </a:buClr>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mn-lt"/>
                <a:ea typeface="+mn-ea"/>
                <a:cs typeface="+mn-cs"/>
              </a:rPr>
              <a:t>Query String </a:t>
            </a:r>
            <a:r>
              <a:rPr kumimoji="0" lang="nl-NL" sz="1200" b="0" i="0" u="none" strike="noStrike" kern="1200" cap="none" spc="0" normalizeH="0" baseline="0" noProof="0" dirty="0">
                <a:ln>
                  <a:noFill/>
                </a:ln>
                <a:solidFill>
                  <a:schemeClr val="tx1"/>
                </a:solidFill>
                <a:effectLst/>
                <a:uLnTx/>
                <a:uFillTx/>
                <a:latin typeface="+mn-lt"/>
                <a:ea typeface="+mn-ea"/>
                <a:cs typeface="+mn-cs"/>
              </a:rPr>
              <a:t>V</a:t>
            </a:r>
            <a:r>
              <a:rPr lang="nl-NL" sz="1200" dirty="0"/>
              <a:t>ersioning</a:t>
            </a:r>
          </a:p>
          <a:p>
            <a:pPr marL="173038" indent="-173038">
              <a:lnSpc>
                <a:spcPct val="90000"/>
              </a:lnSpc>
              <a:spcBef>
                <a:spcPts val="1000"/>
              </a:spcBef>
              <a:buClr>
                <a:srgbClr val="0070AD"/>
              </a:buClr>
              <a:buFont typeface="Arial" panose="020B0604020202020204" pitchFamily="34" charset="0"/>
              <a:buChar char="•"/>
              <a:defRPr/>
            </a:pPr>
            <a:r>
              <a:rPr lang="nl-NL" sz="1200" dirty="0"/>
              <a:t>Header Versioning</a:t>
            </a:r>
          </a:p>
          <a:p>
            <a:pPr marL="173038" indent="-173038">
              <a:lnSpc>
                <a:spcPct val="90000"/>
              </a:lnSpc>
              <a:spcBef>
                <a:spcPts val="1000"/>
              </a:spcBef>
              <a:buClr>
                <a:srgbClr val="0070AD"/>
              </a:buClr>
              <a:buFont typeface="Arial" panose="020B0604020202020204" pitchFamily="34" charset="0"/>
              <a:buChar char="•"/>
              <a:defRPr/>
            </a:pPr>
            <a:r>
              <a:rPr lang="nl-NL" sz="1200" dirty="0"/>
              <a:t>Media type versioning</a:t>
            </a:r>
          </a:p>
          <a:p>
            <a:pPr>
              <a:lnSpc>
                <a:spcPct val="90000"/>
              </a:lnSpc>
              <a:spcBef>
                <a:spcPts val="1000"/>
              </a:spcBef>
              <a:buClr>
                <a:srgbClr val="0070AD"/>
              </a:buClr>
              <a:defRPr/>
            </a:pPr>
            <a:endParaRPr lang="nl-NL" sz="1200" dirty="0"/>
          </a:p>
          <a:p>
            <a:pPr marL="173038" lvl="0" indent="-173038">
              <a:lnSpc>
                <a:spcPct val="90000"/>
              </a:lnSpc>
              <a:spcBef>
                <a:spcPts val="1000"/>
              </a:spcBef>
              <a:buClr>
                <a:srgbClr val="0070AD"/>
              </a:buClr>
              <a:buFont typeface="Arial" panose="020B0604020202020204" pitchFamily="34" charset="0"/>
              <a:buChar char="•"/>
              <a:defRPr/>
            </a:pPr>
            <a:endParaRPr lang="nl-NL" sz="1200" dirty="0"/>
          </a:p>
          <a:p>
            <a:pPr marL="173038" lvl="0" indent="-173038">
              <a:lnSpc>
                <a:spcPct val="90000"/>
              </a:lnSpc>
              <a:spcBef>
                <a:spcPts val="1000"/>
              </a:spcBef>
              <a:buClr>
                <a:srgbClr val="0070AD"/>
              </a:buClr>
              <a:buFont typeface="Arial" panose="020B0604020202020204" pitchFamily="34" charset="0"/>
              <a:buChar char="•"/>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75" name="Text Placeholder 57">
            <a:extLst>
              <a:ext uri="{FF2B5EF4-FFF2-40B4-BE49-F238E27FC236}">
                <a16:creationId xmlns:a16="http://schemas.microsoft.com/office/drawing/2014/main" id="{32A1182A-5A8F-41C4-B8F2-95E010CBB41A}"/>
              </a:ext>
            </a:extLst>
          </p:cNvPr>
          <p:cNvSpPr txBox="1">
            <a:spLocks/>
          </p:cNvSpPr>
          <p:nvPr/>
        </p:nvSpPr>
        <p:spPr>
          <a:xfrm>
            <a:off x="9873229" y="2694954"/>
            <a:ext cx="2040560" cy="3487575"/>
          </a:xfrm>
          <a:prstGeom prst="rect">
            <a:avLst/>
          </a:prstGeom>
        </p:spPr>
        <p:txBody>
          <a:bodyPr vert="horz" lIns="91440" tIns="45720" rIns="91440" bIns="45720" rtlCol="0">
            <a:noAutofit/>
          </a:bodyPr>
          <a:lstStyle/>
          <a:p>
            <a:pPr marL="173038" lvl="0" indent="-173038">
              <a:lnSpc>
                <a:spcPct val="90000"/>
              </a:lnSpc>
              <a:spcBef>
                <a:spcPts val="1000"/>
              </a:spcBef>
              <a:buClr>
                <a:srgbClr val="0070AD"/>
              </a:buClr>
              <a:buFont typeface="Arial" panose="020B0604020202020204" pitchFamily="34" charset="0"/>
              <a:buChar char="•"/>
              <a:defRPr/>
            </a:pPr>
            <a:r>
              <a:rPr lang="en-US" sz="1200" dirty="0"/>
              <a:t>Enable navigation to related resources</a:t>
            </a:r>
          </a:p>
          <a:p>
            <a:pPr marL="173038" lvl="0" indent="-173038">
              <a:lnSpc>
                <a:spcPct val="90000"/>
              </a:lnSpc>
              <a:spcBef>
                <a:spcPts val="1000"/>
              </a:spcBef>
              <a:buClr>
                <a:srgbClr val="0070AD"/>
              </a:buClr>
              <a:buFont typeface="Arial" panose="020B0604020202020204" pitchFamily="34" charset="0"/>
              <a:buChar char="•"/>
              <a:defRPr/>
            </a:pPr>
            <a:r>
              <a:rPr lang="nl-NL" sz="1200" dirty="0">
                <a:hlinkClick r:id="rId2">
                  <a:extLst>
                    <a:ext uri="{A12FA001-AC4F-418D-AE19-62706E023703}">
                      <ahyp:hlinkClr xmlns:ahyp="http://schemas.microsoft.com/office/drawing/2018/hyperlinkcolor" val="tx"/>
                    </a:ext>
                  </a:extLst>
                </a:hlinkClick>
              </a:rPr>
              <a:t>https://xyz.com/orders/3</a:t>
            </a:r>
            <a:endParaRPr lang="nl-NL" sz="1200" dirty="0"/>
          </a:p>
          <a:p>
            <a:pPr marL="173038" indent="-173038">
              <a:lnSpc>
                <a:spcPct val="90000"/>
              </a:lnSpc>
              <a:spcBef>
                <a:spcPts val="1000"/>
              </a:spcBef>
              <a:buClr>
                <a:srgbClr val="0070AD"/>
              </a:buClr>
              <a:buFont typeface="Arial" panose="020B0604020202020204" pitchFamily="34" charset="0"/>
              <a:buChar char="•"/>
              <a:defRPr/>
            </a:pPr>
            <a:r>
              <a:rPr lang="nl-NL" sz="1200" dirty="0"/>
              <a:t>{</a:t>
            </a:r>
          </a:p>
          <a:p>
            <a:pPr marL="173038" indent="-173038">
              <a:lnSpc>
                <a:spcPct val="90000"/>
              </a:lnSpc>
              <a:spcBef>
                <a:spcPts val="1000"/>
              </a:spcBef>
              <a:buClr>
                <a:srgbClr val="0070AD"/>
              </a:buClr>
              <a:buFont typeface="Arial" panose="020B0604020202020204" pitchFamily="34" charset="0"/>
              <a:buChar char="•"/>
              <a:defRPr/>
            </a:pPr>
            <a:r>
              <a:rPr lang="nl-NL" sz="1200" dirty="0"/>
              <a:t>  "orderID":3,</a:t>
            </a:r>
          </a:p>
          <a:p>
            <a:pPr marL="173038" indent="-173038">
              <a:lnSpc>
                <a:spcPct val="90000"/>
              </a:lnSpc>
              <a:spcBef>
                <a:spcPts val="1000"/>
              </a:spcBef>
              <a:buClr>
                <a:srgbClr val="0070AD"/>
              </a:buClr>
              <a:buFont typeface="Arial" panose="020B0604020202020204" pitchFamily="34" charset="0"/>
              <a:buChar char="•"/>
              <a:defRPr/>
            </a:pPr>
            <a:r>
              <a:rPr lang="nl-NL" sz="1200" dirty="0"/>
              <a:t>  "productID":2,</a:t>
            </a:r>
          </a:p>
          <a:p>
            <a:pPr marL="173038" indent="-173038">
              <a:lnSpc>
                <a:spcPct val="90000"/>
              </a:lnSpc>
              <a:spcBef>
                <a:spcPts val="1000"/>
              </a:spcBef>
              <a:buClr>
                <a:srgbClr val="0070AD"/>
              </a:buClr>
              <a:buFont typeface="Arial" panose="020B0604020202020204" pitchFamily="34" charset="0"/>
              <a:buChar char="•"/>
              <a:defRPr/>
            </a:pPr>
            <a:r>
              <a:rPr lang="nl-NL" sz="1200" dirty="0"/>
              <a:t>  "quantity":4,</a:t>
            </a:r>
          </a:p>
          <a:p>
            <a:pPr marL="173038" indent="-173038">
              <a:lnSpc>
                <a:spcPct val="90000"/>
              </a:lnSpc>
              <a:spcBef>
                <a:spcPts val="1000"/>
              </a:spcBef>
              <a:buClr>
                <a:srgbClr val="0070AD"/>
              </a:buClr>
              <a:buFont typeface="Arial" panose="020B0604020202020204" pitchFamily="34" charset="0"/>
              <a:buChar char="•"/>
              <a:defRPr/>
            </a:pPr>
            <a:r>
              <a:rPr lang="nl-NL" sz="1200" dirty="0"/>
              <a:t>  "orderValue":16.60,</a:t>
            </a:r>
          </a:p>
          <a:p>
            <a:pPr marL="173038" indent="-173038">
              <a:lnSpc>
                <a:spcPct val="90000"/>
              </a:lnSpc>
              <a:spcBef>
                <a:spcPts val="1000"/>
              </a:spcBef>
              <a:buClr>
                <a:srgbClr val="0070AD"/>
              </a:buClr>
              <a:buFont typeface="Arial" panose="020B0604020202020204" pitchFamily="34" charset="0"/>
              <a:buChar char="•"/>
              <a:defRPr/>
            </a:pPr>
            <a:r>
              <a:rPr lang="nl-NL" sz="1200" dirty="0"/>
              <a:t>}</a:t>
            </a:r>
            <a:br>
              <a:rPr lang="nl-NL" sz="1200" dirty="0"/>
            </a:br>
            <a:endParaRPr lang="nl-NL" sz="1200" dirty="0"/>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76" name="Text Placeholder 49">
            <a:extLst>
              <a:ext uri="{FF2B5EF4-FFF2-40B4-BE49-F238E27FC236}">
                <a16:creationId xmlns:a16="http://schemas.microsoft.com/office/drawing/2014/main" id="{DF8B7F35-0F7B-446E-8B36-6743367C0AA4}"/>
              </a:ext>
            </a:extLst>
          </p:cNvPr>
          <p:cNvSpPr txBox="1">
            <a:spLocks/>
          </p:cNvSpPr>
          <p:nvPr/>
        </p:nvSpPr>
        <p:spPr>
          <a:xfrm>
            <a:off x="3382248" y="2061815"/>
            <a:ext cx="1359516" cy="436761"/>
          </a:xfrm>
          <a:prstGeom prst="rect">
            <a:avLst/>
          </a:prstGeom>
        </p:spPr>
        <p:txBody>
          <a:bodyPr vert="horz" lIns="91440" tIns="45720" rIns="91440" bIns="45720" rtlCol="0" anchor="ctr">
            <a:noAutofit/>
          </a:bodyPr>
          <a:lstStyle/>
          <a:p>
            <a:pPr lvl="0">
              <a:lnSpc>
                <a:spcPct val="85000"/>
              </a:lnSpc>
              <a:spcBef>
                <a:spcPts val="600"/>
              </a:spcBef>
              <a:defRPr/>
            </a:pPr>
            <a:r>
              <a:rPr lang="en-US" sz="1400" b="1" dirty="0">
                <a:solidFill>
                  <a:schemeClr val="bg1"/>
                </a:solidFill>
              </a:rPr>
              <a:t>Complexity</a:t>
            </a:r>
            <a:endParaRPr kumimoji="0" lang="pt-PT" sz="1400" b="1" i="0" u="none" strike="noStrike" kern="1200" cap="none" spc="0" normalizeH="0" baseline="0" noProof="0" dirty="0">
              <a:ln>
                <a:noFill/>
              </a:ln>
              <a:solidFill>
                <a:schemeClr val="bg1"/>
              </a:solidFill>
              <a:effectLst/>
              <a:uLnTx/>
              <a:uFillTx/>
              <a:latin typeface="+mn-lt"/>
              <a:ea typeface="+mn-ea"/>
              <a:cs typeface="+mn-cs"/>
            </a:endParaRPr>
          </a:p>
        </p:txBody>
      </p:sp>
      <p:sp>
        <p:nvSpPr>
          <p:cNvPr id="51" name="Title 218">
            <a:extLst>
              <a:ext uri="{FF2B5EF4-FFF2-40B4-BE49-F238E27FC236}">
                <a16:creationId xmlns:a16="http://schemas.microsoft.com/office/drawing/2014/main" id="{8910DAA9-77C2-4DF6-AAB0-D06B3146DBB1}"/>
              </a:ext>
            </a:extLst>
          </p:cNvPr>
          <p:cNvSpPr txBox="1">
            <a:spLocks/>
          </p:cNvSpPr>
          <p:nvPr/>
        </p:nvSpPr>
        <p:spPr>
          <a:xfrm>
            <a:off x="442913" y="25400"/>
            <a:ext cx="8577797" cy="822325"/>
          </a:xfrm>
          <a:prstGeom prst="rect">
            <a:avLst/>
          </a:prstGeom>
          <a:gradFill flip="none" rotWithShape="1">
            <a:gsLst>
              <a:gs pos="0">
                <a:schemeClr val="bg1">
                  <a:alpha val="0"/>
                </a:schemeClr>
              </a:gs>
              <a:gs pos="100000">
                <a:schemeClr val="bg1"/>
              </a:gs>
            </a:gsLst>
            <a:lin ang="0" scaled="1"/>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lt1"/>
                </a:solidFill>
                <a:effectLst/>
                <a:uLnTx/>
                <a:uFillTx/>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spcBef>
                <a:spcPts val="300"/>
              </a:spcBef>
              <a:spcAft>
                <a:spcPts val="300"/>
              </a:spcAft>
            </a:pPr>
            <a:r>
              <a:rPr lang="nl-NL" sz="2000" b="1" dirty="0">
                <a:solidFill>
                  <a:schemeClr val="tx2">
                    <a:lumMod val="50000"/>
                  </a:schemeClr>
                </a:solidFill>
              </a:rPr>
              <a:t>API Design</a:t>
            </a:r>
            <a:endParaRPr lang="nl-NL" sz="2000" b="1" dirty="0"/>
          </a:p>
        </p:txBody>
      </p:sp>
      <p:grpSp>
        <p:nvGrpSpPr>
          <p:cNvPr id="104" name="Group 8">
            <a:extLst>
              <a:ext uri="{FF2B5EF4-FFF2-40B4-BE49-F238E27FC236}">
                <a16:creationId xmlns:a16="http://schemas.microsoft.com/office/drawing/2014/main" id="{BFD0517B-27C9-47E8-83E0-4A68EC4C8A2D}"/>
              </a:ext>
            </a:extLst>
          </p:cNvPr>
          <p:cNvGrpSpPr/>
          <p:nvPr/>
        </p:nvGrpSpPr>
        <p:grpSpPr>
          <a:xfrm>
            <a:off x="7497504" y="2009058"/>
            <a:ext cx="557448" cy="499258"/>
            <a:chOff x="6460778" y="5092349"/>
            <a:chExt cx="1114525" cy="1051130"/>
          </a:xfrm>
        </p:grpSpPr>
        <p:sp>
          <p:nvSpPr>
            <p:cNvPr id="105" name="Freeform 7">
              <a:extLst>
                <a:ext uri="{FF2B5EF4-FFF2-40B4-BE49-F238E27FC236}">
                  <a16:creationId xmlns:a16="http://schemas.microsoft.com/office/drawing/2014/main" id="{287FF80A-E27A-4CF1-877F-24F1A1FD5E53}"/>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5">
              <a:extLst>
                <a:ext uri="{FF2B5EF4-FFF2-40B4-BE49-F238E27FC236}">
                  <a16:creationId xmlns:a16="http://schemas.microsoft.com/office/drawing/2014/main" id="{DA471E25-0335-41E0-ACDA-4DFDC7FD29FF}"/>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dirty="0"/>
            </a:p>
          </p:txBody>
        </p:sp>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8D80A-6AD3-4800-A2C7-00CACB568182}"/>
              </a:ext>
            </a:extLst>
          </p:cNvPr>
          <p:cNvSpPr>
            <a:spLocks noGrp="1"/>
          </p:cNvSpPr>
          <p:nvPr>
            <p:ph type="title"/>
          </p:nvPr>
        </p:nvSpPr>
        <p:spPr/>
        <p:txBody>
          <a:bodyPr/>
          <a:lstStyle/>
          <a:p>
            <a:r>
              <a:rPr lang="nl-NL" b="1" dirty="0"/>
              <a:t>Agenda</a:t>
            </a:r>
            <a:endParaRPr lang="nl-NL" dirty="0"/>
          </a:p>
        </p:txBody>
      </p:sp>
      <p:sp>
        <p:nvSpPr>
          <p:cNvPr id="3" name="Rectangle 2">
            <a:extLst>
              <a:ext uri="{FF2B5EF4-FFF2-40B4-BE49-F238E27FC236}">
                <a16:creationId xmlns:a16="http://schemas.microsoft.com/office/drawing/2014/main" id="{41C846D7-1C76-4657-AF3A-EAEE565432A9}"/>
              </a:ext>
            </a:extLst>
          </p:cNvPr>
          <p:cNvSpPr/>
          <p:nvPr/>
        </p:nvSpPr>
        <p:spPr>
          <a:xfrm>
            <a:off x="3297873" y="1862574"/>
            <a:ext cx="1361270" cy="369332"/>
          </a:xfrm>
          <a:prstGeom prst="rect">
            <a:avLst/>
          </a:prstGeom>
        </p:spPr>
        <p:txBody>
          <a:bodyPr wrap="none">
            <a:spAutoFit/>
          </a:bodyPr>
          <a:lstStyle/>
          <a:p>
            <a:pPr marL="285750" indent="-285750">
              <a:buFont typeface="Arial" panose="020B0604020202020204" pitchFamily="34" charset="0"/>
              <a:buChar char="•"/>
            </a:pPr>
            <a:r>
              <a:rPr lang="nl-NL" b="1" dirty="0"/>
              <a:t>Design</a:t>
            </a:r>
            <a:endParaRPr lang="nl-NL" b="1" dirty="0">
              <a:solidFill>
                <a:schemeClr val="tx2">
                  <a:lumMod val="50000"/>
                </a:schemeClr>
              </a:solidFill>
            </a:endParaRPr>
          </a:p>
        </p:txBody>
      </p:sp>
      <p:sp>
        <p:nvSpPr>
          <p:cNvPr id="4" name="Rectangle 3">
            <a:extLst>
              <a:ext uri="{FF2B5EF4-FFF2-40B4-BE49-F238E27FC236}">
                <a16:creationId xmlns:a16="http://schemas.microsoft.com/office/drawing/2014/main" id="{DEE5B597-6618-4996-BE03-61500D0AE34B}"/>
              </a:ext>
            </a:extLst>
          </p:cNvPr>
          <p:cNvSpPr/>
          <p:nvPr/>
        </p:nvSpPr>
        <p:spPr>
          <a:xfrm>
            <a:off x="3297873" y="2461260"/>
            <a:ext cx="1523174"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nl-NL" b="1" dirty="0"/>
              <a:t>Develop</a:t>
            </a:r>
            <a:endParaRPr lang="en-US" b="1" dirty="0">
              <a:solidFill>
                <a:schemeClr val="accent2"/>
              </a:solidFill>
            </a:endParaRPr>
          </a:p>
        </p:txBody>
      </p:sp>
      <p:sp>
        <p:nvSpPr>
          <p:cNvPr id="5" name="Rectangle 4">
            <a:extLst>
              <a:ext uri="{FF2B5EF4-FFF2-40B4-BE49-F238E27FC236}">
                <a16:creationId xmlns:a16="http://schemas.microsoft.com/office/drawing/2014/main" id="{06A55B2D-7129-413F-AF4B-0A14DC8932E2}"/>
              </a:ext>
            </a:extLst>
          </p:cNvPr>
          <p:cNvSpPr/>
          <p:nvPr/>
        </p:nvSpPr>
        <p:spPr>
          <a:xfrm>
            <a:off x="3320315" y="3208678"/>
            <a:ext cx="1361270"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nl-NL" b="1" dirty="0"/>
              <a:t>Secure</a:t>
            </a:r>
            <a:endParaRPr lang="en-US" b="1" dirty="0">
              <a:solidFill>
                <a:schemeClr val="accent2"/>
              </a:solidFill>
            </a:endParaRPr>
          </a:p>
        </p:txBody>
      </p:sp>
      <p:sp>
        <p:nvSpPr>
          <p:cNvPr id="7" name="Rectangle 6">
            <a:extLst>
              <a:ext uri="{FF2B5EF4-FFF2-40B4-BE49-F238E27FC236}">
                <a16:creationId xmlns:a16="http://schemas.microsoft.com/office/drawing/2014/main" id="{5D9D6645-0143-46AB-AA6E-68E7B8903DD3}"/>
              </a:ext>
            </a:extLst>
          </p:cNvPr>
          <p:cNvSpPr/>
          <p:nvPr/>
        </p:nvSpPr>
        <p:spPr>
          <a:xfrm>
            <a:off x="3297873" y="3775273"/>
            <a:ext cx="1523174" cy="555665"/>
          </a:xfrm>
          <a:prstGeom prst="rect">
            <a:avLst/>
          </a:prstGeom>
        </p:spPr>
        <p:txBody>
          <a:bodyPr wrap="square">
            <a:spAutoFit/>
          </a:bodyPr>
          <a:lstStyle/>
          <a:p>
            <a:pPr marL="342900" indent="-342900">
              <a:lnSpc>
                <a:spcPct val="200000"/>
              </a:lnSpc>
              <a:buFont typeface="Arial" panose="020B0604020202020204" pitchFamily="34" charset="0"/>
              <a:buChar char="•"/>
            </a:pPr>
            <a:r>
              <a:rPr lang="nl-NL" b="1" dirty="0"/>
              <a:t>Publish</a:t>
            </a:r>
          </a:p>
        </p:txBody>
      </p:sp>
      <p:sp>
        <p:nvSpPr>
          <p:cNvPr id="8" name="Rectangle 7">
            <a:extLst>
              <a:ext uri="{FF2B5EF4-FFF2-40B4-BE49-F238E27FC236}">
                <a16:creationId xmlns:a16="http://schemas.microsoft.com/office/drawing/2014/main" id="{C9EFACED-7176-4B4F-AC46-AB24219109FB}"/>
              </a:ext>
            </a:extLst>
          </p:cNvPr>
          <p:cNvSpPr/>
          <p:nvPr/>
        </p:nvSpPr>
        <p:spPr>
          <a:xfrm>
            <a:off x="3297873" y="4621056"/>
            <a:ext cx="1159292" cy="369332"/>
          </a:xfrm>
          <a:prstGeom prst="rect">
            <a:avLst/>
          </a:prstGeom>
        </p:spPr>
        <p:txBody>
          <a:bodyPr wrap="none">
            <a:spAutoFit/>
          </a:bodyPr>
          <a:lstStyle/>
          <a:p>
            <a:pPr marL="285750" indent="-285750">
              <a:buFont typeface="Arial" panose="020B0604020202020204" pitchFamily="34" charset="0"/>
              <a:buChar char="•"/>
            </a:pPr>
            <a:r>
              <a:rPr lang="nl-NL" b="1" dirty="0"/>
              <a:t>Scale</a:t>
            </a:r>
            <a:endParaRPr lang="nl-NL" b="1" dirty="0">
              <a:solidFill>
                <a:schemeClr val="accent2"/>
              </a:solidFill>
            </a:endParaRPr>
          </a:p>
        </p:txBody>
      </p:sp>
      <p:sp>
        <p:nvSpPr>
          <p:cNvPr id="9" name="Rectangle 8">
            <a:extLst>
              <a:ext uri="{FF2B5EF4-FFF2-40B4-BE49-F238E27FC236}">
                <a16:creationId xmlns:a16="http://schemas.microsoft.com/office/drawing/2014/main" id="{54BD8A21-92E5-494E-8BD9-504385C99B4F}"/>
              </a:ext>
            </a:extLst>
          </p:cNvPr>
          <p:cNvSpPr/>
          <p:nvPr/>
        </p:nvSpPr>
        <p:spPr>
          <a:xfrm>
            <a:off x="3297873" y="5280506"/>
            <a:ext cx="2879913" cy="651841"/>
          </a:xfrm>
          <a:prstGeom prst="rect">
            <a:avLst/>
          </a:prstGeom>
        </p:spPr>
        <p:txBody>
          <a:bodyPr wrap="square">
            <a:spAutoFit/>
          </a:bodyPr>
          <a:lstStyle/>
          <a:p>
            <a:pPr marL="285750" indent="-285750">
              <a:buFont typeface="Arial" panose="020B0604020202020204" pitchFamily="34" charset="0"/>
              <a:buChar char="•"/>
            </a:pPr>
            <a:r>
              <a:rPr lang="nl-NL" b="1" dirty="0"/>
              <a:t>Monitor &amp; Analyze</a:t>
            </a:r>
          </a:p>
          <a:p>
            <a:pPr marL="285750" indent="-285750">
              <a:buFont typeface="Arial" panose="020B0604020202020204" pitchFamily="34" charset="0"/>
              <a:buChar char="•"/>
            </a:pPr>
            <a:endParaRPr lang="nl-NL" b="1" dirty="0">
              <a:solidFill>
                <a:schemeClr val="accent2"/>
              </a:solidFill>
            </a:endParaRPr>
          </a:p>
        </p:txBody>
      </p:sp>
      <p:sp>
        <p:nvSpPr>
          <p:cNvPr id="10" name="Rectangle 9">
            <a:extLst>
              <a:ext uri="{FF2B5EF4-FFF2-40B4-BE49-F238E27FC236}">
                <a16:creationId xmlns:a16="http://schemas.microsoft.com/office/drawing/2014/main" id="{63009F01-D6E9-4774-8487-27B56211FA84}"/>
              </a:ext>
            </a:extLst>
          </p:cNvPr>
          <p:cNvSpPr/>
          <p:nvPr/>
        </p:nvSpPr>
        <p:spPr>
          <a:xfrm>
            <a:off x="3297873" y="5606426"/>
            <a:ext cx="1630575" cy="555665"/>
          </a:xfrm>
          <a:prstGeom prst="rect">
            <a:avLst/>
          </a:prstGeom>
        </p:spPr>
        <p:txBody>
          <a:bodyPr wrap="none">
            <a:spAutoFit/>
          </a:bodyPr>
          <a:lstStyle/>
          <a:p>
            <a:pPr marL="342900" indent="-342900">
              <a:lnSpc>
                <a:spcPct val="200000"/>
              </a:lnSpc>
              <a:buFont typeface="Arial" panose="020B0604020202020204" pitchFamily="34" charset="0"/>
              <a:buChar char="•"/>
            </a:pPr>
            <a:r>
              <a:rPr lang="nl-NL" b="1" dirty="0"/>
              <a:t>Monitze</a:t>
            </a:r>
            <a:r>
              <a:rPr lang="nl-NL" dirty="0"/>
              <a:t> </a:t>
            </a:r>
          </a:p>
        </p:txBody>
      </p:sp>
      <p:sp>
        <p:nvSpPr>
          <p:cNvPr id="11" name="Rounded Rectangle 7">
            <a:extLst>
              <a:ext uri="{FF2B5EF4-FFF2-40B4-BE49-F238E27FC236}">
                <a16:creationId xmlns:a16="http://schemas.microsoft.com/office/drawing/2014/main" id="{0DBF98E3-DF59-487A-A44E-90E309995122}"/>
              </a:ext>
            </a:extLst>
          </p:cNvPr>
          <p:cNvSpPr/>
          <p:nvPr/>
        </p:nvSpPr>
        <p:spPr bwMode="auto">
          <a:xfrm>
            <a:off x="1781839" y="2426024"/>
            <a:ext cx="7823200" cy="550155"/>
          </a:xfrm>
          <a:prstGeom prst="roundRect">
            <a:avLst>
              <a:gd name="adj" fmla="val 50000"/>
            </a:avLst>
          </a:prstGeom>
          <a:noFill/>
          <a:ln w="28575" cap="flat" cmpd="sng" algn="ctr">
            <a:solidFill>
              <a:schemeClr val="accent2"/>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algn="ctr" defTabSz="685800" eaLnBrk="0" fontAlgn="base" hangingPunct="0">
              <a:spcBef>
                <a:spcPct val="0"/>
              </a:spcBef>
              <a:spcAft>
                <a:spcPct val="0"/>
              </a:spcAft>
            </a:pPr>
            <a:endParaRPr lang="en-US" sz="1400" b="1" dirty="0">
              <a:cs typeface="Arial" charset="0"/>
            </a:endParaRPr>
          </a:p>
        </p:txBody>
      </p:sp>
    </p:spTree>
    <p:extLst>
      <p:ext uri="{BB962C8B-B14F-4D97-AF65-F5344CB8AC3E}">
        <p14:creationId xmlns:p14="http://schemas.microsoft.com/office/powerpoint/2010/main" val="33463070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04953BE-2D5E-4444-898D-5DB1358CCFF3}"/>
              </a:ext>
            </a:extLst>
          </p:cNvPr>
          <p:cNvSpPr>
            <a:spLocks noGrp="1"/>
          </p:cNvSpPr>
          <p:nvPr>
            <p:ph type="title"/>
          </p:nvPr>
        </p:nvSpPr>
        <p:spPr/>
        <p:txBody>
          <a:bodyPr/>
          <a:lstStyle/>
          <a:p>
            <a:r>
              <a:rPr lang="nl-NL" b="1" dirty="0">
                <a:solidFill>
                  <a:schemeClr val="tx2">
                    <a:lumMod val="50000"/>
                  </a:schemeClr>
                </a:solidFill>
              </a:rPr>
              <a:t>Develop</a:t>
            </a:r>
          </a:p>
        </p:txBody>
      </p:sp>
      <p:sp>
        <p:nvSpPr>
          <p:cNvPr id="2" name="Text Placeholder 1">
            <a:extLst>
              <a:ext uri="{FF2B5EF4-FFF2-40B4-BE49-F238E27FC236}">
                <a16:creationId xmlns:a16="http://schemas.microsoft.com/office/drawing/2014/main" id="{F5DDAFE4-23A8-4EBF-BF14-44B8A56523E1}"/>
              </a:ext>
            </a:extLst>
          </p:cNvPr>
          <p:cNvSpPr>
            <a:spLocks noGrp="1"/>
          </p:cNvSpPr>
          <p:nvPr>
            <p:ph type="body" sz="quarter" idx="10"/>
          </p:nvPr>
        </p:nvSpPr>
        <p:spPr/>
        <p:txBody>
          <a:bodyPr/>
          <a:lstStyle/>
          <a:p>
            <a:pPr marL="285750" indent="-285750">
              <a:buFont typeface="Wingdings" panose="05000000000000000000" pitchFamily="2" charset="2"/>
              <a:buChar char="Ø"/>
            </a:pPr>
            <a:r>
              <a:rPr lang="nl-NL" dirty="0"/>
              <a:t>Quota</a:t>
            </a:r>
          </a:p>
          <a:p>
            <a:pPr marL="285750" indent="-285750">
              <a:buFont typeface="Wingdings" panose="05000000000000000000" pitchFamily="2" charset="2"/>
              <a:buChar char="Ø"/>
            </a:pPr>
            <a:r>
              <a:rPr lang="nl-NL" dirty="0"/>
              <a:t>Splike Rest</a:t>
            </a:r>
          </a:p>
          <a:p>
            <a:pPr marL="285750" indent="-285750">
              <a:buFont typeface="Wingdings" panose="05000000000000000000" pitchFamily="2" charset="2"/>
              <a:buChar char="Ø"/>
            </a:pPr>
            <a:r>
              <a:rPr lang="nl-NL" dirty="0"/>
              <a:t>Response cache</a:t>
            </a:r>
          </a:p>
          <a:p>
            <a:pPr marL="285750" indent="-285750">
              <a:buFont typeface="Wingdings" panose="05000000000000000000" pitchFamily="2" charset="2"/>
              <a:buChar char="Ø"/>
            </a:pPr>
            <a:r>
              <a:rPr lang="nl-NL" dirty="0"/>
              <a:t>Lookup cache</a:t>
            </a:r>
          </a:p>
          <a:p>
            <a:pPr marL="285750" indent="-285750">
              <a:buFont typeface="Wingdings" panose="05000000000000000000" pitchFamily="2" charset="2"/>
              <a:buChar char="Ø"/>
            </a:pPr>
            <a:r>
              <a:rPr lang="nl-NL" dirty="0"/>
              <a:t>Populate cache</a:t>
            </a:r>
          </a:p>
          <a:p>
            <a:pPr marL="285750" indent="-285750">
              <a:buFont typeface="Wingdings" panose="05000000000000000000" pitchFamily="2" charset="2"/>
              <a:buChar char="Ø"/>
            </a:pPr>
            <a:r>
              <a:rPr lang="nl-NL" dirty="0"/>
              <a:t>Reset Quota </a:t>
            </a:r>
          </a:p>
          <a:p>
            <a:endParaRPr lang="nl-NL" dirty="0"/>
          </a:p>
        </p:txBody>
      </p:sp>
      <p:sp>
        <p:nvSpPr>
          <p:cNvPr id="3" name="Text Placeholder 2">
            <a:extLst>
              <a:ext uri="{FF2B5EF4-FFF2-40B4-BE49-F238E27FC236}">
                <a16:creationId xmlns:a16="http://schemas.microsoft.com/office/drawing/2014/main" id="{51DD2039-D7FA-4892-8EA6-CBF736CA0500}"/>
              </a:ext>
            </a:extLst>
          </p:cNvPr>
          <p:cNvSpPr>
            <a:spLocks noGrp="1"/>
          </p:cNvSpPr>
          <p:nvPr>
            <p:ph type="body" sz="quarter" idx="11"/>
          </p:nvPr>
        </p:nvSpPr>
        <p:spPr/>
        <p:txBody>
          <a:bodyPr/>
          <a:lstStyle/>
          <a:p>
            <a:r>
              <a:rPr lang="nl-NL" b="1" dirty="0">
                <a:solidFill>
                  <a:schemeClr val="tx2">
                    <a:lumMod val="50000"/>
                  </a:schemeClr>
                </a:solidFill>
              </a:rPr>
              <a:t>Traffic Management </a:t>
            </a:r>
          </a:p>
        </p:txBody>
      </p:sp>
      <p:sp>
        <p:nvSpPr>
          <p:cNvPr id="4" name="Text Placeholder 3">
            <a:extLst>
              <a:ext uri="{FF2B5EF4-FFF2-40B4-BE49-F238E27FC236}">
                <a16:creationId xmlns:a16="http://schemas.microsoft.com/office/drawing/2014/main" id="{D7EFA159-701B-480D-AE38-9DCAE1FC9DBD}"/>
              </a:ext>
            </a:extLst>
          </p:cNvPr>
          <p:cNvSpPr>
            <a:spLocks noGrp="1"/>
          </p:cNvSpPr>
          <p:nvPr>
            <p:ph type="body" sz="quarter" idx="4294967295"/>
          </p:nvPr>
        </p:nvSpPr>
        <p:spPr>
          <a:xfrm>
            <a:off x="6461124" y="1193877"/>
            <a:ext cx="5394325" cy="744537"/>
          </a:xfrm>
        </p:spPr>
        <p:txBody>
          <a:bodyPr/>
          <a:lstStyle/>
          <a:p>
            <a:r>
              <a:rPr lang="nl-NL" b="1" dirty="0">
                <a:solidFill>
                  <a:schemeClr val="tx2">
                    <a:lumMod val="50000"/>
                  </a:schemeClr>
                </a:solidFill>
              </a:rPr>
              <a:t>Mediation</a:t>
            </a:r>
            <a:r>
              <a:rPr lang="nl-NL" dirty="0">
                <a:solidFill>
                  <a:schemeClr val="accent2"/>
                </a:solidFill>
              </a:rPr>
              <a:t> </a:t>
            </a:r>
          </a:p>
        </p:txBody>
      </p:sp>
      <p:sp>
        <p:nvSpPr>
          <p:cNvPr id="6" name="Text Placeholder 5">
            <a:extLst>
              <a:ext uri="{FF2B5EF4-FFF2-40B4-BE49-F238E27FC236}">
                <a16:creationId xmlns:a16="http://schemas.microsoft.com/office/drawing/2014/main" id="{3281CD5D-5672-4FC4-A7B1-8944973EDE10}"/>
              </a:ext>
            </a:extLst>
          </p:cNvPr>
          <p:cNvSpPr>
            <a:spLocks noGrp="1"/>
          </p:cNvSpPr>
          <p:nvPr>
            <p:ph type="body" sz="quarter" idx="4294967295"/>
          </p:nvPr>
        </p:nvSpPr>
        <p:spPr>
          <a:xfrm>
            <a:off x="6797674" y="1885499"/>
            <a:ext cx="5394325" cy="4076700"/>
          </a:xfrm>
        </p:spPr>
        <p:txBody>
          <a:bodyPr/>
          <a:lstStyle/>
          <a:p>
            <a:pPr marL="285750" indent="-285750">
              <a:buFont typeface="Wingdings" panose="05000000000000000000" pitchFamily="2" charset="2"/>
              <a:buChar char="Ø"/>
            </a:pPr>
            <a:r>
              <a:rPr lang="nl-NL" dirty="0"/>
              <a:t>JSON To XML</a:t>
            </a:r>
          </a:p>
          <a:p>
            <a:pPr marL="285750" indent="-285750">
              <a:buFont typeface="Wingdings" panose="05000000000000000000" pitchFamily="2" charset="2"/>
              <a:buChar char="Ø"/>
            </a:pPr>
            <a:r>
              <a:rPr lang="nl-NL" dirty="0"/>
              <a:t>XML to JSON</a:t>
            </a:r>
          </a:p>
          <a:p>
            <a:pPr marL="285750" indent="-285750">
              <a:buFont typeface="Wingdings" panose="05000000000000000000" pitchFamily="2" charset="2"/>
              <a:buChar char="Ø"/>
            </a:pPr>
            <a:r>
              <a:rPr lang="nl-NL" dirty="0"/>
              <a:t>Raise fault</a:t>
            </a:r>
          </a:p>
          <a:p>
            <a:pPr marL="285750" indent="-285750">
              <a:buFont typeface="Wingdings" panose="05000000000000000000" pitchFamily="2" charset="2"/>
              <a:buChar char="Ø"/>
            </a:pPr>
            <a:r>
              <a:rPr lang="nl-NL" dirty="0"/>
              <a:t>XSL Transformation </a:t>
            </a:r>
          </a:p>
          <a:p>
            <a:pPr marL="285750" indent="-285750">
              <a:buFont typeface="Wingdings" panose="05000000000000000000" pitchFamily="2" charset="2"/>
              <a:buChar char="Ø"/>
            </a:pPr>
            <a:r>
              <a:rPr lang="nl-NL" dirty="0"/>
              <a:t>SOAP Message validation </a:t>
            </a:r>
          </a:p>
          <a:p>
            <a:pPr marL="285750" indent="-285750">
              <a:buFont typeface="Wingdings" panose="05000000000000000000" pitchFamily="2" charset="2"/>
              <a:buChar char="Ø"/>
            </a:pPr>
            <a:r>
              <a:rPr lang="nl-NL" dirty="0"/>
              <a:t>Assign message </a:t>
            </a:r>
          </a:p>
          <a:p>
            <a:pPr marL="285750" indent="-285750">
              <a:buFont typeface="Wingdings" panose="05000000000000000000" pitchFamily="2" charset="2"/>
              <a:buChar char="Ø"/>
            </a:pPr>
            <a:r>
              <a:rPr lang="nl-NL" dirty="0"/>
              <a:t>Extract variable </a:t>
            </a:r>
          </a:p>
          <a:p>
            <a:pPr marL="285750" indent="-285750">
              <a:buFont typeface="Wingdings" panose="05000000000000000000" pitchFamily="2" charset="2"/>
              <a:buChar char="Ø"/>
            </a:pPr>
            <a:r>
              <a:rPr lang="nl-NL" dirty="0"/>
              <a:t>Access entity</a:t>
            </a:r>
          </a:p>
          <a:p>
            <a:pPr marL="285750" indent="-285750">
              <a:buFont typeface="Wingdings" panose="05000000000000000000" pitchFamily="2" charset="2"/>
              <a:buChar char="Ø"/>
            </a:pPr>
            <a:r>
              <a:rPr lang="nl-NL" dirty="0"/>
              <a:t>Key Value Map Operation </a:t>
            </a:r>
          </a:p>
        </p:txBody>
      </p:sp>
    </p:spTree>
    <p:extLst>
      <p:ext uri="{BB962C8B-B14F-4D97-AF65-F5344CB8AC3E}">
        <p14:creationId xmlns:p14="http://schemas.microsoft.com/office/powerpoint/2010/main" val="22324390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04953BE-2D5E-4444-898D-5DB1358CCFF3}"/>
              </a:ext>
            </a:extLst>
          </p:cNvPr>
          <p:cNvSpPr>
            <a:spLocks noGrp="1"/>
          </p:cNvSpPr>
          <p:nvPr>
            <p:ph type="title"/>
          </p:nvPr>
        </p:nvSpPr>
        <p:spPr/>
        <p:txBody>
          <a:bodyPr/>
          <a:lstStyle/>
          <a:p>
            <a:r>
              <a:rPr lang="nl-NL" b="1" dirty="0">
                <a:solidFill>
                  <a:schemeClr val="tx2">
                    <a:lumMod val="50000"/>
                  </a:schemeClr>
                </a:solidFill>
              </a:rPr>
              <a:t>Develop</a:t>
            </a:r>
          </a:p>
        </p:txBody>
      </p:sp>
      <p:sp>
        <p:nvSpPr>
          <p:cNvPr id="2" name="Text Placeholder 1">
            <a:extLst>
              <a:ext uri="{FF2B5EF4-FFF2-40B4-BE49-F238E27FC236}">
                <a16:creationId xmlns:a16="http://schemas.microsoft.com/office/drawing/2014/main" id="{F5DDAFE4-23A8-4EBF-BF14-44B8A56523E1}"/>
              </a:ext>
            </a:extLst>
          </p:cNvPr>
          <p:cNvSpPr>
            <a:spLocks noGrp="1"/>
          </p:cNvSpPr>
          <p:nvPr>
            <p:ph type="body" sz="quarter" idx="10"/>
          </p:nvPr>
        </p:nvSpPr>
        <p:spPr>
          <a:xfrm>
            <a:off x="336550" y="1815352"/>
            <a:ext cx="11518900" cy="3894042"/>
          </a:xfrm>
        </p:spPr>
        <p:txBody>
          <a:bodyPr/>
          <a:lstStyle/>
          <a:p>
            <a:pPr marL="285750" indent="-285750">
              <a:buFont typeface="Arial" panose="020B0604020202020204" pitchFamily="34" charset="0"/>
              <a:buChar char="•"/>
            </a:pPr>
            <a:r>
              <a:rPr lang="nl-NL" dirty="0"/>
              <a:t>XML Threat Protection </a:t>
            </a:r>
          </a:p>
          <a:p>
            <a:pPr marL="285750" indent="-285750">
              <a:buFont typeface="Arial" panose="020B0604020202020204" pitchFamily="34" charset="0"/>
              <a:buChar char="•"/>
            </a:pPr>
            <a:r>
              <a:rPr lang="nl-NL" dirty="0"/>
              <a:t>JSON Threat Protection </a:t>
            </a:r>
          </a:p>
          <a:p>
            <a:pPr marL="285750" indent="-285750">
              <a:buFont typeface="Arial" panose="020B0604020202020204" pitchFamily="34" charset="0"/>
              <a:buChar char="•"/>
            </a:pPr>
            <a:r>
              <a:rPr lang="nl-NL" dirty="0"/>
              <a:t>Regular Expression Protection</a:t>
            </a:r>
          </a:p>
          <a:p>
            <a:pPr marL="285750" indent="-285750">
              <a:buFont typeface="Arial" panose="020B0604020202020204" pitchFamily="34" charset="0"/>
              <a:buChar char="•"/>
            </a:pPr>
            <a:r>
              <a:rPr lang="nl-NL" dirty="0"/>
              <a:t>OAuth2.0</a:t>
            </a:r>
          </a:p>
          <a:p>
            <a:pPr marL="285750" indent="-285750">
              <a:buFont typeface="Arial" panose="020B0604020202020204" pitchFamily="34" charset="0"/>
              <a:buChar char="•"/>
            </a:pPr>
            <a:r>
              <a:rPr lang="nl-NL" dirty="0"/>
              <a:t>Get OAuth2.0 info</a:t>
            </a:r>
          </a:p>
          <a:p>
            <a:pPr marL="285750" indent="-285750">
              <a:buFont typeface="Arial" panose="020B0604020202020204" pitchFamily="34" charset="0"/>
              <a:buChar char="•"/>
            </a:pPr>
            <a:r>
              <a:rPr lang="nl-NL" dirty="0"/>
              <a:t>OAuth1.0</a:t>
            </a:r>
          </a:p>
          <a:p>
            <a:pPr marL="285750" indent="-285750">
              <a:buFont typeface="Arial" panose="020B0604020202020204" pitchFamily="34" charset="0"/>
              <a:buChar char="•"/>
            </a:pPr>
            <a:r>
              <a:rPr lang="nl-NL" dirty="0"/>
              <a:t>Verify API key </a:t>
            </a:r>
          </a:p>
          <a:p>
            <a:pPr marL="285750" indent="-285750">
              <a:buFont typeface="Arial" panose="020B0604020202020204" pitchFamily="34" charset="0"/>
              <a:buChar char="•"/>
            </a:pPr>
            <a:r>
              <a:rPr lang="nl-NL" dirty="0"/>
              <a:t>Access control</a:t>
            </a:r>
          </a:p>
          <a:p>
            <a:pPr marL="285750" indent="-285750">
              <a:buFont typeface="Arial" panose="020B0604020202020204" pitchFamily="34" charset="0"/>
              <a:buChar char="•"/>
            </a:pPr>
            <a:r>
              <a:rPr lang="nl-NL" dirty="0"/>
              <a:t>Generate SAML Asseration </a:t>
            </a:r>
          </a:p>
          <a:p>
            <a:pPr marL="285750" indent="-285750">
              <a:buFont typeface="Arial" panose="020B0604020202020204" pitchFamily="34" charset="0"/>
              <a:buChar char="•"/>
            </a:pPr>
            <a:r>
              <a:rPr lang="nl-NL" dirty="0"/>
              <a:t>Validate SAML Asseration </a:t>
            </a:r>
          </a:p>
          <a:p>
            <a:endParaRPr lang="nl-NL" dirty="0"/>
          </a:p>
          <a:p>
            <a:endParaRPr lang="nl-NL" dirty="0"/>
          </a:p>
          <a:p>
            <a:endParaRPr lang="nl-NL" dirty="0"/>
          </a:p>
        </p:txBody>
      </p:sp>
      <p:sp>
        <p:nvSpPr>
          <p:cNvPr id="3" name="Text Placeholder 2">
            <a:extLst>
              <a:ext uri="{FF2B5EF4-FFF2-40B4-BE49-F238E27FC236}">
                <a16:creationId xmlns:a16="http://schemas.microsoft.com/office/drawing/2014/main" id="{51DD2039-D7FA-4892-8EA6-CBF736CA0500}"/>
              </a:ext>
            </a:extLst>
          </p:cNvPr>
          <p:cNvSpPr>
            <a:spLocks noGrp="1"/>
          </p:cNvSpPr>
          <p:nvPr>
            <p:ph type="body" sz="quarter" idx="11"/>
          </p:nvPr>
        </p:nvSpPr>
        <p:spPr>
          <a:xfrm>
            <a:off x="336550" y="1148607"/>
            <a:ext cx="11581129" cy="504056"/>
          </a:xfrm>
        </p:spPr>
        <p:txBody>
          <a:bodyPr/>
          <a:lstStyle/>
          <a:p>
            <a:r>
              <a:rPr lang="nl-NL" b="1" dirty="0">
                <a:solidFill>
                  <a:schemeClr val="tx2">
                    <a:lumMod val="50000"/>
                  </a:schemeClr>
                </a:solidFill>
              </a:rPr>
              <a:t>Security</a:t>
            </a:r>
          </a:p>
        </p:txBody>
      </p:sp>
      <p:sp>
        <p:nvSpPr>
          <p:cNvPr id="4" name="Text Placeholder 3">
            <a:extLst>
              <a:ext uri="{FF2B5EF4-FFF2-40B4-BE49-F238E27FC236}">
                <a16:creationId xmlns:a16="http://schemas.microsoft.com/office/drawing/2014/main" id="{D7EFA159-701B-480D-AE38-9DCAE1FC9DBD}"/>
              </a:ext>
            </a:extLst>
          </p:cNvPr>
          <p:cNvSpPr>
            <a:spLocks noGrp="1"/>
          </p:cNvSpPr>
          <p:nvPr>
            <p:ph type="body" sz="quarter" idx="4294967295"/>
          </p:nvPr>
        </p:nvSpPr>
        <p:spPr>
          <a:xfrm>
            <a:off x="6629400" y="1148607"/>
            <a:ext cx="5394325" cy="744537"/>
          </a:xfrm>
        </p:spPr>
        <p:txBody>
          <a:bodyPr/>
          <a:lstStyle/>
          <a:p>
            <a:r>
              <a:rPr lang="nl-NL" b="1" dirty="0">
                <a:solidFill>
                  <a:schemeClr val="tx2">
                    <a:lumMod val="50000"/>
                  </a:schemeClr>
                </a:solidFill>
              </a:rPr>
              <a:t>Extension</a:t>
            </a:r>
          </a:p>
        </p:txBody>
      </p:sp>
      <p:sp>
        <p:nvSpPr>
          <p:cNvPr id="6" name="Text Placeholder 5">
            <a:extLst>
              <a:ext uri="{FF2B5EF4-FFF2-40B4-BE49-F238E27FC236}">
                <a16:creationId xmlns:a16="http://schemas.microsoft.com/office/drawing/2014/main" id="{3281CD5D-5672-4FC4-A7B1-8944973EDE10}"/>
              </a:ext>
            </a:extLst>
          </p:cNvPr>
          <p:cNvSpPr>
            <a:spLocks noGrp="1"/>
          </p:cNvSpPr>
          <p:nvPr>
            <p:ph type="body" sz="quarter" idx="4294967295"/>
          </p:nvPr>
        </p:nvSpPr>
        <p:spPr>
          <a:xfrm>
            <a:off x="6797675" y="1815351"/>
            <a:ext cx="5394325" cy="4076700"/>
          </a:xfrm>
        </p:spPr>
        <p:txBody>
          <a:bodyPr/>
          <a:lstStyle/>
          <a:p>
            <a:pPr marL="285750" indent="-285750">
              <a:buFont typeface="Arial" panose="020B0604020202020204" pitchFamily="34" charset="0"/>
              <a:buChar char="•"/>
            </a:pPr>
            <a:r>
              <a:rPr lang="nl-NL" dirty="0"/>
              <a:t>Java Callout </a:t>
            </a:r>
          </a:p>
          <a:p>
            <a:pPr marL="285750" indent="-285750">
              <a:buFont typeface="Arial" panose="020B0604020202020204" pitchFamily="34" charset="0"/>
              <a:buChar char="•"/>
            </a:pPr>
            <a:r>
              <a:rPr lang="nl-NL" dirty="0"/>
              <a:t>Python </a:t>
            </a:r>
          </a:p>
          <a:p>
            <a:pPr marL="285750" indent="-285750">
              <a:buFont typeface="Arial" panose="020B0604020202020204" pitchFamily="34" charset="0"/>
              <a:buChar char="•"/>
            </a:pPr>
            <a:r>
              <a:rPr lang="nl-NL" dirty="0"/>
              <a:t>Java script</a:t>
            </a:r>
          </a:p>
          <a:p>
            <a:pPr marL="285750" indent="-285750">
              <a:buFont typeface="Arial" panose="020B0604020202020204" pitchFamily="34" charset="0"/>
              <a:buChar char="•"/>
            </a:pPr>
            <a:r>
              <a:rPr lang="nl-NL" dirty="0"/>
              <a:t>Service call out</a:t>
            </a:r>
          </a:p>
          <a:p>
            <a:pPr marL="285750" indent="-285750">
              <a:buFont typeface="Arial" panose="020B0604020202020204" pitchFamily="34" charset="0"/>
              <a:buChar char="•"/>
            </a:pPr>
            <a:r>
              <a:rPr lang="nl-NL" dirty="0"/>
              <a:t>Statistics collector </a:t>
            </a:r>
          </a:p>
          <a:p>
            <a:pPr marL="285750" indent="-285750">
              <a:buFont typeface="Arial" panose="020B0604020202020204" pitchFamily="34" charset="0"/>
              <a:buChar char="•"/>
            </a:pPr>
            <a:r>
              <a:rPr lang="nl-NL" dirty="0"/>
              <a:t>Message Logging </a:t>
            </a:r>
          </a:p>
        </p:txBody>
      </p:sp>
    </p:spTree>
    <p:extLst>
      <p:ext uri="{BB962C8B-B14F-4D97-AF65-F5344CB8AC3E}">
        <p14:creationId xmlns:p14="http://schemas.microsoft.com/office/powerpoint/2010/main" val="18983454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8D80A-6AD3-4800-A2C7-00CACB568182}"/>
              </a:ext>
            </a:extLst>
          </p:cNvPr>
          <p:cNvSpPr>
            <a:spLocks noGrp="1"/>
          </p:cNvSpPr>
          <p:nvPr>
            <p:ph type="title"/>
          </p:nvPr>
        </p:nvSpPr>
        <p:spPr/>
        <p:txBody>
          <a:bodyPr/>
          <a:lstStyle/>
          <a:p>
            <a:r>
              <a:rPr lang="nl-NL" b="1" dirty="0"/>
              <a:t>Agenda</a:t>
            </a:r>
            <a:endParaRPr lang="nl-NL" dirty="0"/>
          </a:p>
        </p:txBody>
      </p:sp>
      <p:sp>
        <p:nvSpPr>
          <p:cNvPr id="3" name="Rectangle 2">
            <a:extLst>
              <a:ext uri="{FF2B5EF4-FFF2-40B4-BE49-F238E27FC236}">
                <a16:creationId xmlns:a16="http://schemas.microsoft.com/office/drawing/2014/main" id="{41C846D7-1C76-4657-AF3A-EAEE565432A9}"/>
              </a:ext>
            </a:extLst>
          </p:cNvPr>
          <p:cNvSpPr/>
          <p:nvPr/>
        </p:nvSpPr>
        <p:spPr>
          <a:xfrm>
            <a:off x="3297873" y="1862574"/>
            <a:ext cx="1361270" cy="369332"/>
          </a:xfrm>
          <a:prstGeom prst="rect">
            <a:avLst/>
          </a:prstGeom>
        </p:spPr>
        <p:txBody>
          <a:bodyPr wrap="none">
            <a:spAutoFit/>
          </a:bodyPr>
          <a:lstStyle/>
          <a:p>
            <a:pPr marL="285750" indent="-285750">
              <a:buFont typeface="Arial" panose="020B0604020202020204" pitchFamily="34" charset="0"/>
              <a:buChar char="•"/>
            </a:pPr>
            <a:r>
              <a:rPr lang="nl-NL" b="1" dirty="0"/>
              <a:t>Design</a:t>
            </a:r>
            <a:endParaRPr lang="nl-NL" b="1" dirty="0">
              <a:solidFill>
                <a:schemeClr val="tx2">
                  <a:lumMod val="50000"/>
                </a:schemeClr>
              </a:solidFill>
            </a:endParaRPr>
          </a:p>
        </p:txBody>
      </p:sp>
      <p:sp>
        <p:nvSpPr>
          <p:cNvPr id="4" name="Rectangle 3">
            <a:extLst>
              <a:ext uri="{FF2B5EF4-FFF2-40B4-BE49-F238E27FC236}">
                <a16:creationId xmlns:a16="http://schemas.microsoft.com/office/drawing/2014/main" id="{DEE5B597-6618-4996-BE03-61500D0AE34B}"/>
              </a:ext>
            </a:extLst>
          </p:cNvPr>
          <p:cNvSpPr/>
          <p:nvPr/>
        </p:nvSpPr>
        <p:spPr>
          <a:xfrm>
            <a:off x="3297873" y="2461260"/>
            <a:ext cx="1523174"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nl-NL" b="1" dirty="0"/>
              <a:t>Develop</a:t>
            </a:r>
            <a:endParaRPr lang="en-US" b="1" dirty="0">
              <a:solidFill>
                <a:schemeClr val="accent2"/>
              </a:solidFill>
            </a:endParaRPr>
          </a:p>
        </p:txBody>
      </p:sp>
      <p:sp>
        <p:nvSpPr>
          <p:cNvPr id="5" name="Rectangle 4">
            <a:extLst>
              <a:ext uri="{FF2B5EF4-FFF2-40B4-BE49-F238E27FC236}">
                <a16:creationId xmlns:a16="http://schemas.microsoft.com/office/drawing/2014/main" id="{06A55B2D-7129-413F-AF4B-0A14DC8932E2}"/>
              </a:ext>
            </a:extLst>
          </p:cNvPr>
          <p:cNvSpPr/>
          <p:nvPr/>
        </p:nvSpPr>
        <p:spPr>
          <a:xfrm>
            <a:off x="3320315" y="3208678"/>
            <a:ext cx="1361270"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nl-NL" b="1" dirty="0"/>
              <a:t>Secure</a:t>
            </a:r>
            <a:endParaRPr lang="en-US" b="1" dirty="0">
              <a:solidFill>
                <a:schemeClr val="accent2"/>
              </a:solidFill>
            </a:endParaRPr>
          </a:p>
        </p:txBody>
      </p:sp>
      <p:sp>
        <p:nvSpPr>
          <p:cNvPr id="7" name="Rectangle 6">
            <a:extLst>
              <a:ext uri="{FF2B5EF4-FFF2-40B4-BE49-F238E27FC236}">
                <a16:creationId xmlns:a16="http://schemas.microsoft.com/office/drawing/2014/main" id="{5D9D6645-0143-46AB-AA6E-68E7B8903DD3}"/>
              </a:ext>
            </a:extLst>
          </p:cNvPr>
          <p:cNvSpPr/>
          <p:nvPr/>
        </p:nvSpPr>
        <p:spPr>
          <a:xfrm>
            <a:off x="3334743" y="3769763"/>
            <a:ext cx="1486304" cy="555665"/>
          </a:xfrm>
          <a:prstGeom prst="rect">
            <a:avLst/>
          </a:prstGeom>
        </p:spPr>
        <p:txBody>
          <a:bodyPr wrap="none">
            <a:spAutoFit/>
          </a:bodyPr>
          <a:lstStyle/>
          <a:p>
            <a:pPr marL="342900" indent="-342900">
              <a:lnSpc>
                <a:spcPct val="200000"/>
              </a:lnSpc>
              <a:buFont typeface="Arial" panose="020B0604020202020204" pitchFamily="34" charset="0"/>
              <a:buChar char="•"/>
            </a:pPr>
            <a:r>
              <a:rPr lang="nl-NL" b="1" dirty="0"/>
              <a:t>Publish</a:t>
            </a:r>
          </a:p>
        </p:txBody>
      </p:sp>
      <p:sp>
        <p:nvSpPr>
          <p:cNvPr id="8" name="Rectangle 7">
            <a:extLst>
              <a:ext uri="{FF2B5EF4-FFF2-40B4-BE49-F238E27FC236}">
                <a16:creationId xmlns:a16="http://schemas.microsoft.com/office/drawing/2014/main" id="{C9EFACED-7176-4B4F-AC46-AB24219109FB}"/>
              </a:ext>
            </a:extLst>
          </p:cNvPr>
          <p:cNvSpPr/>
          <p:nvPr/>
        </p:nvSpPr>
        <p:spPr>
          <a:xfrm>
            <a:off x="3297873" y="4621056"/>
            <a:ext cx="1159292" cy="369332"/>
          </a:xfrm>
          <a:prstGeom prst="rect">
            <a:avLst/>
          </a:prstGeom>
        </p:spPr>
        <p:txBody>
          <a:bodyPr wrap="none">
            <a:spAutoFit/>
          </a:bodyPr>
          <a:lstStyle/>
          <a:p>
            <a:pPr marL="285750" indent="-285750">
              <a:buFont typeface="Arial" panose="020B0604020202020204" pitchFamily="34" charset="0"/>
              <a:buChar char="•"/>
            </a:pPr>
            <a:r>
              <a:rPr lang="nl-NL" b="1" dirty="0"/>
              <a:t>Scale</a:t>
            </a:r>
            <a:endParaRPr lang="nl-NL" b="1" dirty="0">
              <a:solidFill>
                <a:schemeClr val="accent2"/>
              </a:solidFill>
            </a:endParaRPr>
          </a:p>
        </p:txBody>
      </p:sp>
      <p:sp>
        <p:nvSpPr>
          <p:cNvPr id="9" name="Rectangle 8">
            <a:extLst>
              <a:ext uri="{FF2B5EF4-FFF2-40B4-BE49-F238E27FC236}">
                <a16:creationId xmlns:a16="http://schemas.microsoft.com/office/drawing/2014/main" id="{54BD8A21-92E5-494E-8BD9-504385C99B4F}"/>
              </a:ext>
            </a:extLst>
          </p:cNvPr>
          <p:cNvSpPr/>
          <p:nvPr/>
        </p:nvSpPr>
        <p:spPr>
          <a:xfrm>
            <a:off x="3328929" y="5286016"/>
            <a:ext cx="2848857" cy="646331"/>
          </a:xfrm>
          <a:prstGeom prst="rect">
            <a:avLst/>
          </a:prstGeom>
        </p:spPr>
        <p:txBody>
          <a:bodyPr wrap="none">
            <a:spAutoFit/>
          </a:bodyPr>
          <a:lstStyle/>
          <a:p>
            <a:pPr marL="285750" indent="-285750">
              <a:buFont typeface="Arial" panose="020B0604020202020204" pitchFamily="34" charset="0"/>
              <a:buChar char="•"/>
            </a:pPr>
            <a:r>
              <a:rPr lang="nl-NL" b="1" dirty="0"/>
              <a:t>Monitor &amp; Analyze</a:t>
            </a:r>
          </a:p>
          <a:p>
            <a:pPr marL="285750" indent="-285750">
              <a:buFont typeface="Arial" panose="020B0604020202020204" pitchFamily="34" charset="0"/>
              <a:buChar char="•"/>
            </a:pPr>
            <a:endParaRPr lang="nl-NL" b="1" dirty="0">
              <a:solidFill>
                <a:schemeClr val="accent2"/>
              </a:solidFill>
            </a:endParaRPr>
          </a:p>
        </p:txBody>
      </p:sp>
      <p:sp>
        <p:nvSpPr>
          <p:cNvPr id="10" name="Rectangle 9">
            <a:extLst>
              <a:ext uri="{FF2B5EF4-FFF2-40B4-BE49-F238E27FC236}">
                <a16:creationId xmlns:a16="http://schemas.microsoft.com/office/drawing/2014/main" id="{63009F01-D6E9-4774-8487-27B56211FA84}"/>
              </a:ext>
            </a:extLst>
          </p:cNvPr>
          <p:cNvSpPr/>
          <p:nvPr/>
        </p:nvSpPr>
        <p:spPr>
          <a:xfrm>
            <a:off x="3328929" y="5609181"/>
            <a:ext cx="1630575" cy="555665"/>
          </a:xfrm>
          <a:prstGeom prst="rect">
            <a:avLst/>
          </a:prstGeom>
        </p:spPr>
        <p:txBody>
          <a:bodyPr wrap="none">
            <a:spAutoFit/>
          </a:bodyPr>
          <a:lstStyle/>
          <a:p>
            <a:pPr marL="342900" indent="-342900">
              <a:lnSpc>
                <a:spcPct val="200000"/>
              </a:lnSpc>
              <a:buFont typeface="Arial" panose="020B0604020202020204" pitchFamily="34" charset="0"/>
              <a:buChar char="•"/>
            </a:pPr>
            <a:r>
              <a:rPr lang="nl-NL" b="1" dirty="0"/>
              <a:t>Monitze</a:t>
            </a:r>
            <a:r>
              <a:rPr lang="nl-NL" dirty="0"/>
              <a:t> </a:t>
            </a:r>
          </a:p>
        </p:txBody>
      </p:sp>
      <p:sp>
        <p:nvSpPr>
          <p:cNvPr id="11" name="Rounded Rectangle 7">
            <a:extLst>
              <a:ext uri="{FF2B5EF4-FFF2-40B4-BE49-F238E27FC236}">
                <a16:creationId xmlns:a16="http://schemas.microsoft.com/office/drawing/2014/main" id="{0DBF98E3-DF59-487A-A44E-90E309995122}"/>
              </a:ext>
            </a:extLst>
          </p:cNvPr>
          <p:cNvSpPr/>
          <p:nvPr/>
        </p:nvSpPr>
        <p:spPr bwMode="auto">
          <a:xfrm>
            <a:off x="1709920" y="3226925"/>
            <a:ext cx="7823200" cy="550155"/>
          </a:xfrm>
          <a:prstGeom prst="roundRect">
            <a:avLst>
              <a:gd name="adj" fmla="val 50000"/>
            </a:avLst>
          </a:prstGeom>
          <a:noFill/>
          <a:ln w="28575" cap="flat" cmpd="sng" algn="ctr">
            <a:solidFill>
              <a:schemeClr val="accent2"/>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algn="ctr" defTabSz="685800" eaLnBrk="0" fontAlgn="base" hangingPunct="0">
              <a:spcBef>
                <a:spcPct val="0"/>
              </a:spcBef>
              <a:spcAft>
                <a:spcPct val="0"/>
              </a:spcAft>
            </a:pPr>
            <a:endParaRPr lang="en-US" sz="1400" b="1" dirty="0">
              <a:cs typeface="Arial" charset="0"/>
            </a:endParaRPr>
          </a:p>
        </p:txBody>
      </p:sp>
    </p:spTree>
    <p:extLst>
      <p:ext uri="{BB962C8B-B14F-4D97-AF65-F5344CB8AC3E}">
        <p14:creationId xmlns:p14="http://schemas.microsoft.com/office/powerpoint/2010/main" val="32594290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474B19DB-969C-4F00-A145-82B1EB9BEFDF}"/>
              </a:ext>
            </a:extLst>
          </p:cNvPr>
          <p:cNvGraphicFramePr/>
          <p:nvPr>
            <p:extLst>
              <p:ext uri="{D42A27DB-BD31-4B8C-83A1-F6EECF244321}">
                <p14:modId xmlns:p14="http://schemas.microsoft.com/office/powerpoint/2010/main" val="3697099506"/>
              </p:ext>
            </p:extLst>
          </p:nvPr>
        </p:nvGraphicFramePr>
        <p:xfrm>
          <a:off x="336550" y="1645920"/>
          <a:ext cx="11518900" cy="46356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a:extLst>
              <a:ext uri="{FF2B5EF4-FFF2-40B4-BE49-F238E27FC236}">
                <a16:creationId xmlns:a16="http://schemas.microsoft.com/office/drawing/2014/main" id="{82677995-E54E-4A63-9CC6-38F219692EF6}"/>
              </a:ext>
            </a:extLst>
          </p:cNvPr>
          <p:cNvSpPr>
            <a:spLocks noGrp="1"/>
          </p:cNvSpPr>
          <p:nvPr>
            <p:ph type="title"/>
          </p:nvPr>
        </p:nvSpPr>
        <p:spPr/>
        <p:txBody>
          <a:bodyPr/>
          <a:lstStyle/>
          <a:p>
            <a:r>
              <a:rPr lang="nl-NL" b="1" dirty="0">
                <a:solidFill>
                  <a:schemeClr val="tx2">
                    <a:lumMod val="50000"/>
                  </a:schemeClr>
                </a:solidFill>
              </a:rPr>
              <a:t>Security in Digital Value chain </a:t>
            </a:r>
          </a:p>
        </p:txBody>
      </p:sp>
    </p:spTree>
    <p:extLst>
      <p:ext uri="{BB962C8B-B14F-4D97-AF65-F5344CB8AC3E}">
        <p14:creationId xmlns:p14="http://schemas.microsoft.com/office/powerpoint/2010/main" val="25703164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8D80A-6AD3-4800-A2C7-00CACB568182}"/>
              </a:ext>
            </a:extLst>
          </p:cNvPr>
          <p:cNvSpPr>
            <a:spLocks noGrp="1"/>
          </p:cNvSpPr>
          <p:nvPr>
            <p:ph type="title"/>
          </p:nvPr>
        </p:nvSpPr>
        <p:spPr/>
        <p:txBody>
          <a:bodyPr/>
          <a:lstStyle/>
          <a:p>
            <a:r>
              <a:rPr lang="nl-NL" b="1" dirty="0"/>
              <a:t>Agenda</a:t>
            </a:r>
            <a:endParaRPr lang="nl-NL" dirty="0"/>
          </a:p>
        </p:txBody>
      </p:sp>
      <p:sp>
        <p:nvSpPr>
          <p:cNvPr id="3" name="Rectangle 2">
            <a:extLst>
              <a:ext uri="{FF2B5EF4-FFF2-40B4-BE49-F238E27FC236}">
                <a16:creationId xmlns:a16="http://schemas.microsoft.com/office/drawing/2014/main" id="{41C846D7-1C76-4657-AF3A-EAEE565432A9}"/>
              </a:ext>
            </a:extLst>
          </p:cNvPr>
          <p:cNvSpPr/>
          <p:nvPr/>
        </p:nvSpPr>
        <p:spPr>
          <a:xfrm>
            <a:off x="3297873" y="1862574"/>
            <a:ext cx="5971507" cy="369332"/>
          </a:xfrm>
          <a:prstGeom prst="rect">
            <a:avLst/>
          </a:prstGeom>
        </p:spPr>
        <p:txBody>
          <a:bodyPr wrap="none">
            <a:spAutoFit/>
          </a:bodyPr>
          <a:lstStyle/>
          <a:p>
            <a:pPr marL="285750" indent="-285750">
              <a:buFont typeface="Arial" panose="020B0604020202020204" pitchFamily="34" charset="0"/>
              <a:buChar char="•"/>
            </a:pPr>
            <a:r>
              <a:rPr lang="en-US" b="1" dirty="0">
                <a:solidFill>
                  <a:schemeClr val="tx2">
                    <a:lumMod val="50000"/>
                  </a:schemeClr>
                </a:solidFill>
              </a:rPr>
              <a:t>Digital Transformation and Power of API’s</a:t>
            </a:r>
            <a:endParaRPr lang="nl-NL" b="1" dirty="0">
              <a:solidFill>
                <a:schemeClr val="tx2">
                  <a:lumMod val="50000"/>
                </a:schemeClr>
              </a:solidFill>
            </a:endParaRPr>
          </a:p>
        </p:txBody>
      </p:sp>
      <p:sp>
        <p:nvSpPr>
          <p:cNvPr id="4" name="Rectangle 3">
            <a:extLst>
              <a:ext uri="{FF2B5EF4-FFF2-40B4-BE49-F238E27FC236}">
                <a16:creationId xmlns:a16="http://schemas.microsoft.com/office/drawing/2014/main" id="{DEE5B597-6618-4996-BE03-61500D0AE34B}"/>
              </a:ext>
            </a:extLst>
          </p:cNvPr>
          <p:cNvSpPr/>
          <p:nvPr/>
        </p:nvSpPr>
        <p:spPr>
          <a:xfrm>
            <a:off x="3297873" y="2461260"/>
            <a:ext cx="5150769"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en-US" b="1" dirty="0">
                <a:solidFill>
                  <a:schemeClr val="tx2">
                    <a:lumMod val="50000"/>
                  </a:schemeClr>
                </a:solidFill>
              </a:rPr>
              <a:t>API Management Platform - </a:t>
            </a:r>
            <a:r>
              <a:rPr lang="en-GB" b="1" dirty="0">
                <a:solidFill>
                  <a:schemeClr val="tx2">
                    <a:lumMod val="50000"/>
                  </a:schemeClr>
                </a:solidFill>
              </a:rPr>
              <a:t>APIGEE</a:t>
            </a:r>
            <a:endParaRPr lang="en-US" b="1" dirty="0">
              <a:solidFill>
                <a:schemeClr val="accent2"/>
              </a:solidFill>
            </a:endParaRPr>
          </a:p>
        </p:txBody>
      </p:sp>
      <p:sp>
        <p:nvSpPr>
          <p:cNvPr id="5" name="Rectangle 4">
            <a:extLst>
              <a:ext uri="{FF2B5EF4-FFF2-40B4-BE49-F238E27FC236}">
                <a16:creationId xmlns:a16="http://schemas.microsoft.com/office/drawing/2014/main" id="{06A55B2D-7129-413F-AF4B-0A14DC8932E2}"/>
              </a:ext>
            </a:extLst>
          </p:cNvPr>
          <p:cNvSpPr/>
          <p:nvPr/>
        </p:nvSpPr>
        <p:spPr>
          <a:xfrm>
            <a:off x="3320315" y="3208678"/>
            <a:ext cx="4461478"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en-US" b="1" dirty="0">
                <a:solidFill>
                  <a:schemeClr val="tx2">
                    <a:lumMod val="50000"/>
                  </a:schemeClr>
                </a:solidFill>
              </a:rPr>
              <a:t>APIGEE Product and Offerings </a:t>
            </a:r>
            <a:endParaRPr lang="en-US" b="1" dirty="0">
              <a:solidFill>
                <a:schemeClr val="accent2"/>
              </a:solidFill>
            </a:endParaRPr>
          </a:p>
        </p:txBody>
      </p:sp>
      <p:sp>
        <p:nvSpPr>
          <p:cNvPr id="7" name="Rectangle 6">
            <a:extLst>
              <a:ext uri="{FF2B5EF4-FFF2-40B4-BE49-F238E27FC236}">
                <a16:creationId xmlns:a16="http://schemas.microsoft.com/office/drawing/2014/main" id="{5D9D6645-0143-46AB-AA6E-68E7B8903DD3}"/>
              </a:ext>
            </a:extLst>
          </p:cNvPr>
          <p:cNvSpPr/>
          <p:nvPr/>
        </p:nvSpPr>
        <p:spPr>
          <a:xfrm>
            <a:off x="3328929" y="3956096"/>
            <a:ext cx="5832046" cy="369332"/>
          </a:xfrm>
          <a:prstGeom prst="rect">
            <a:avLst/>
          </a:prstGeom>
        </p:spPr>
        <p:txBody>
          <a:bodyPr wrap="none">
            <a:spAutoFit/>
          </a:bodyPr>
          <a:lstStyle/>
          <a:p>
            <a:pPr marL="285750" indent="-285750">
              <a:buFont typeface="Arial" panose="020B0604020202020204" pitchFamily="34" charset="0"/>
              <a:buChar char="•"/>
            </a:pPr>
            <a:r>
              <a:rPr lang="en-US" b="1" dirty="0">
                <a:solidFill>
                  <a:schemeClr val="tx2">
                    <a:lumMod val="50000"/>
                  </a:schemeClr>
                </a:solidFill>
              </a:rPr>
              <a:t>API Components and Deployment Models</a:t>
            </a:r>
            <a:endParaRPr lang="nl-NL" b="1" dirty="0">
              <a:solidFill>
                <a:schemeClr val="tx2">
                  <a:lumMod val="50000"/>
                </a:schemeClr>
              </a:solidFill>
            </a:endParaRPr>
          </a:p>
        </p:txBody>
      </p:sp>
      <p:sp>
        <p:nvSpPr>
          <p:cNvPr id="9" name="Rectangle 8">
            <a:extLst>
              <a:ext uri="{FF2B5EF4-FFF2-40B4-BE49-F238E27FC236}">
                <a16:creationId xmlns:a16="http://schemas.microsoft.com/office/drawing/2014/main" id="{54BD8A21-92E5-494E-8BD9-504385C99B4F}"/>
              </a:ext>
            </a:extLst>
          </p:cNvPr>
          <p:cNvSpPr/>
          <p:nvPr/>
        </p:nvSpPr>
        <p:spPr>
          <a:xfrm>
            <a:off x="3328929" y="4652613"/>
            <a:ext cx="2170787" cy="369332"/>
          </a:xfrm>
          <a:prstGeom prst="rect">
            <a:avLst/>
          </a:prstGeom>
        </p:spPr>
        <p:txBody>
          <a:bodyPr wrap="none">
            <a:spAutoFit/>
          </a:bodyPr>
          <a:lstStyle/>
          <a:p>
            <a:pPr marL="285750" indent="-285750">
              <a:buFont typeface="Arial" panose="020B0604020202020204" pitchFamily="34" charset="0"/>
              <a:buChar char="•"/>
            </a:pPr>
            <a:r>
              <a:rPr lang="en-US" b="1" dirty="0">
                <a:solidFill>
                  <a:schemeClr val="tx2">
                    <a:lumMod val="50000"/>
                  </a:schemeClr>
                </a:solidFill>
              </a:rPr>
              <a:t>API lifecycle </a:t>
            </a:r>
            <a:endParaRPr lang="nl-NL" b="1" dirty="0">
              <a:solidFill>
                <a:schemeClr val="tx2">
                  <a:lumMod val="50000"/>
                </a:schemeClr>
              </a:solidFill>
            </a:endParaRPr>
          </a:p>
        </p:txBody>
      </p:sp>
      <p:sp>
        <p:nvSpPr>
          <p:cNvPr id="10" name="Rectangle 9">
            <a:extLst>
              <a:ext uri="{FF2B5EF4-FFF2-40B4-BE49-F238E27FC236}">
                <a16:creationId xmlns:a16="http://schemas.microsoft.com/office/drawing/2014/main" id="{63009F01-D6E9-4774-8487-27B56211FA84}"/>
              </a:ext>
            </a:extLst>
          </p:cNvPr>
          <p:cNvSpPr/>
          <p:nvPr/>
        </p:nvSpPr>
        <p:spPr>
          <a:xfrm>
            <a:off x="3297873" y="5199992"/>
            <a:ext cx="4044697" cy="369332"/>
          </a:xfrm>
          <a:prstGeom prst="rect">
            <a:avLst/>
          </a:prstGeom>
        </p:spPr>
        <p:txBody>
          <a:bodyPr wrap="none">
            <a:spAutoFit/>
          </a:bodyPr>
          <a:lstStyle/>
          <a:p>
            <a:pPr marL="285750" indent="-285750">
              <a:buFont typeface="Arial" panose="020B0604020202020204" pitchFamily="34" charset="0"/>
              <a:buChar char="•"/>
            </a:pPr>
            <a:r>
              <a:rPr lang="en-US" b="1" dirty="0">
                <a:solidFill>
                  <a:schemeClr val="tx2">
                    <a:lumMod val="50000"/>
                  </a:schemeClr>
                </a:solidFill>
              </a:rPr>
              <a:t>Demo : </a:t>
            </a:r>
            <a:r>
              <a:rPr lang="nl-NL" b="1" dirty="0">
                <a:solidFill>
                  <a:schemeClr val="tx2">
                    <a:lumMod val="50000"/>
                  </a:schemeClr>
                </a:solidFill>
              </a:rPr>
              <a:t>Real Time Use case </a:t>
            </a:r>
          </a:p>
        </p:txBody>
      </p:sp>
    </p:spTree>
    <p:extLst>
      <p:ext uri="{BB962C8B-B14F-4D97-AF65-F5344CB8AC3E}">
        <p14:creationId xmlns:p14="http://schemas.microsoft.com/office/powerpoint/2010/main" val="672964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anim calcmode="lin" valueType="num">
                                      <p:cBhvr additive="base">
                                        <p:cTn id="13"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
                                            <p:txEl>
                                              <p:pRg st="0" end="0"/>
                                            </p:txEl>
                                          </p:spTgt>
                                        </p:tgtEl>
                                        <p:attrNameLst>
                                          <p:attrName>style.visibility</p:attrName>
                                        </p:attrNameLst>
                                      </p:cBhvr>
                                      <p:to>
                                        <p:strVal val="visible"/>
                                      </p:to>
                                    </p:set>
                                    <p:anim calcmode="lin" valueType="num">
                                      <p:cBhvr additive="base">
                                        <p:cTn id="19"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
                                            <p:txEl>
                                              <p:pRg st="0" end="0"/>
                                            </p:txEl>
                                          </p:spTgt>
                                        </p:tgtEl>
                                        <p:attrNameLst>
                                          <p:attrName>style.visibility</p:attrName>
                                        </p:attrNameLst>
                                      </p:cBhvr>
                                      <p:to>
                                        <p:strVal val="visible"/>
                                      </p:to>
                                    </p:set>
                                    <p:anim calcmode="lin" valueType="num">
                                      <p:cBhvr additive="base">
                                        <p:cTn id="25"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9">
                                            <p:txEl>
                                              <p:pRg st="0" end="0"/>
                                            </p:txEl>
                                          </p:spTgt>
                                        </p:tgtEl>
                                        <p:attrNameLst>
                                          <p:attrName>style.visibility</p:attrName>
                                        </p:attrNameLst>
                                      </p:cBhvr>
                                      <p:to>
                                        <p:strVal val="visible"/>
                                      </p:to>
                                    </p:set>
                                    <p:anim calcmode="lin" valueType="num">
                                      <p:cBhvr additive="base">
                                        <p:cTn id="31"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9">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10">
                                            <p:txEl>
                                              <p:pRg st="0" end="0"/>
                                            </p:txEl>
                                          </p:spTgt>
                                        </p:tgtEl>
                                        <p:attrNameLst>
                                          <p:attrName>style.visibility</p:attrName>
                                        </p:attrNameLst>
                                      </p:cBhvr>
                                      <p:to>
                                        <p:strVal val="visible"/>
                                      </p:to>
                                    </p:set>
                                    <p:anim calcmode="lin" valueType="num">
                                      <p:cBhvr additive="base">
                                        <p:cTn id="37" dur="500" fill="hold"/>
                                        <p:tgtEl>
                                          <p:spTgt spid="10">
                                            <p:txEl>
                                              <p:pRg st="0" end="0"/>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10">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8D80A-6AD3-4800-A2C7-00CACB568182}"/>
              </a:ext>
            </a:extLst>
          </p:cNvPr>
          <p:cNvSpPr>
            <a:spLocks noGrp="1"/>
          </p:cNvSpPr>
          <p:nvPr>
            <p:ph type="title"/>
          </p:nvPr>
        </p:nvSpPr>
        <p:spPr/>
        <p:txBody>
          <a:bodyPr/>
          <a:lstStyle/>
          <a:p>
            <a:r>
              <a:rPr lang="nl-NL" b="1" dirty="0"/>
              <a:t>Agenda</a:t>
            </a:r>
            <a:endParaRPr lang="nl-NL" dirty="0"/>
          </a:p>
        </p:txBody>
      </p:sp>
      <p:sp>
        <p:nvSpPr>
          <p:cNvPr id="3" name="Rectangle 2">
            <a:extLst>
              <a:ext uri="{FF2B5EF4-FFF2-40B4-BE49-F238E27FC236}">
                <a16:creationId xmlns:a16="http://schemas.microsoft.com/office/drawing/2014/main" id="{41C846D7-1C76-4657-AF3A-EAEE565432A9}"/>
              </a:ext>
            </a:extLst>
          </p:cNvPr>
          <p:cNvSpPr/>
          <p:nvPr/>
        </p:nvSpPr>
        <p:spPr>
          <a:xfrm>
            <a:off x="3297873" y="1862574"/>
            <a:ext cx="1361270" cy="369332"/>
          </a:xfrm>
          <a:prstGeom prst="rect">
            <a:avLst/>
          </a:prstGeom>
        </p:spPr>
        <p:txBody>
          <a:bodyPr wrap="none">
            <a:spAutoFit/>
          </a:bodyPr>
          <a:lstStyle/>
          <a:p>
            <a:pPr marL="285750" indent="-285750">
              <a:buFont typeface="Arial" panose="020B0604020202020204" pitchFamily="34" charset="0"/>
              <a:buChar char="•"/>
            </a:pPr>
            <a:r>
              <a:rPr lang="nl-NL" b="1" dirty="0"/>
              <a:t>Design</a:t>
            </a:r>
            <a:endParaRPr lang="nl-NL" b="1" dirty="0">
              <a:solidFill>
                <a:schemeClr val="tx2">
                  <a:lumMod val="50000"/>
                </a:schemeClr>
              </a:solidFill>
            </a:endParaRPr>
          </a:p>
        </p:txBody>
      </p:sp>
      <p:sp>
        <p:nvSpPr>
          <p:cNvPr id="4" name="Rectangle 3">
            <a:extLst>
              <a:ext uri="{FF2B5EF4-FFF2-40B4-BE49-F238E27FC236}">
                <a16:creationId xmlns:a16="http://schemas.microsoft.com/office/drawing/2014/main" id="{DEE5B597-6618-4996-BE03-61500D0AE34B}"/>
              </a:ext>
            </a:extLst>
          </p:cNvPr>
          <p:cNvSpPr/>
          <p:nvPr/>
        </p:nvSpPr>
        <p:spPr>
          <a:xfrm>
            <a:off x="3297873" y="2461260"/>
            <a:ext cx="1523174"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nl-NL" b="1" dirty="0"/>
              <a:t>Develop</a:t>
            </a:r>
            <a:endParaRPr lang="en-US" b="1" dirty="0">
              <a:solidFill>
                <a:schemeClr val="accent2"/>
              </a:solidFill>
            </a:endParaRPr>
          </a:p>
        </p:txBody>
      </p:sp>
      <p:sp>
        <p:nvSpPr>
          <p:cNvPr id="5" name="Rectangle 4">
            <a:extLst>
              <a:ext uri="{FF2B5EF4-FFF2-40B4-BE49-F238E27FC236}">
                <a16:creationId xmlns:a16="http://schemas.microsoft.com/office/drawing/2014/main" id="{06A55B2D-7129-413F-AF4B-0A14DC8932E2}"/>
              </a:ext>
            </a:extLst>
          </p:cNvPr>
          <p:cNvSpPr/>
          <p:nvPr/>
        </p:nvSpPr>
        <p:spPr>
          <a:xfrm>
            <a:off x="3320315" y="3208678"/>
            <a:ext cx="1361270"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nl-NL" b="1" dirty="0"/>
              <a:t>Secure</a:t>
            </a:r>
            <a:endParaRPr lang="en-US" b="1" dirty="0">
              <a:solidFill>
                <a:schemeClr val="accent2"/>
              </a:solidFill>
            </a:endParaRPr>
          </a:p>
        </p:txBody>
      </p:sp>
      <p:sp>
        <p:nvSpPr>
          <p:cNvPr id="7" name="Rectangle 6">
            <a:extLst>
              <a:ext uri="{FF2B5EF4-FFF2-40B4-BE49-F238E27FC236}">
                <a16:creationId xmlns:a16="http://schemas.microsoft.com/office/drawing/2014/main" id="{5D9D6645-0143-46AB-AA6E-68E7B8903DD3}"/>
              </a:ext>
            </a:extLst>
          </p:cNvPr>
          <p:cNvSpPr/>
          <p:nvPr/>
        </p:nvSpPr>
        <p:spPr>
          <a:xfrm>
            <a:off x="3334743" y="3769763"/>
            <a:ext cx="1486304" cy="555665"/>
          </a:xfrm>
          <a:prstGeom prst="rect">
            <a:avLst/>
          </a:prstGeom>
        </p:spPr>
        <p:txBody>
          <a:bodyPr wrap="none">
            <a:spAutoFit/>
          </a:bodyPr>
          <a:lstStyle/>
          <a:p>
            <a:pPr marL="342900" indent="-342900">
              <a:lnSpc>
                <a:spcPct val="200000"/>
              </a:lnSpc>
              <a:buFont typeface="Arial" panose="020B0604020202020204" pitchFamily="34" charset="0"/>
              <a:buChar char="•"/>
            </a:pPr>
            <a:r>
              <a:rPr lang="nl-NL" b="1" dirty="0"/>
              <a:t>Publish</a:t>
            </a:r>
          </a:p>
        </p:txBody>
      </p:sp>
      <p:sp>
        <p:nvSpPr>
          <p:cNvPr id="8" name="Rectangle 7">
            <a:extLst>
              <a:ext uri="{FF2B5EF4-FFF2-40B4-BE49-F238E27FC236}">
                <a16:creationId xmlns:a16="http://schemas.microsoft.com/office/drawing/2014/main" id="{C9EFACED-7176-4B4F-AC46-AB24219109FB}"/>
              </a:ext>
            </a:extLst>
          </p:cNvPr>
          <p:cNvSpPr/>
          <p:nvPr/>
        </p:nvSpPr>
        <p:spPr>
          <a:xfrm>
            <a:off x="3297873" y="4621056"/>
            <a:ext cx="1159292" cy="369332"/>
          </a:xfrm>
          <a:prstGeom prst="rect">
            <a:avLst/>
          </a:prstGeom>
        </p:spPr>
        <p:txBody>
          <a:bodyPr wrap="none">
            <a:spAutoFit/>
          </a:bodyPr>
          <a:lstStyle/>
          <a:p>
            <a:pPr marL="285750" indent="-285750">
              <a:buFont typeface="Arial" panose="020B0604020202020204" pitchFamily="34" charset="0"/>
              <a:buChar char="•"/>
            </a:pPr>
            <a:r>
              <a:rPr lang="nl-NL" b="1" dirty="0"/>
              <a:t>Scale</a:t>
            </a:r>
            <a:endParaRPr lang="nl-NL" b="1" dirty="0">
              <a:solidFill>
                <a:schemeClr val="accent2"/>
              </a:solidFill>
            </a:endParaRPr>
          </a:p>
        </p:txBody>
      </p:sp>
      <p:sp>
        <p:nvSpPr>
          <p:cNvPr id="9" name="Rectangle 8">
            <a:extLst>
              <a:ext uri="{FF2B5EF4-FFF2-40B4-BE49-F238E27FC236}">
                <a16:creationId xmlns:a16="http://schemas.microsoft.com/office/drawing/2014/main" id="{54BD8A21-92E5-494E-8BD9-504385C99B4F}"/>
              </a:ext>
            </a:extLst>
          </p:cNvPr>
          <p:cNvSpPr/>
          <p:nvPr/>
        </p:nvSpPr>
        <p:spPr>
          <a:xfrm>
            <a:off x="3328929" y="5286016"/>
            <a:ext cx="2848857" cy="646331"/>
          </a:xfrm>
          <a:prstGeom prst="rect">
            <a:avLst/>
          </a:prstGeom>
        </p:spPr>
        <p:txBody>
          <a:bodyPr wrap="none">
            <a:spAutoFit/>
          </a:bodyPr>
          <a:lstStyle/>
          <a:p>
            <a:pPr marL="285750" indent="-285750">
              <a:buFont typeface="Arial" panose="020B0604020202020204" pitchFamily="34" charset="0"/>
              <a:buChar char="•"/>
            </a:pPr>
            <a:r>
              <a:rPr lang="nl-NL" b="1" dirty="0"/>
              <a:t>Monitor &amp; Analyze</a:t>
            </a:r>
          </a:p>
          <a:p>
            <a:pPr marL="285750" indent="-285750">
              <a:buFont typeface="Arial" panose="020B0604020202020204" pitchFamily="34" charset="0"/>
              <a:buChar char="•"/>
            </a:pPr>
            <a:endParaRPr lang="nl-NL" b="1" dirty="0">
              <a:solidFill>
                <a:schemeClr val="accent2"/>
              </a:solidFill>
            </a:endParaRPr>
          </a:p>
        </p:txBody>
      </p:sp>
      <p:sp>
        <p:nvSpPr>
          <p:cNvPr id="10" name="Rectangle 9">
            <a:extLst>
              <a:ext uri="{FF2B5EF4-FFF2-40B4-BE49-F238E27FC236}">
                <a16:creationId xmlns:a16="http://schemas.microsoft.com/office/drawing/2014/main" id="{63009F01-D6E9-4774-8487-27B56211FA84}"/>
              </a:ext>
            </a:extLst>
          </p:cNvPr>
          <p:cNvSpPr/>
          <p:nvPr/>
        </p:nvSpPr>
        <p:spPr>
          <a:xfrm>
            <a:off x="3328929" y="5609181"/>
            <a:ext cx="1630575" cy="555665"/>
          </a:xfrm>
          <a:prstGeom prst="rect">
            <a:avLst/>
          </a:prstGeom>
        </p:spPr>
        <p:txBody>
          <a:bodyPr wrap="none">
            <a:spAutoFit/>
          </a:bodyPr>
          <a:lstStyle/>
          <a:p>
            <a:pPr marL="342900" indent="-342900">
              <a:lnSpc>
                <a:spcPct val="200000"/>
              </a:lnSpc>
              <a:buFont typeface="Arial" panose="020B0604020202020204" pitchFamily="34" charset="0"/>
              <a:buChar char="•"/>
            </a:pPr>
            <a:r>
              <a:rPr lang="nl-NL" b="1" dirty="0"/>
              <a:t>Monitze</a:t>
            </a:r>
            <a:r>
              <a:rPr lang="nl-NL" dirty="0"/>
              <a:t> </a:t>
            </a:r>
          </a:p>
        </p:txBody>
      </p:sp>
      <p:sp>
        <p:nvSpPr>
          <p:cNvPr id="11" name="Rounded Rectangle 7">
            <a:extLst>
              <a:ext uri="{FF2B5EF4-FFF2-40B4-BE49-F238E27FC236}">
                <a16:creationId xmlns:a16="http://schemas.microsoft.com/office/drawing/2014/main" id="{0DBF98E3-DF59-487A-A44E-90E309995122}"/>
              </a:ext>
            </a:extLst>
          </p:cNvPr>
          <p:cNvSpPr/>
          <p:nvPr/>
        </p:nvSpPr>
        <p:spPr bwMode="auto">
          <a:xfrm>
            <a:off x="1730468" y="3865684"/>
            <a:ext cx="7823200" cy="550155"/>
          </a:xfrm>
          <a:prstGeom prst="roundRect">
            <a:avLst>
              <a:gd name="adj" fmla="val 50000"/>
            </a:avLst>
          </a:prstGeom>
          <a:noFill/>
          <a:ln w="28575" cap="flat" cmpd="sng" algn="ctr">
            <a:solidFill>
              <a:schemeClr val="accent2"/>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algn="ctr" defTabSz="685800" eaLnBrk="0" fontAlgn="base" hangingPunct="0">
              <a:spcBef>
                <a:spcPct val="0"/>
              </a:spcBef>
              <a:spcAft>
                <a:spcPct val="0"/>
              </a:spcAft>
            </a:pPr>
            <a:endParaRPr lang="en-US" sz="1400" b="1" dirty="0">
              <a:cs typeface="Arial" charset="0"/>
            </a:endParaRPr>
          </a:p>
        </p:txBody>
      </p:sp>
    </p:spTree>
    <p:extLst>
      <p:ext uri="{BB962C8B-B14F-4D97-AF65-F5344CB8AC3E}">
        <p14:creationId xmlns:p14="http://schemas.microsoft.com/office/powerpoint/2010/main" val="12065694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845FF-ABF7-44AD-98FC-7434D01A4A6B}"/>
              </a:ext>
            </a:extLst>
          </p:cNvPr>
          <p:cNvSpPr>
            <a:spLocks noGrp="1"/>
          </p:cNvSpPr>
          <p:nvPr>
            <p:ph type="title"/>
          </p:nvPr>
        </p:nvSpPr>
        <p:spPr/>
        <p:txBody>
          <a:bodyPr/>
          <a:lstStyle/>
          <a:p>
            <a:r>
              <a:rPr lang="nl-NL" b="1" dirty="0">
                <a:solidFill>
                  <a:schemeClr val="tx2">
                    <a:lumMod val="50000"/>
                  </a:schemeClr>
                </a:solidFill>
              </a:rPr>
              <a:t>Publish – Developer portal </a:t>
            </a:r>
          </a:p>
        </p:txBody>
      </p:sp>
      <p:graphicFrame>
        <p:nvGraphicFramePr>
          <p:cNvPr id="13" name="Diagram 12">
            <a:extLst>
              <a:ext uri="{FF2B5EF4-FFF2-40B4-BE49-F238E27FC236}">
                <a16:creationId xmlns:a16="http://schemas.microsoft.com/office/drawing/2014/main" id="{740D9641-A7E1-4C5C-859F-5020CA250C84}"/>
              </a:ext>
            </a:extLst>
          </p:cNvPr>
          <p:cNvGraphicFramePr/>
          <p:nvPr/>
        </p:nvGraphicFramePr>
        <p:xfrm>
          <a:off x="336550" y="1316183"/>
          <a:ext cx="3307196" cy="51677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Content Placeholder 6" descr="A screenshot of a cell phone&#10;&#10;Description automatically generated">
            <a:extLst>
              <a:ext uri="{FF2B5EF4-FFF2-40B4-BE49-F238E27FC236}">
                <a16:creationId xmlns:a16="http://schemas.microsoft.com/office/drawing/2014/main" id="{EB7C73C6-6FA1-4215-B7D1-DD5B47029224}"/>
              </a:ext>
            </a:extLst>
          </p:cNvPr>
          <p:cNvPicPr>
            <a:picLocks noGrp="1" noChangeAspect="1"/>
          </p:cNvPicPr>
          <p:nvPr>
            <p:ph idx="1"/>
          </p:nvPr>
        </p:nvPicPr>
        <p:blipFill>
          <a:blip r:embed="rId7">
            <a:extLst>
              <a:ext uri="{28A0092B-C50C-407E-A947-70E740481C1C}">
                <a14:useLocalDpi xmlns:a14="http://schemas.microsoft.com/office/drawing/2010/main" val="0"/>
              </a:ext>
            </a:extLst>
          </a:blip>
          <a:stretch>
            <a:fillRect/>
          </a:stretch>
        </p:blipFill>
        <p:spPr>
          <a:xfrm>
            <a:off x="3816466" y="1316183"/>
            <a:ext cx="7813118" cy="4897438"/>
          </a:xfrm>
        </p:spPr>
      </p:pic>
    </p:spTree>
    <p:extLst>
      <p:ext uri="{BB962C8B-B14F-4D97-AF65-F5344CB8AC3E}">
        <p14:creationId xmlns:p14="http://schemas.microsoft.com/office/powerpoint/2010/main" val="2858617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8D80A-6AD3-4800-A2C7-00CACB568182}"/>
              </a:ext>
            </a:extLst>
          </p:cNvPr>
          <p:cNvSpPr>
            <a:spLocks noGrp="1"/>
          </p:cNvSpPr>
          <p:nvPr>
            <p:ph type="title"/>
          </p:nvPr>
        </p:nvSpPr>
        <p:spPr/>
        <p:txBody>
          <a:bodyPr/>
          <a:lstStyle/>
          <a:p>
            <a:r>
              <a:rPr lang="nl-NL" b="1" dirty="0"/>
              <a:t>Agenda</a:t>
            </a:r>
            <a:endParaRPr lang="nl-NL" dirty="0"/>
          </a:p>
        </p:txBody>
      </p:sp>
      <p:sp>
        <p:nvSpPr>
          <p:cNvPr id="3" name="Rectangle 2">
            <a:extLst>
              <a:ext uri="{FF2B5EF4-FFF2-40B4-BE49-F238E27FC236}">
                <a16:creationId xmlns:a16="http://schemas.microsoft.com/office/drawing/2014/main" id="{41C846D7-1C76-4657-AF3A-EAEE565432A9}"/>
              </a:ext>
            </a:extLst>
          </p:cNvPr>
          <p:cNvSpPr/>
          <p:nvPr/>
        </p:nvSpPr>
        <p:spPr>
          <a:xfrm>
            <a:off x="3297873" y="1862574"/>
            <a:ext cx="1361270" cy="369332"/>
          </a:xfrm>
          <a:prstGeom prst="rect">
            <a:avLst/>
          </a:prstGeom>
        </p:spPr>
        <p:txBody>
          <a:bodyPr wrap="none">
            <a:spAutoFit/>
          </a:bodyPr>
          <a:lstStyle/>
          <a:p>
            <a:pPr marL="285750" indent="-285750">
              <a:buFont typeface="Arial" panose="020B0604020202020204" pitchFamily="34" charset="0"/>
              <a:buChar char="•"/>
            </a:pPr>
            <a:r>
              <a:rPr lang="nl-NL" b="1" dirty="0"/>
              <a:t>Design</a:t>
            </a:r>
            <a:endParaRPr lang="nl-NL" b="1" dirty="0">
              <a:solidFill>
                <a:schemeClr val="tx2">
                  <a:lumMod val="50000"/>
                </a:schemeClr>
              </a:solidFill>
            </a:endParaRPr>
          </a:p>
        </p:txBody>
      </p:sp>
      <p:sp>
        <p:nvSpPr>
          <p:cNvPr id="4" name="Rectangle 3">
            <a:extLst>
              <a:ext uri="{FF2B5EF4-FFF2-40B4-BE49-F238E27FC236}">
                <a16:creationId xmlns:a16="http://schemas.microsoft.com/office/drawing/2014/main" id="{DEE5B597-6618-4996-BE03-61500D0AE34B}"/>
              </a:ext>
            </a:extLst>
          </p:cNvPr>
          <p:cNvSpPr/>
          <p:nvPr/>
        </p:nvSpPr>
        <p:spPr>
          <a:xfrm>
            <a:off x="3297873" y="2461260"/>
            <a:ext cx="1523174"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nl-NL" b="1" dirty="0"/>
              <a:t>Develop</a:t>
            </a:r>
            <a:endParaRPr lang="en-US" b="1" dirty="0">
              <a:solidFill>
                <a:schemeClr val="accent2"/>
              </a:solidFill>
            </a:endParaRPr>
          </a:p>
        </p:txBody>
      </p:sp>
      <p:sp>
        <p:nvSpPr>
          <p:cNvPr id="5" name="Rectangle 4">
            <a:extLst>
              <a:ext uri="{FF2B5EF4-FFF2-40B4-BE49-F238E27FC236}">
                <a16:creationId xmlns:a16="http://schemas.microsoft.com/office/drawing/2014/main" id="{06A55B2D-7129-413F-AF4B-0A14DC8932E2}"/>
              </a:ext>
            </a:extLst>
          </p:cNvPr>
          <p:cNvSpPr/>
          <p:nvPr/>
        </p:nvSpPr>
        <p:spPr>
          <a:xfrm>
            <a:off x="3320315" y="3208678"/>
            <a:ext cx="1361270"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nl-NL" b="1" dirty="0"/>
              <a:t>Secure</a:t>
            </a:r>
            <a:endParaRPr lang="en-US" b="1" dirty="0">
              <a:solidFill>
                <a:schemeClr val="accent2"/>
              </a:solidFill>
            </a:endParaRPr>
          </a:p>
        </p:txBody>
      </p:sp>
      <p:sp>
        <p:nvSpPr>
          <p:cNvPr id="7" name="Rectangle 6">
            <a:extLst>
              <a:ext uri="{FF2B5EF4-FFF2-40B4-BE49-F238E27FC236}">
                <a16:creationId xmlns:a16="http://schemas.microsoft.com/office/drawing/2014/main" id="{5D9D6645-0143-46AB-AA6E-68E7B8903DD3}"/>
              </a:ext>
            </a:extLst>
          </p:cNvPr>
          <p:cNvSpPr/>
          <p:nvPr/>
        </p:nvSpPr>
        <p:spPr>
          <a:xfrm>
            <a:off x="3334743" y="3769763"/>
            <a:ext cx="1486304" cy="555665"/>
          </a:xfrm>
          <a:prstGeom prst="rect">
            <a:avLst/>
          </a:prstGeom>
        </p:spPr>
        <p:txBody>
          <a:bodyPr wrap="none">
            <a:spAutoFit/>
          </a:bodyPr>
          <a:lstStyle/>
          <a:p>
            <a:pPr marL="342900" indent="-342900">
              <a:lnSpc>
                <a:spcPct val="200000"/>
              </a:lnSpc>
              <a:buFont typeface="Arial" panose="020B0604020202020204" pitchFamily="34" charset="0"/>
              <a:buChar char="•"/>
            </a:pPr>
            <a:r>
              <a:rPr lang="nl-NL" b="1" dirty="0"/>
              <a:t>Publish</a:t>
            </a:r>
          </a:p>
        </p:txBody>
      </p:sp>
      <p:sp>
        <p:nvSpPr>
          <p:cNvPr id="8" name="Rectangle 7">
            <a:extLst>
              <a:ext uri="{FF2B5EF4-FFF2-40B4-BE49-F238E27FC236}">
                <a16:creationId xmlns:a16="http://schemas.microsoft.com/office/drawing/2014/main" id="{C9EFACED-7176-4B4F-AC46-AB24219109FB}"/>
              </a:ext>
            </a:extLst>
          </p:cNvPr>
          <p:cNvSpPr/>
          <p:nvPr/>
        </p:nvSpPr>
        <p:spPr>
          <a:xfrm>
            <a:off x="3328929" y="4626761"/>
            <a:ext cx="1159292" cy="369332"/>
          </a:xfrm>
          <a:prstGeom prst="rect">
            <a:avLst/>
          </a:prstGeom>
        </p:spPr>
        <p:txBody>
          <a:bodyPr wrap="none">
            <a:spAutoFit/>
          </a:bodyPr>
          <a:lstStyle/>
          <a:p>
            <a:pPr marL="285750" indent="-285750">
              <a:buFont typeface="Arial" panose="020B0604020202020204" pitchFamily="34" charset="0"/>
              <a:buChar char="•"/>
            </a:pPr>
            <a:r>
              <a:rPr lang="nl-NL" b="1" dirty="0"/>
              <a:t>Scale</a:t>
            </a:r>
            <a:endParaRPr lang="nl-NL" b="1" dirty="0">
              <a:solidFill>
                <a:schemeClr val="accent2"/>
              </a:solidFill>
            </a:endParaRPr>
          </a:p>
        </p:txBody>
      </p:sp>
      <p:sp>
        <p:nvSpPr>
          <p:cNvPr id="9" name="Rectangle 8">
            <a:extLst>
              <a:ext uri="{FF2B5EF4-FFF2-40B4-BE49-F238E27FC236}">
                <a16:creationId xmlns:a16="http://schemas.microsoft.com/office/drawing/2014/main" id="{54BD8A21-92E5-494E-8BD9-504385C99B4F}"/>
              </a:ext>
            </a:extLst>
          </p:cNvPr>
          <p:cNvSpPr/>
          <p:nvPr/>
        </p:nvSpPr>
        <p:spPr>
          <a:xfrm>
            <a:off x="3328929" y="5286016"/>
            <a:ext cx="3498073" cy="369332"/>
          </a:xfrm>
          <a:prstGeom prst="rect">
            <a:avLst/>
          </a:prstGeom>
        </p:spPr>
        <p:txBody>
          <a:bodyPr wrap="none">
            <a:spAutoFit/>
          </a:bodyPr>
          <a:lstStyle/>
          <a:p>
            <a:pPr marL="285750" indent="-285750">
              <a:buFont typeface="Arial" panose="020B0604020202020204" pitchFamily="34" charset="0"/>
              <a:buChar char="•"/>
            </a:pPr>
            <a:r>
              <a:rPr lang="nl-NL" b="1" dirty="0"/>
              <a:t>Monitoring &amp; Analytics </a:t>
            </a:r>
            <a:endParaRPr lang="nl-NL" b="1" dirty="0">
              <a:solidFill>
                <a:schemeClr val="accent2"/>
              </a:solidFill>
            </a:endParaRPr>
          </a:p>
        </p:txBody>
      </p:sp>
      <p:sp>
        <p:nvSpPr>
          <p:cNvPr id="10" name="Rectangle 9">
            <a:extLst>
              <a:ext uri="{FF2B5EF4-FFF2-40B4-BE49-F238E27FC236}">
                <a16:creationId xmlns:a16="http://schemas.microsoft.com/office/drawing/2014/main" id="{63009F01-D6E9-4774-8487-27B56211FA84}"/>
              </a:ext>
            </a:extLst>
          </p:cNvPr>
          <p:cNvSpPr/>
          <p:nvPr/>
        </p:nvSpPr>
        <p:spPr>
          <a:xfrm>
            <a:off x="3328929" y="5609181"/>
            <a:ext cx="1630575" cy="555665"/>
          </a:xfrm>
          <a:prstGeom prst="rect">
            <a:avLst/>
          </a:prstGeom>
        </p:spPr>
        <p:txBody>
          <a:bodyPr wrap="none">
            <a:spAutoFit/>
          </a:bodyPr>
          <a:lstStyle/>
          <a:p>
            <a:pPr marL="342900" indent="-342900">
              <a:lnSpc>
                <a:spcPct val="200000"/>
              </a:lnSpc>
              <a:buFont typeface="Arial" panose="020B0604020202020204" pitchFamily="34" charset="0"/>
              <a:buChar char="•"/>
            </a:pPr>
            <a:r>
              <a:rPr lang="nl-NL" b="1" dirty="0"/>
              <a:t>Monitze</a:t>
            </a:r>
            <a:r>
              <a:rPr lang="nl-NL" dirty="0"/>
              <a:t> </a:t>
            </a:r>
          </a:p>
        </p:txBody>
      </p:sp>
      <p:sp>
        <p:nvSpPr>
          <p:cNvPr id="11" name="Rounded Rectangle 7">
            <a:extLst>
              <a:ext uri="{FF2B5EF4-FFF2-40B4-BE49-F238E27FC236}">
                <a16:creationId xmlns:a16="http://schemas.microsoft.com/office/drawing/2014/main" id="{0DBF98E3-DF59-487A-A44E-90E309995122}"/>
              </a:ext>
            </a:extLst>
          </p:cNvPr>
          <p:cNvSpPr/>
          <p:nvPr/>
        </p:nvSpPr>
        <p:spPr bwMode="auto">
          <a:xfrm>
            <a:off x="1712366" y="5182141"/>
            <a:ext cx="7823200" cy="550155"/>
          </a:xfrm>
          <a:prstGeom prst="roundRect">
            <a:avLst>
              <a:gd name="adj" fmla="val 50000"/>
            </a:avLst>
          </a:prstGeom>
          <a:noFill/>
          <a:ln w="28575" cap="flat" cmpd="sng" algn="ctr">
            <a:solidFill>
              <a:schemeClr val="accent2"/>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algn="ctr" defTabSz="685800" eaLnBrk="0" fontAlgn="base" hangingPunct="0">
              <a:spcBef>
                <a:spcPct val="0"/>
              </a:spcBef>
              <a:spcAft>
                <a:spcPct val="0"/>
              </a:spcAft>
            </a:pPr>
            <a:endParaRPr lang="en-US" sz="1400" b="1" dirty="0">
              <a:cs typeface="Arial" charset="0"/>
            </a:endParaRPr>
          </a:p>
        </p:txBody>
      </p:sp>
    </p:spTree>
    <p:extLst>
      <p:ext uri="{BB962C8B-B14F-4D97-AF65-F5344CB8AC3E}">
        <p14:creationId xmlns:p14="http://schemas.microsoft.com/office/powerpoint/2010/main" val="41426074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4741" name="think-cell Slide" r:id="rId4" imgW="270" imgH="270" progId="TCLayout.ActiveDocument.1">
                  <p:embed/>
                </p:oleObj>
              </mc:Choice>
              <mc:Fallback>
                <p:oleObj name="think-cell Slide" r:id="rId4" imgW="270" imgH="270" progId="TCLayout.ActiveDocument.1">
                  <p:embed/>
                  <p:pic>
                    <p:nvPicPr>
                      <p:cNvPr id="63" name="Object 6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2" y="2372497"/>
            <a:ext cx="2327133" cy="31324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Rectangle 60"/>
          <p:cNvSpPr/>
          <p:nvPr/>
        </p:nvSpPr>
        <p:spPr>
          <a:xfrm>
            <a:off x="3629366" y="2372497"/>
            <a:ext cx="2460467" cy="31324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tangle 61"/>
          <p:cNvSpPr/>
          <p:nvPr/>
        </p:nvSpPr>
        <p:spPr>
          <a:xfrm>
            <a:off x="6698415" y="2489851"/>
            <a:ext cx="2221875" cy="304377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4"/>
          <p:cNvSpPr>
            <a:spLocks noGrp="1"/>
          </p:cNvSpPr>
          <p:nvPr>
            <p:ph type="title"/>
          </p:nvPr>
        </p:nvSpPr>
        <p:spPr>
          <a:xfrm>
            <a:off x="227349" y="0"/>
            <a:ext cx="11125236" cy="1104900"/>
          </a:xfrm>
        </p:spPr>
        <p:txBody>
          <a:bodyPr/>
          <a:lstStyle/>
          <a:p>
            <a:r>
              <a:rPr lang="nl-NL" b="1" dirty="0"/>
              <a:t>Monitoring</a:t>
            </a:r>
            <a:endParaRPr lang="en-GB" dirty="0"/>
          </a:p>
        </p:txBody>
      </p:sp>
      <p:sp>
        <p:nvSpPr>
          <p:cNvPr id="65" name="Text Placeholder 9">
            <a:extLst>
              <a:ext uri="{FF2B5EF4-FFF2-40B4-BE49-F238E27FC236}">
                <a16:creationId xmlns:a16="http://schemas.microsoft.com/office/drawing/2014/main" id="{7FB3716E-9382-4C5B-89D8-7D3D309649B1}"/>
              </a:ext>
            </a:extLst>
          </p:cNvPr>
          <p:cNvSpPr txBox="1">
            <a:spLocks/>
          </p:cNvSpPr>
          <p:nvPr/>
        </p:nvSpPr>
        <p:spPr>
          <a:xfrm>
            <a:off x="862790" y="2948971"/>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Dev App Issue </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6" name="Text Placeholder 10">
            <a:extLst>
              <a:ext uri="{FF2B5EF4-FFF2-40B4-BE49-F238E27FC236}">
                <a16:creationId xmlns:a16="http://schemas.microsoft.com/office/drawing/2014/main" id="{E2F5E3C3-8C95-4F9C-8370-0A1C87237CA8}"/>
              </a:ext>
            </a:extLst>
          </p:cNvPr>
          <p:cNvSpPr txBox="1">
            <a:spLocks/>
          </p:cNvSpPr>
          <p:nvPr/>
        </p:nvSpPr>
        <p:spPr>
          <a:xfrm>
            <a:off x="862792" y="3709289"/>
            <a:ext cx="2011100" cy="716545"/>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Traffic Drops/Spikes</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crease error rates</a:t>
            </a:r>
          </a:p>
        </p:txBody>
      </p:sp>
      <p:sp>
        <p:nvSpPr>
          <p:cNvPr id="67" name="Text Placeholder 9">
            <a:extLst>
              <a:ext uri="{FF2B5EF4-FFF2-40B4-BE49-F238E27FC236}">
                <a16:creationId xmlns:a16="http://schemas.microsoft.com/office/drawing/2014/main" id="{7FB3716E-9382-4C5B-89D8-7D3D309649B1}"/>
              </a:ext>
            </a:extLst>
          </p:cNvPr>
          <p:cNvSpPr txBox="1">
            <a:spLocks/>
          </p:cNvSpPr>
          <p:nvPr/>
        </p:nvSpPr>
        <p:spPr>
          <a:xfrm>
            <a:off x="3741887" y="3116124"/>
            <a:ext cx="224515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chemeClr val="accent4"/>
                </a:solidFill>
                <a:latin typeface="Verdana" panose="020B0604030504040204" pitchFamily="34" charset="0"/>
                <a:ea typeface="Verdana" panose="020B0604030504040204" pitchFamily="34" charset="0"/>
                <a:cs typeface="Verdana" panose="020B0604030504040204" pitchFamily="34" charset="0"/>
              </a:rPr>
              <a:t>Proxy and Policiy issue </a:t>
            </a:r>
            <a:endPar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8" name="Text Placeholder 10">
            <a:extLst>
              <a:ext uri="{FF2B5EF4-FFF2-40B4-BE49-F238E27FC236}">
                <a16:creationId xmlns:a16="http://schemas.microsoft.com/office/drawing/2014/main" id="{E2F5E3C3-8C95-4F9C-8370-0A1C87237CA8}"/>
              </a:ext>
            </a:extLst>
          </p:cNvPr>
          <p:cNvSpPr txBox="1">
            <a:spLocks/>
          </p:cNvSpPr>
          <p:nvPr/>
        </p:nvSpPr>
        <p:spPr>
          <a:xfrm>
            <a:off x="3838546" y="3793757"/>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Proxy Error</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Latencies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Proxy callout Error </a:t>
            </a:r>
          </a:p>
          <a:p>
            <a:pPr lvl="1">
              <a:spcBef>
                <a:spcPts val="200"/>
              </a:spcBef>
              <a:buClr>
                <a:schemeClr val="accent1"/>
              </a:buCl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Faults</a:t>
            </a:r>
          </a:p>
        </p:txBody>
      </p:sp>
      <p:sp>
        <p:nvSpPr>
          <p:cNvPr id="69" name="Text Placeholder 9">
            <a:extLst>
              <a:ext uri="{FF2B5EF4-FFF2-40B4-BE49-F238E27FC236}">
                <a16:creationId xmlns:a16="http://schemas.microsoft.com/office/drawing/2014/main" id="{7FB3716E-9382-4C5B-89D8-7D3D309649B1}"/>
              </a:ext>
            </a:extLst>
          </p:cNvPr>
          <p:cNvSpPr txBox="1">
            <a:spLocks/>
          </p:cNvSpPr>
          <p:nvPr/>
        </p:nvSpPr>
        <p:spPr>
          <a:xfrm>
            <a:off x="6813529" y="3025031"/>
            <a:ext cx="199164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B050"/>
                </a:solidFill>
                <a:latin typeface="Verdana" panose="020B0604030504040204" pitchFamily="34" charset="0"/>
                <a:ea typeface="Verdana" panose="020B0604030504040204" pitchFamily="34" charset="0"/>
                <a:cs typeface="Verdana" panose="020B0604030504040204" pitchFamily="34" charset="0"/>
              </a:rPr>
              <a:t>Platform Issue </a:t>
            </a:r>
            <a:endParaRPr kumimoji="0" lang="pt-PT" b="1" i="0" u="none" strike="noStrike" kern="1200" cap="none" spc="0" normalizeH="0" baseline="0" noProof="0" dirty="0">
              <a:ln>
                <a:noFill/>
              </a:ln>
              <a:solidFill>
                <a:srgbClr val="00B05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0" name="Text Placeholder 10">
            <a:extLst>
              <a:ext uri="{FF2B5EF4-FFF2-40B4-BE49-F238E27FC236}">
                <a16:creationId xmlns:a16="http://schemas.microsoft.com/office/drawing/2014/main" id="{E2F5E3C3-8C95-4F9C-8370-0A1C87237CA8}"/>
              </a:ext>
            </a:extLst>
          </p:cNvPr>
          <p:cNvSpPr txBox="1">
            <a:spLocks/>
          </p:cNvSpPr>
          <p:nvPr/>
        </p:nvSpPr>
        <p:spPr>
          <a:xfrm>
            <a:off x="7010841" y="3799112"/>
            <a:ext cx="1806588" cy="1251857"/>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Gateway Errors</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Deployment Issues</a:t>
            </a:r>
          </a:p>
        </p:txBody>
      </p:sp>
      <p:sp>
        <p:nvSpPr>
          <p:cNvPr id="26" name="Rectangle 25">
            <a:extLst>
              <a:ext uri="{FF2B5EF4-FFF2-40B4-BE49-F238E27FC236}">
                <a16:creationId xmlns:a16="http://schemas.microsoft.com/office/drawing/2014/main" id="{43CD2F8E-E91F-4AE6-A766-60C7DAADA018}"/>
              </a:ext>
            </a:extLst>
          </p:cNvPr>
          <p:cNvSpPr/>
          <p:nvPr/>
        </p:nvSpPr>
        <p:spPr>
          <a:xfrm>
            <a:off x="9538124" y="2461192"/>
            <a:ext cx="2330620" cy="304377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9">
            <a:extLst>
              <a:ext uri="{FF2B5EF4-FFF2-40B4-BE49-F238E27FC236}">
                <a16:creationId xmlns:a16="http://schemas.microsoft.com/office/drawing/2014/main" id="{61DBDC38-B1D7-4C53-ADCD-7F998DCF109F}"/>
              </a:ext>
            </a:extLst>
          </p:cNvPr>
          <p:cNvSpPr txBox="1">
            <a:spLocks/>
          </p:cNvSpPr>
          <p:nvPr/>
        </p:nvSpPr>
        <p:spPr>
          <a:xfrm>
            <a:off x="9707611" y="2911596"/>
            <a:ext cx="2161133"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FF6327"/>
                </a:solidFill>
                <a:latin typeface="Verdana" panose="020B0604030504040204" pitchFamily="34" charset="0"/>
                <a:ea typeface="Verdana" panose="020B0604030504040204" pitchFamily="34" charset="0"/>
                <a:cs typeface="Verdana" panose="020B0604030504040204" pitchFamily="34" charset="0"/>
              </a:rPr>
              <a:t>Backend Issues </a:t>
            </a:r>
            <a:endParaRPr kumimoji="0" lang="pt-PT" b="1" i="0" u="none" strike="noStrike" kern="1200" cap="none" spc="0" normalizeH="0" baseline="0" noProof="0" dirty="0">
              <a:ln>
                <a:noFill/>
              </a:ln>
              <a:solidFill>
                <a:srgbClr val="FF6327"/>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8" name="Text Placeholder 10">
            <a:extLst>
              <a:ext uri="{FF2B5EF4-FFF2-40B4-BE49-F238E27FC236}">
                <a16:creationId xmlns:a16="http://schemas.microsoft.com/office/drawing/2014/main" id="{ED9B9B56-4477-4A70-9AC9-B121E2B0E97A}"/>
              </a:ext>
            </a:extLst>
          </p:cNvPr>
          <p:cNvSpPr txBox="1">
            <a:spLocks/>
          </p:cNvSpPr>
          <p:nvPr/>
        </p:nvSpPr>
        <p:spPr>
          <a:xfrm>
            <a:off x="9707611" y="3709289"/>
            <a:ext cx="1806588" cy="1251857"/>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Target errors</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Latencies </a:t>
            </a:r>
          </a:p>
        </p:txBody>
      </p:sp>
      <p:grpSp>
        <p:nvGrpSpPr>
          <p:cNvPr id="29" name="Group 28">
            <a:extLst>
              <a:ext uri="{FF2B5EF4-FFF2-40B4-BE49-F238E27FC236}">
                <a16:creationId xmlns:a16="http://schemas.microsoft.com/office/drawing/2014/main" id="{AD7CF127-5A02-4B3F-B01D-CF9D4C931E95}"/>
              </a:ext>
            </a:extLst>
          </p:cNvPr>
          <p:cNvGrpSpPr>
            <a:grpSpLocks noChangeAspect="1"/>
          </p:cNvGrpSpPr>
          <p:nvPr/>
        </p:nvGrpSpPr>
        <p:grpSpPr>
          <a:xfrm>
            <a:off x="262601" y="1817000"/>
            <a:ext cx="1336056" cy="1308591"/>
            <a:chOff x="4002087" y="5645150"/>
            <a:chExt cx="889000" cy="839788"/>
          </a:xfrm>
        </p:grpSpPr>
        <p:sp>
          <p:nvSpPr>
            <p:cNvPr id="30" name="Freeform 236">
              <a:extLst>
                <a:ext uri="{FF2B5EF4-FFF2-40B4-BE49-F238E27FC236}">
                  <a16:creationId xmlns:a16="http://schemas.microsoft.com/office/drawing/2014/main" id="{A26F7717-5C0D-4137-ADA6-0B0EDBB7DC6E}"/>
                </a:ext>
              </a:extLst>
            </p:cNvPr>
            <p:cNvSpPr>
              <a:spLocks/>
            </p:cNvSpPr>
            <p:nvPr/>
          </p:nvSpPr>
          <p:spPr bwMode="auto">
            <a:xfrm>
              <a:off x="4002087" y="5645150"/>
              <a:ext cx="889000" cy="839788"/>
            </a:xfrm>
            <a:custGeom>
              <a:avLst/>
              <a:gdLst>
                <a:gd name="T0" fmla="*/ 66 w 463"/>
                <a:gd name="T1" fmla="*/ 338 h 433"/>
                <a:gd name="T2" fmla="*/ 111 w 463"/>
                <a:gd name="T3" fmla="*/ 64 h 433"/>
                <a:gd name="T4" fmla="*/ 397 w 463"/>
                <a:gd name="T5" fmla="*/ 105 h 433"/>
                <a:gd name="T6" fmla="*/ 345 w 463"/>
                <a:gd name="T7" fmla="*/ 368 h 433"/>
                <a:gd name="T8" fmla="*/ 66 w 463"/>
                <a:gd name="T9" fmla="*/ 338 h 433"/>
              </a:gdLst>
              <a:ahLst/>
              <a:cxnLst>
                <a:cxn ang="0">
                  <a:pos x="T0" y="T1"/>
                </a:cxn>
                <a:cxn ang="0">
                  <a:pos x="T2" y="T3"/>
                </a:cxn>
                <a:cxn ang="0">
                  <a:pos x="T4" y="T5"/>
                </a:cxn>
                <a:cxn ang="0">
                  <a:pos x="T6" y="T7"/>
                </a:cxn>
                <a:cxn ang="0">
                  <a:pos x="T8" y="T9"/>
                </a:cxn>
              </a:cxnLst>
              <a:rect l="0" t="0" r="r" b="b"/>
              <a:pathLst>
                <a:path w="463" h="433">
                  <a:moveTo>
                    <a:pt x="66" y="338"/>
                  </a:moveTo>
                  <a:cubicBezTo>
                    <a:pt x="0" y="252"/>
                    <a:pt x="20" y="129"/>
                    <a:pt x="111" y="64"/>
                  </a:cubicBezTo>
                  <a:cubicBezTo>
                    <a:pt x="202" y="0"/>
                    <a:pt x="330" y="18"/>
                    <a:pt x="397" y="105"/>
                  </a:cubicBezTo>
                  <a:cubicBezTo>
                    <a:pt x="463" y="191"/>
                    <a:pt x="436" y="304"/>
                    <a:pt x="345" y="368"/>
                  </a:cubicBezTo>
                  <a:cubicBezTo>
                    <a:pt x="254" y="433"/>
                    <a:pt x="133" y="425"/>
                    <a:pt x="66" y="33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1" name="Freeform 237">
              <a:extLst>
                <a:ext uri="{FF2B5EF4-FFF2-40B4-BE49-F238E27FC236}">
                  <a16:creationId xmlns:a16="http://schemas.microsoft.com/office/drawing/2014/main" id="{A653C155-9543-47D9-9D82-F1D64E3B0D21}"/>
                </a:ext>
              </a:extLst>
            </p:cNvPr>
            <p:cNvSpPr>
              <a:spLocks/>
            </p:cNvSpPr>
            <p:nvPr/>
          </p:nvSpPr>
          <p:spPr bwMode="auto">
            <a:xfrm>
              <a:off x="4252912" y="6038850"/>
              <a:ext cx="369887" cy="263525"/>
            </a:xfrm>
            <a:custGeom>
              <a:avLst/>
              <a:gdLst>
                <a:gd name="T0" fmla="*/ 98 w 192"/>
                <a:gd name="T1" fmla="*/ 1 h 136"/>
                <a:gd name="T2" fmla="*/ 38 w 192"/>
                <a:gd name="T3" fmla="*/ 21 h 136"/>
                <a:gd name="T4" fmla="*/ 0 w 192"/>
                <a:gd name="T5" fmla="*/ 110 h 136"/>
                <a:gd name="T6" fmla="*/ 29 w 192"/>
                <a:gd name="T7" fmla="*/ 112 h 136"/>
                <a:gd name="T8" fmla="*/ 192 w 192"/>
                <a:gd name="T9" fmla="*/ 105 h 136"/>
                <a:gd name="T10" fmla="*/ 135 w 192"/>
                <a:gd name="T11" fmla="*/ 9 h 136"/>
                <a:gd name="T12" fmla="*/ 98 w 192"/>
                <a:gd name="T13" fmla="*/ 1 h 136"/>
              </a:gdLst>
              <a:ahLst/>
              <a:cxnLst>
                <a:cxn ang="0">
                  <a:pos x="T0" y="T1"/>
                </a:cxn>
                <a:cxn ang="0">
                  <a:pos x="T2" y="T3"/>
                </a:cxn>
                <a:cxn ang="0">
                  <a:pos x="T4" y="T5"/>
                </a:cxn>
                <a:cxn ang="0">
                  <a:pos x="T6" y="T7"/>
                </a:cxn>
                <a:cxn ang="0">
                  <a:pos x="T8" y="T9"/>
                </a:cxn>
                <a:cxn ang="0">
                  <a:pos x="T10" y="T11"/>
                </a:cxn>
                <a:cxn ang="0">
                  <a:pos x="T12" y="T13"/>
                </a:cxn>
              </a:cxnLst>
              <a:rect l="0" t="0" r="r" b="b"/>
              <a:pathLst>
                <a:path w="192" h="136">
                  <a:moveTo>
                    <a:pt x="98" y="1"/>
                  </a:moveTo>
                  <a:cubicBezTo>
                    <a:pt x="98" y="1"/>
                    <a:pt x="60" y="0"/>
                    <a:pt x="38" y="21"/>
                  </a:cubicBezTo>
                  <a:cubicBezTo>
                    <a:pt x="21" y="38"/>
                    <a:pt x="0" y="110"/>
                    <a:pt x="0" y="110"/>
                  </a:cubicBezTo>
                  <a:cubicBezTo>
                    <a:pt x="0" y="110"/>
                    <a:pt x="12" y="106"/>
                    <a:pt x="29" y="112"/>
                  </a:cubicBezTo>
                  <a:cubicBezTo>
                    <a:pt x="86" y="133"/>
                    <a:pt x="176" y="136"/>
                    <a:pt x="192" y="105"/>
                  </a:cubicBezTo>
                  <a:cubicBezTo>
                    <a:pt x="192" y="105"/>
                    <a:pt x="180" y="27"/>
                    <a:pt x="135" y="9"/>
                  </a:cubicBezTo>
                  <a:cubicBezTo>
                    <a:pt x="119" y="2"/>
                    <a:pt x="98" y="1"/>
                    <a:pt x="98" y="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2" name="Freeform 238">
              <a:extLst>
                <a:ext uri="{FF2B5EF4-FFF2-40B4-BE49-F238E27FC236}">
                  <a16:creationId xmlns:a16="http://schemas.microsoft.com/office/drawing/2014/main" id="{B0FA0721-B2EC-46D2-9BAB-FC8DE532FA6A}"/>
                </a:ext>
              </a:extLst>
            </p:cNvPr>
            <p:cNvSpPr>
              <a:spLocks/>
            </p:cNvSpPr>
            <p:nvPr/>
          </p:nvSpPr>
          <p:spPr bwMode="auto">
            <a:xfrm>
              <a:off x="4408487" y="6018213"/>
              <a:ext cx="61912" cy="63500"/>
            </a:xfrm>
            <a:custGeom>
              <a:avLst/>
              <a:gdLst>
                <a:gd name="T0" fmla="*/ 1 w 32"/>
                <a:gd name="T1" fmla="*/ 0 h 33"/>
                <a:gd name="T2" fmla="*/ 1 w 32"/>
                <a:gd name="T3" fmla="*/ 19 h 33"/>
                <a:gd name="T4" fmla="*/ 14 w 32"/>
                <a:gd name="T5" fmla="*/ 33 h 33"/>
                <a:gd name="T6" fmla="*/ 30 w 32"/>
                <a:gd name="T7" fmla="*/ 17 h 33"/>
                <a:gd name="T8" fmla="*/ 30 w 32"/>
                <a:gd name="T9" fmla="*/ 0 h 33"/>
                <a:gd name="T10" fmla="*/ 1 w 32"/>
                <a:gd name="T11" fmla="*/ 0 h 33"/>
              </a:gdLst>
              <a:ahLst/>
              <a:cxnLst>
                <a:cxn ang="0">
                  <a:pos x="T0" y="T1"/>
                </a:cxn>
                <a:cxn ang="0">
                  <a:pos x="T2" y="T3"/>
                </a:cxn>
                <a:cxn ang="0">
                  <a:pos x="T4" y="T5"/>
                </a:cxn>
                <a:cxn ang="0">
                  <a:pos x="T6" y="T7"/>
                </a:cxn>
                <a:cxn ang="0">
                  <a:pos x="T8" y="T9"/>
                </a:cxn>
                <a:cxn ang="0">
                  <a:pos x="T10" y="T11"/>
                </a:cxn>
              </a:cxnLst>
              <a:rect l="0" t="0" r="r" b="b"/>
              <a:pathLst>
                <a:path w="32" h="33">
                  <a:moveTo>
                    <a:pt x="1" y="0"/>
                  </a:moveTo>
                  <a:cubicBezTo>
                    <a:pt x="1" y="19"/>
                    <a:pt x="1" y="19"/>
                    <a:pt x="1" y="19"/>
                  </a:cubicBezTo>
                  <a:cubicBezTo>
                    <a:pt x="1" y="19"/>
                    <a:pt x="0" y="30"/>
                    <a:pt x="14" y="33"/>
                  </a:cubicBezTo>
                  <a:cubicBezTo>
                    <a:pt x="32" y="33"/>
                    <a:pt x="30" y="17"/>
                    <a:pt x="30" y="17"/>
                  </a:cubicBezTo>
                  <a:cubicBezTo>
                    <a:pt x="30" y="0"/>
                    <a:pt x="30" y="0"/>
                    <a:pt x="30" y="0"/>
                  </a:cubicBezTo>
                  <a:lnTo>
                    <a:pt x="1" y="0"/>
                  </a:lnTo>
                  <a:close/>
                </a:path>
              </a:pathLst>
            </a:custGeom>
            <a:solidFill>
              <a:srgbClr val="FFFFFF"/>
            </a:solid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3" name="Freeform 239">
              <a:extLst>
                <a:ext uri="{FF2B5EF4-FFF2-40B4-BE49-F238E27FC236}">
                  <a16:creationId xmlns:a16="http://schemas.microsoft.com/office/drawing/2014/main" id="{199A88C2-82F8-4A80-B3BD-E58C65742C7F}"/>
                </a:ext>
              </a:extLst>
            </p:cNvPr>
            <p:cNvSpPr>
              <a:spLocks/>
            </p:cNvSpPr>
            <p:nvPr/>
          </p:nvSpPr>
          <p:spPr bwMode="auto">
            <a:xfrm>
              <a:off x="4340225" y="5840413"/>
              <a:ext cx="196850" cy="193675"/>
            </a:xfrm>
            <a:custGeom>
              <a:avLst/>
              <a:gdLst>
                <a:gd name="T0" fmla="*/ 93 w 103"/>
                <a:gd name="T1" fmla="*/ 47 h 100"/>
                <a:gd name="T2" fmla="*/ 92 w 103"/>
                <a:gd name="T3" fmla="*/ 47 h 100"/>
                <a:gd name="T4" fmla="*/ 92 w 103"/>
                <a:gd name="T5" fmla="*/ 21 h 100"/>
                <a:gd name="T6" fmla="*/ 25 w 103"/>
                <a:gd name="T7" fmla="*/ 14 h 100"/>
                <a:gd name="T8" fmla="*/ 10 w 103"/>
                <a:gd name="T9" fmla="*/ 47 h 100"/>
                <a:gd name="T10" fmla="*/ 0 w 103"/>
                <a:gd name="T11" fmla="*/ 57 h 100"/>
                <a:gd name="T12" fmla="*/ 10 w 103"/>
                <a:gd name="T13" fmla="*/ 66 h 100"/>
                <a:gd name="T14" fmla="*/ 11 w 103"/>
                <a:gd name="T15" fmla="*/ 66 h 100"/>
                <a:gd name="T16" fmla="*/ 51 w 103"/>
                <a:gd name="T17" fmla="*/ 100 h 100"/>
                <a:gd name="T18" fmla="*/ 92 w 103"/>
                <a:gd name="T19" fmla="*/ 66 h 100"/>
                <a:gd name="T20" fmla="*/ 93 w 103"/>
                <a:gd name="T21" fmla="*/ 66 h 100"/>
                <a:gd name="T22" fmla="*/ 103 w 103"/>
                <a:gd name="T23" fmla="*/ 57 h 100"/>
                <a:gd name="T24" fmla="*/ 93 w 103"/>
                <a:gd name="T25" fmla="*/ 4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00">
                  <a:moveTo>
                    <a:pt x="93" y="47"/>
                  </a:moveTo>
                  <a:cubicBezTo>
                    <a:pt x="93" y="47"/>
                    <a:pt x="93" y="47"/>
                    <a:pt x="92" y="47"/>
                  </a:cubicBezTo>
                  <a:cubicBezTo>
                    <a:pt x="92" y="21"/>
                    <a:pt x="92" y="21"/>
                    <a:pt x="92" y="21"/>
                  </a:cubicBezTo>
                  <a:cubicBezTo>
                    <a:pt x="92" y="21"/>
                    <a:pt x="44" y="0"/>
                    <a:pt x="25" y="14"/>
                  </a:cubicBezTo>
                  <a:cubicBezTo>
                    <a:pt x="14" y="22"/>
                    <a:pt x="11" y="37"/>
                    <a:pt x="10" y="47"/>
                  </a:cubicBezTo>
                  <a:cubicBezTo>
                    <a:pt x="5" y="47"/>
                    <a:pt x="0" y="51"/>
                    <a:pt x="0" y="57"/>
                  </a:cubicBezTo>
                  <a:cubicBezTo>
                    <a:pt x="0" y="62"/>
                    <a:pt x="5" y="66"/>
                    <a:pt x="10" y="66"/>
                  </a:cubicBezTo>
                  <a:cubicBezTo>
                    <a:pt x="10" y="66"/>
                    <a:pt x="11" y="66"/>
                    <a:pt x="11" y="66"/>
                  </a:cubicBezTo>
                  <a:cubicBezTo>
                    <a:pt x="14" y="86"/>
                    <a:pt x="31" y="100"/>
                    <a:pt x="51" y="100"/>
                  </a:cubicBezTo>
                  <a:cubicBezTo>
                    <a:pt x="71" y="100"/>
                    <a:pt x="88" y="86"/>
                    <a:pt x="92" y="66"/>
                  </a:cubicBezTo>
                  <a:cubicBezTo>
                    <a:pt x="92" y="66"/>
                    <a:pt x="93" y="66"/>
                    <a:pt x="93" y="66"/>
                  </a:cubicBezTo>
                  <a:cubicBezTo>
                    <a:pt x="98" y="66"/>
                    <a:pt x="103" y="62"/>
                    <a:pt x="103" y="57"/>
                  </a:cubicBezTo>
                  <a:cubicBezTo>
                    <a:pt x="103" y="51"/>
                    <a:pt x="98" y="47"/>
                    <a:pt x="93" y="47"/>
                  </a:cubicBezTo>
                  <a:close/>
                </a:path>
              </a:pathLst>
            </a:custGeom>
            <a:solidFill>
              <a:srgbClr val="FFFFFF"/>
            </a:solid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4" name="Freeform 240">
              <a:extLst>
                <a:ext uri="{FF2B5EF4-FFF2-40B4-BE49-F238E27FC236}">
                  <a16:creationId xmlns:a16="http://schemas.microsoft.com/office/drawing/2014/main" id="{285DFC54-2302-4434-B61A-0CB5F67FBC8E}"/>
                </a:ext>
              </a:extLst>
            </p:cNvPr>
            <p:cNvSpPr>
              <a:spLocks/>
            </p:cNvSpPr>
            <p:nvPr/>
          </p:nvSpPr>
          <p:spPr bwMode="auto">
            <a:xfrm>
              <a:off x="4335462" y="5773738"/>
              <a:ext cx="227012" cy="165100"/>
            </a:xfrm>
            <a:custGeom>
              <a:avLst/>
              <a:gdLst>
                <a:gd name="T0" fmla="*/ 12 w 118"/>
                <a:gd name="T1" fmla="*/ 82 h 85"/>
                <a:gd name="T2" fmla="*/ 24 w 118"/>
                <a:gd name="T3" fmla="*/ 30 h 85"/>
                <a:gd name="T4" fmla="*/ 77 w 118"/>
                <a:gd name="T5" fmla="*/ 20 h 85"/>
                <a:gd name="T6" fmla="*/ 93 w 118"/>
                <a:gd name="T7" fmla="*/ 85 h 85"/>
                <a:gd name="T8" fmla="*/ 86 w 118"/>
                <a:gd name="T9" fmla="*/ 71 h 85"/>
                <a:gd name="T10" fmla="*/ 29 w 118"/>
                <a:gd name="T11" fmla="*/ 65 h 85"/>
                <a:gd name="T12" fmla="*/ 12 w 118"/>
                <a:gd name="T13" fmla="*/ 82 h 85"/>
              </a:gdLst>
              <a:ahLst/>
              <a:cxnLst>
                <a:cxn ang="0">
                  <a:pos x="T0" y="T1"/>
                </a:cxn>
                <a:cxn ang="0">
                  <a:pos x="T2" y="T3"/>
                </a:cxn>
                <a:cxn ang="0">
                  <a:pos x="T4" y="T5"/>
                </a:cxn>
                <a:cxn ang="0">
                  <a:pos x="T6" y="T7"/>
                </a:cxn>
                <a:cxn ang="0">
                  <a:pos x="T8" y="T9"/>
                </a:cxn>
                <a:cxn ang="0">
                  <a:pos x="T10" y="T11"/>
                </a:cxn>
                <a:cxn ang="0">
                  <a:pos x="T12" y="T13"/>
                </a:cxn>
              </a:cxnLst>
              <a:rect l="0" t="0" r="r" b="b"/>
              <a:pathLst>
                <a:path w="118" h="85">
                  <a:moveTo>
                    <a:pt x="12" y="82"/>
                  </a:moveTo>
                  <a:cubicBezTo>
                    <a:pt x="12" y="82"/>
                    <a:pt x="0" y="38"/>
                    <a:pt x="24" y="30"/>
                  </a:cubicBezTo>
                  <a:cubicBezTo>
                    <a:pt x="24" y="30"/>
                    <a:pt x="36" y="0"/>
                    <a:pt x="77" y="20"/>
                  </a:cubicBezTo>
                  <a:cubicBezTo>
                    <a:pt x="118" y="39"/>
                    <a:pt x="93" y="85"/>
                    <a:pt x="93" y="85"/>
                  </a:cubicBezTo>
                  <a:cubicBezTo>
                    <a:pt x="93" y="85"/>
                    <a:pt x="93" y="67"/>
                    <a:pt x="86" y="71"/>
                  </a:cubicBezTo>
                  <a:cubicBezTo>
                    <a:pt x="74" y="78"/>
                    <a:pt x="42" y="63"/>
                    <a:pt x="29" y="65"/>
                  </a:cubicBezTo>
                  <a:cubicBezTo>
                    <a:pt x="14" y="68"/>
                    <a:pt x="12" y="82"/>
                    <a:pt x="12" y="8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5" name="Freeform 241">
              <a:extLst>
                <a:ext uri="{FF2B5EF4-FFF2-40B4-BE49-F238E27FC236}">
                  <a16:creationId xmlns:a16="http://schemas.microsoft.com/office/drawing/2014/main" id="{468BBB41-AF6F-4027-B8AB-0B9C6D561992}"/>
                </a:ext>
              </a:extLst>
            </p:cNvPr>
            <p:cNvSpPr>
              <a:spLocks/>
            </p:cNvSpPr>
            <p:nvPr/>
          </p:nvSpPr>
          <p:spPr bwMode="auto">
            <a:xfrm>
              <a:off x="4291012" y="6121400"/>
              <a:ext cx="295275" cy="177800"/>
            </a:xfrm>
            <a:custGeom>
              <a:avLst/>
              <a:gdLst>
                <a:gd name="T0" fmla="*/ 144 w 153"/>
                <a:gd name="T1" fmla="*/ 0 h 92"/>
                <a:gd name="T2" fmla="*/ 9 w 153"/>
                <a:gd name="T3" fmla="*/ 0 h 92"/>
                <a:gd name="T4" fmla="*/ 0 w 153"/>
                <a:gd name="T5" fmla="*/ 9 h 92"/>
                <a:gd name="T6" fmla="*/ 0 w 153"/>
                <a:gd name="T7" fmla="*/ 92 h 92"/>
                <a:gd name="T8" fmla="*/ 153 w 153"/>
                <a:gd name="T9" fmla="*/ 92 h 92"/>
                <a:gd name="T10" fmla="*/ 153 w 153"/>
                <a:gd name="T11" fmla="*/ 9 h 92"/>
                <a:gd name="T12" fmla="*/ 144 w 153"/>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153" h="92">
                  <a:moveTo>
                    <a:pt x="144" y="0"/>
                  </a:moveTo>
                  <a:cubicBezTo>
                    <a:pt x="9" y="0"/>
                    <a:pt x="9" y="0"/>
                    <a:pt x="9" y="0"/>
                  </a:cubicBezTo>
                  <a:cubicBezTo>
                    <a:pt x="4" y="0"/>
                    <a:pt x="0" y="4"/>
                    <a:pt x="0" y="9"/>
                  </a:cubicBezTo>
                  <a:cubicBezTo>
                    <a:pt x="0" y="92"/>
                    <a:pt x="0" y="92"/>
                    <a:pt x="0" y="92"/>
                  </a:cubicBezTo>
                  <a:cubicBezTo>
                    <a:pt x="153" y="92"/>
                    <a:pt x="153" y="92"/>
                    <a:pt x="153" y="92"/>
                  </a:cubicBezTo>
                  <a:cubicBezTo>
                    <a:pt x="153" y="9"/>
                    <a:pt x="153" y="9"/>
                    <a:pt x="153" y="9"/>
                  </a:cubicBezTo>
                  <a:cubicBezTo>
                    <a:pt x="153" y="4"/>
                    <a:pt x="149" y="0"/>
                    <a:pt x="144"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6" name="Freeform 242">
              <a:extLst>
                <a:ext uri="{FF2B5EF4-FFF2-40B4-BE49-F238E27FC236}">
                  <a16:creationId xmlns:a16="http://schemas.microsoft.com/office/drawing/2014/main" id="{0ED002A0-0A6B-4720-B721-CE952B5AF076}"/>
                </a:ext>
              </a:extLst>
            </p:cNvPr>
            <p:cNvSpPr>
              <a:spLocks/>
            </p:cNvSpPr>
            <p:nvPr/>
          </p:nvSpPr>
          <p:spPr bwMode="auto">
            <a:xfrm>
              <a:off x="4284662" y="6302375"/>
              <a:ext cx="309562" cy="23813"/>
            </a:xfrm>
            <a:custGeom>
              <a:avLst/>
              <a:gdLst>
                <a:gd name="T0" fmla="*/ 155 w 161"/>
                <a:gd name="T1" fmla="*/ 12 h 12"/>
                <a:gd name="T2" fmla="*/ 6 w 161"/>
                <a:gd name="T3" fmla="*/ 12 h 12"/>
                <a:gd name="T4" fmla="*/ 0 w 161"/>
                <a:gd name="T5" fmla="*/ 6 h 12"/>
                <a:gd name="T6" fmla="*/ 0 w 161"/>
                <a:gd name="T7" fmla="*/ 6 h 12"/>
                <a:gd name="T8" fmla="*/ 6 w 161"/>
                <a:gd name="T9" fmla="*/ 0 h 12"/>
                <a:gd name="T10" fmla="*/ 155 w 161"/>
                <a:gd name="T11" fmla="*/ 0 h 12"/>
                <a:gd name="T12" fmla="*/ 161 w 161"/>
                <a:gd name="T13" fmla="*/ 6 h 12"/>
                <a:gd name="T14" fmla="*/ 161 w 161"/>
                <a:gd name="T15" fmla="*/ 6 h 12"/>
                <a:gd name="T16" fmla="*/ 155 w 161"/>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
                  <a:moveTo>
                    <a:pt x="155" y="12"/>
                  </a:moveTo>
                  <a:cubicBezTo>
                    <a:pt x="6" y="12"/>
                    <a:pt x="6" y="12"/>
                    <a:pt x="6" y="12"/>
                  </a:cubicBezTo>
                  <a:cubicBezTo>
                    <a:pt x="3" y="12"/>
                    <a:pt x="0" y="9"/>
                    <a:pt x="0" y="6"/>
                  </a:cubicBezTo>
                  <a:cubicBezTo>
                    <a:pt x="0" y="6"/>
                    <a:pt x="0" y="6"/>
                    <a:pt x="0" y="6"/>
                  </a:cubicBezTo>
                  <a:cubicBezTo>
                    <a:pt x="0" y="3"/>
                    <a:pt x="3" y="0"/>
                    <a:pt x="6" y="0"/>
                  </a:cubicBezTo>
                  <a:cubicBezTo>
                    <a:pt x="155" y="0"/>
                    <a:pt x="155" y="0"/>
                    <a:pt x="155" y="0"/>
                  </a:cubicBezTo>
                  <a:cubicBezTo>
                    <a:pt x="158" y="0"/>
                    <a:pt x="161" y="3"/>
                    <a:pt x="161" y="6"/>
                  </a:cubicBezTo>
                  <a:cubicBezTo>
                    <a:pt x="161" y="6"/>
                    <a:pt x="161" y="6"/>
                    <a:pt x="161" y="6"/>
                  </a:cubicBezTo>
                  <a:cubicBezTo>
                    <a:pt x="161" y="9"/>
                    <a:pt x="158" y="12"/>
                    <a:pt x="155" y="1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7" name="Freeform 243">
              <a:extLst>
                <a:ext uri="{FF2B5EF4-FFF2-40B4-BE49-F238E27FC236}">
                  <a16:creationId xmlns:a16="http://schemas.microsoft.com/office/drawing/2014/main" id="{286E8F2C-5C96-4C5C-9ACD-390B3173B5EE}"/>
                </a:ext>
              </a:extLst>
            </p:cNvPr>
            <p:cNvSpPr>
              <a:spLocks/>
            </p:cNvSpPr>
            <p:nvPr/>
          </p:nvSpPr>
          <p:spPr bwMode="auto">
            <a:xfrm>
              <a:off x="4408487" y="6196013"/>
              <a:ext cx="55562" cy="58738"/>
            </a:xfrm>
            <a:custGeom>
              <a:avLst/>
              <a:gdLst>
                <a:gd name="T0" fmla="*/ 29 w 29"/>
                <a:gd name="T1" fmla="*/ 14 h 30"/>
                <a:gd name="T2" fmla="*/ 23 w 29"/>
                <a:gd name="T3" fmla="*/ 4 h 30"/>
                <a:gd name="T4" fmla="*/ 11 w 29"/>
                <a:gd name="T5" fmla="*/ 2 h 30"/>
                <a:gd name="T6" fmla="*/ 10 w 29"/>
                <a:gd name="T7" fmla="*/ 2 h 30"/>
                <a:gd name="T8" fmla="*/ 9 w 29"/>
                <a:gd name="T9" fmla="*/ 3 h 30"/>
                <a:gd name="T10" fmla="*/ 4 w 29"/>
                <a:gd name="T11" fmla="*/ 8 h 30"/>
                <a:gd name="T12" fmla="*/ 9 w 29"/>
                <a:gd name="T13" fmla="*/ 27 h 30"/>
                <a:gd name="T14" fmla="*/ 27 w 29"/>
                <a:gd name="T15" fmla="*/ 22 h 30"/>
                <a:gd name="T16" fmla="*/ 29 w 29"/>
                <a:gd name="T17"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30">
                  <a:moveTo>
                    <a:pt x="29" y="14"/>
                  </a:moveTo>
                  <a:cubicBezTo>
                    <a:pt x="29" y="10"/>
                    <a:pt x="23" y="7"/>
                    <a:pt x="23" y="4"/>
                  </a:cubicBezTo>
                  <a:cubicBezTo>
                    <a:pt x="23" y="4"/>
                    <a:pt x="18" y="0"/>
                    <a:pt x="11" y="2"/>
                  </a:cubicBezTo>
                  <a:cubicBezTo>
                    <a:pt x="11" y="2"/>
                    <a:pt x="10" y="2"/>
                    <a:pt x="10" y="2"/>
                  </a:cubicBezTo>
                  <a:cubicBezTo>
                    <a:pt x="10" y="2"/>
                    <a:pt x="10" y="2"/>
                    <a:pt x="9" y="3"/>
                  </a:cubicBezTo>
                  <a:cubicBezTo>
                    <a:pt x="7" y="4"/>
                    <a:pt x="5" y="6"/>
                    <a:pt x="4" y="8"/>
                  </a:cubicBezTo>
                  <a:cubicBezTo>
                    <a:pt x="0" y="14"/>
                    <a:pt x="2" y="23"/>
                    <a:pt x="9" y="27"/>
                  </a:cubicBezTo>
                  <a:cubicBezTo>
                    <a:pt x="15" y="30"/>
                    <a:pt x="23" y="28"/>
                    <a:pt x="27" y="22"/>
                  </a:cubicBezTo>
                  <a:cubicBezTo>
                    <a:pt x="29" y="19"/>
                    <a:pt x="29" y="17"/>
                    <a:pt x="29" y="14"/>
                  </a:cubicBezTo>
                  <a:close/>
                </a:path>
              </a:pathLst>
            </a:custGeom>
            <a:solidFill>
              <a:srgbClr val="FFFFFF"/>
            </a:solid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8" name="Group 37">
            <a:extLst>
              <a:ext uri="{FF2B5EF4-FFF2-40B4-BE49-F238E27FC236}">
                <a16:creationId xmlns:a16="http://schemas.microsoft.com/office/drawing/2014/main" id="{264F86C5-D865-40BF-90AA-FD876CA2709C}"/>
              </a:ext>
            </a:extLst>
          </p:cNvPr>
          <p:cNvGrpSpPr>
            <a:grpSpLocks noChangeAspect="1"/>
          </p:cNvGrpSpPr>
          <p:nvPr/>
        </p:nvGrpSpPr>
        <p:grpSpPr>
          <a:xfrm>
            <a:off x="3236560" y="1848527"/>
            <a:ext cx="1229435" cy="1306150"/>
            <a:chOff x="7572375" y="4632328"/>
            <a:chExt cx="798512" cy="746126"/>
          </a:xfrm>
        </p:grpSpPr>
        <p:sp>
          <p:nvSpPr>
            <p:cNvPr id="39" name="Freeform 164">
              <a:extLst>
                <a:ext uri="{FF2B5EF4-FFF2-40B4-BE49-F238E27FC236}">
                  <a16:creationId xmlns:a16="http://schemas.microsoft.com/office/drawing/2014/main" id="{4AFBB8DC-8174-4A7A-83AA-327570012E42}"/>
                </a:ext>
              </a:extLst>
            </p:cNvPr>
            <p:cNvSpPr>
              <a:spLocks/>
            </p:cNvSpPr>
            <p:nvPr/>
          </p:nvSpPr>
          <p:spPr bwMode="auto">
            <a:xfrm>
              <a:off x="7572375" y="4632328"/>
              <a:ext cx="798512" cy="746126"/>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0" name="Freeform 165">
              <a:extLst>
                <a:ext uri="{FF2B5EF4-FFF2-40B4-BE49-F238E27FC236}">
                  <a16:creationId xmlns:a16="http://schemas.microsoft.com/office/drawing/2014/main" id="{651C518E-8917-4B42-9463-3E0A57FEE66D}"/>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1" name="Freeform 166">
              <a:extLst>
                <a:ext uri="{FF2B5EF4-FFF2-40B4-BE49-F238E27FC236}">
                  <a16:creationId xmlns:a16="http://schemas.microsoft.com/office/drawing/2014/main" id="{410A24B7-5BFC-45DC-BB45-8FE1830BBB3F}"/>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2" name="Freeform 167">
              <a:extLst>
                <a:ext uri="{FF2B5EF4-FFF2-40B4-BE49-F238E27FC236}">
                  <a16:creationId xmlns:a16="http://schemas.microsoft.com/office/drawing/2014/main" id="{D4418F7C-F184-460B-85B2-83BEE569405D}"/>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3" name="Freeform 168">
              <a:extLst>
                <a:ext uri="{FF2B5EF4-FFF2-40B4-BE49-F238E27FC236}">
                  <a16:creationId xmlns:a16="http://schemas.microsoft.com/office/drawing/2014/main" id="{8B7E2410-8356-42D1-AEEB-8181F153DEA2}"/>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4" name="Freeform 169">
              <a:extLst>
                <a:ext uri="{FF2B5EF4-FFF2-40B4-BE49-F238E27FC236}">
                  <a16:creationId xmlns:a16="http://schemas.microsoft.com/office/drawing/2014/main" id="{CCDA70D9-3ED6-4FB6-9C12-5A0D66B6F030}"/>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5" name="Oval 44">
              <a:extLst>
                <a:ext uri="{FF2B5EF4-FFF2-40B4-BE49-F238E27FC236}">
                  <a16:creationId xmlns:a16="http://schemas.microsoft.com/office/drawing/2014/main" id="{8CE67697-46D8-40E0-A246-F8AFB849BA87}"/>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59" name="Group 58">
            <a:extLst>
              <a:ext uri="{FF2B5EF4-FFF2-40B4-BE49-F238E27FC236}">
                <a16:creationId xmlns:a16="http://schemas.microsoft.com/office/drawing/2014/main" id="{F0048FC8-C615-44BA-BCEF-B3A9E6251096}"/>
              </a:ext>
            </a:extLst>
          </p:cNvPr>
          <p:cNvGrpSpPr/>
          <p:nvPr/>
        </p:nvGrpSpPr>
        <p:grpSpPr>
          <a:xfrm>
            <a:off x="6369609" y="2050152"/>
            <a:ext cx="1114525" cy="1051130"/>
            <a:chOff x="6460778" y="5092349"/>
            <a:chExt cx="1114525" cy="1051130"/>
          </a:xfrm>
        </p:grpSpPr>
        <p:sp>
          <p:nvSpPr>
            <p:cNvPr id="64" name="Freeform 7">
              <a:extLst>
                <a:ext uri="{FF2B5EF4-FFF2-40B4-BE49-F238E27FC236}">
                  <a16:creationId xmlns:a16="http://schemas.microsoft.com/office/drawing/2014/main" id="{61C01FD6-4A8B-428A-9BD6-6A065C440853}"/>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rgbClr val="00C37B"/>
            </a:solid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1" name="Freeform 5">
              <a:extLst>
                <a:ext uri="{FF2B5EF4-FFF2-40B4-BE49-F238E27FC236}">
                  <a16:creationId xmlns:a16="http://schemas.microsoft.com/office/drawing/2014/main" id="{00E9310A-BFB0-4C21-A4E3-49E51970D6CD}"/>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grpSp>
        <p:nvGrpSpPr>
          <p:cNvPr id="72" name="Group 71">
            <a:extLst>
              <a:ext uri="{FF2B5EF4-FFF2-40B4-BE49-F238E27FC236}">
                <a16:creationId xmlns:a16="http://schemas.microsoft.com/office/drawing/2014/main" id="{11BB0463-8F11-4599-BCB4-2A1B44432AE0}"/>
              </a:ext>
            </a:extLst>
          </p:cNvPr>
          <p:cNvGrpSpPr/>
          <p:nvPr/>
        </p:nvGrpSpPr>
        <p:grpSpPr>
          <a:xfrm>
            <a:off x="9189040" y="2033028"/>
            <a:ext cx="1030290" cy="958850"/>
            <a:chOff x="-3076576" y="4076701"/>
            <a:chExt cx="1465263" cy="1363663"/>
          </a:xfrm>
        </p:grpSpPr>
        <p:sp>
          <p:nvSpPr>
            <p:cNvPr id="73" name="Freeform 5">
              <a:extLst>
                <a:ext uri="{FF2B5EF4-FFF2-40B4-BE49-F238E27FC236}">
                  <a16:creationId xmlns:a16="http://schemas.microsoft.com/office/drawing/2014/main" id="{678F1514-AFA9-496D-8295-B0E3B11EBFA5}"/>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rgbClr val="FF6327"/>
            </a:solid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4" name="Freeform 6">
              <a:extLst>
                <a:ext uri="{FF2B5EF4-FFF2-40B4-BE49-F238E27FC236}">
                  <a16:creationId xmlns:a16="http://schemas.microsoft.com/office/drawing/2014/main" id="{494D025C-F096-4052-8492-B11B35C0E2D5}"/>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chemeClr val="bg1"/>
            </a:solid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61D1B2-2845-4352-8A71-08C15C15B4C5}"/>
              </a:ext>
            </a:extLst>
          </p:cNvPr>
          <p:cNvSpPr>
            <a:spLocks noGrp="1"/>
          </p:cNvSpPr>
          <p:nvPr>
            <p:ph type="body" sz="quarter" idx="10"/>
          </p:nvPr>
        </p:nvSpPr>
        <p:spPr>
          <a:xfrm>
            <a:off x="336550" y="1104900"/>
            <a:ext cx="11518900" cy="5176653"/>
          </a:xfrm>
        </p:spPr>
        <p:txBody>
          <a:bodyPr/>
          <a:lstStyle/>
          <a:p>
            <a:endParaRPr lang="en-US" dirty="0"/>
          </a:p>
          <a:p>
            <a:r>
              <a:rPr lang="en-US" dirty="0"/>
              <a:t>Response time</a:t>
            </a:r>
          </a:p>
          <a:p>
            <a:r>
              <a:rPr lang="en-US" dirty="0"/>
              <a:t>Request latency</a:t>
            </a:r>
          </a:p>
          <a:p>
            <a:r>
              <a:rPr lang="en-US" dirty="0"/>
              <a:t>Request size</a:t>
            </a:r>
          </a:p>
          <a:p>
            <a:r>
              <a:rPr lang="en-US" dirty="0"/>
              <a:t>Target errors</a:t>
            </a:r>
          </a:p>
          <a:p>
            <a:pPr fontAlgn="base"/>
            <a:r>
              <a:rPr lang="en-US" dirty="0"/>
              <a:t>API Consumption Assessment</a:t>
            </a:r>
          </a:p>
          <a:p>
            <a:pPr fontAlgn="base"/>
            <a:r>
              <a:rPr lang="en-US" dirty="0"/>
              <a:t>Insufficient data center capacity</a:t>
            </a:r>
          </a:p>
          <a:p>
            <a:pPr fontAlgn="base"/>
            <a:endParaRPr lang="en-US" dirty="0"/>
          </a:p>
          <a:p>
            <a:endParaRPr lang="nl-NL" dirty="0"/>
          </a:p>
        </p:txBody>
      </p:sp>
      <p:sp>
        <p:nvSpPr>
          <p:cNvPr id="3" name="Title 2">
            <a:extLst>
              <a:ext uri="{FF2B5EF4-FFF2-40B4-BE49-F238E27FC236}">
                <a16:creationId xmlns:a16="http://schemas.microsoft.com/office/drawing/2014/main" id="{FE3E5916-42B3-4CB5-BEAD-D4E5A96A9389}"/>
              </a:ext>
            </a:extLst>
          </p:cNvPr>
          <p:cNvSpPr>
            <a:spLocks noGrp="1"/>
          </p:cNvSpPr>
          <p:nvPr>
            <p:ph type="title"/>
          </p:nvPr>
        </p:nvSpPr>
        <p:spPr/>
        <p:txBody>
          <a:bodyPr/>
          <a:lstStyle/>
          <a:p>
            <a:r>
              <a:rPr lang="nl-NL" b="1" dirty="0"/>
              <a:t>Analytics </a:t>
            </a:r>
            <a:endParaRPr lang="nl-NL" dirty="0"/>
          </a:p>
        </p:txBody>
      </p:sp>
      <p:pic>
        <p:nvPicPr>
          <p:cNvPr id="115714" name="Picture 2" descr="alt_text">
            <a:extLst>
              <a:ext uri="{FF2B5EF4-FFF2-40B4-BE49-F238E27FC236}">
                <a16:creationId xmlns:a16="http://schemas.microsoft.com/office/drawing/2014/main" id="{39EFE546-E38E-403C-B69F-4E73F23C4C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14257" y="1104900"/>
            <a:ext cx="6641194" cy="5176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04269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8D80A-6AD3-4800-A2C7-00CACB568182}"/>
              </a:ext>
            </a:extLst>
          </p:cNvPr>
          <p:cNvSpPr>
            <a:spLocks noGrp="1"/>
          </p:cNvSpPr>
          <p:nvPr>
            <p:ph type="title"/>
          </p:nvPr>
        </p:nvSpPr>
        <p:spPr/>
        <p:txBody>
          <a:bodyPr/>
          <a:lstStyle/>
          <a:p>
            <a:r>
              <a:rPr lang="nl-NL" b="1" dirty="0"/>
              <a:t>Agenda</a:t>
            </a:r>
            <a:endParaRPr lang="nl-NL" dirty="0"/>
          </a:p>
        </p:txBody>
      </p:sp>
      <p:sp>
        <p:nvSpPr>
          <p:cNvPr id="3" name="Rectangle 2">
            <a:extLst>
              <a:ext uri="{FF2B5EF4-FFF2-40B4-BE49-F238E27FC236}">
                <a16:creationId xmlns:a16="http://schemas.microsoft.com/office/drawing/2014/main" id="{41C846D7-1C76-4657-AF3A-EAEE565432A9}"/>
              </a:ext>
            </a:extLst>
          </p:cNvPr>
          <p:cNvSpPr/>
          <p:nvPr/>
        </p:nvSpPr>
        <p:spPr>
          <a:xfrm>
            <a:off x="3297873" y="1862574"/>
            <a:ext cx="1361270" cy="369332"/>
          </a:xfrm>
          <a:prstGeom prst="rect">
            <a:avLst/>
          </a:prstGeom>
        </p:spPr>
        <p:txBody>
          <a:bodyPr wrap="none">
            <a:spAutoFit/>
          </a:bodyPr>
          <a:lstStyle/>
          <a:p>
            <a:pPr marL="285750" indent="-285750">
              <a:buFont typeface="Arial" panose="020B0604020202020204" pitchFamily="34" charset="0"/>
              <a:buChar char="•"/>
            </a:pPr>
            <a:r>
              <a:rPr lang="nl-NL" b="1" dirty="0"/>
              <a:t>Design</a:t>
            </a:r>
            <a:endParaRPr lang="nl-NL" b="1" dirty="0">
              <a:solidFill>
                <a:schemeClr val="tx2">
                  <a:lumMod val="50000"/>
                </a:schemeClr>
              </a:solidFill>
            </a:endParaRPr>
          </a:p>
        </p:txBody>
      </p:sp>
      <p:sp>
        <p:nvSpPr>
          <p:cNvPr id="4" name="Rectangle 3">
            <a:extLst>
              <a:ext uri="{FF2B5EF4-FFF2-40B4-BE49-F238E27FC236}">
                <a16:creationId xmlns:a16="http://schemas.microsoft.com/office/drawing/2014/main" id="{DEE5B597-6618-4996-BE03-61500D0AE34B}"/>
              </a:ext>
            </a:extLst>
          </p:cNvPr>
          <p:cNvSpPr/>
          <p:nvPr/>
        </p:nvSpPr>
        <p:spPr>
          <a:xfrm>
            <a:off x="3297873" y="2461260"/>
            <a:ext cx="1523174"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nl-NL" b="1" dirty="0"/>
              <a:t>Develop</a:t>
            </a:r>
            <a:endParaRPr lang="en-US" b="1" dirty="0">
              <a:solidFill>
                <a:schemeClr val="accent2"/>
              </a:solidFill>
            </a:endParaRPr>
          </a:p>
        </p:txBody>
      </p:sp>
      <p:sp>
        <p:nvSpPr>
          <p:cNvPr id="5" name="Rectangle 4">
            <a:extLst>
              <a:ext uri="{FF2B5EF4-FFF2-40B4-BE49-F238E27FC236}">
                <a16:creationId xmlns:a16="http://schemas.microsoft.com/office/drawing/2014/main" id="{06A55B2D-7129-413F-AF4B-0A14DC8932E2}"/>
              </a:ext>
            </a:extLst>
          </p:cNvPr>
          <p:cNvSpPr/>
          <p:nvPr/>
        </p:nvSpPr>
        <p:spPr>
          <a:xfrm>
            <a:off x="3320315" y="3208678"/>
            <a:ext cx="1361270"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nl-NL" b="1" dirty="0"/>
              <a:t>Secure</a:t>
            </a:r>
            <a:endParaRPr lang="en-US" b="1" dirty="0">
              <a:solidFill>
                <a:schemeClr val="accent2"/>
              </a:solidFill>
            </a:endParaRPr>
          </a:p>
        </p:txBody>
      </p:sp>
      <p:sp>
        <p:nvSpPr>
          <p:cNvPr id="7" name="Rectangle 6">
            <a:extLst>
              <a:ext uri="{FF2B5EF4-FFF2-40B4-BE49-F238E27FC236}">
                <a16:creationId xmlns:a16="http://schemas.microsoft.com/office/drawing/2014/main" id="{5D9D6645-0143-46AB-AA6E-68E7B8903DD3}"/>
              </a:ext>
            </a:extLst>
          </p:cNvPr>
          <p:cNvSpPr/>
          <p:nvPr/>
        </p:nvSpPr>
        <p:spPr>
          <a:xfrm>
            <a:off x="3334743" y="3769763"/>
            <a:ext cx="1486304" cy="555665"/>
          </a:xfrm>
          <a:prstGeom prst="rect">
            <a:avLst/>
          </a:prstGeom>
        </p:spPr>
        <p:txBody>
          <a:bodyPr wrap="none">
            <a:spAutoFit/>
          </a:bodyPr>
          <a:lstStyle/>
          <a:p>
            <a:pPr marL="342900" indent="-342900">
              <a:lnSpc>
                <a:spcPct val="200000"/>
              </a:lnSpc>
              <a:buFont typeface="Arial" panose="020B0604020202020204" pitchFamily="34" charset="0"/>
              <a:buChar char="•"/>
            </a:pPr>
            <a:r>
              <a:rPr lang="nl-NL" b="1" dirty="0"/>
              <a:t>Publish</a:t>
            </a:r>
          </a:p>
        </p:txBody>
      </p:sp>
      <p:sp>
        <p:nvSpPr>
          <p:cNvPr id="8" name="Rectangle 7">
            <a:extLst>
              <a:ext uri="{FF2B5EF4-FFF2-40B4-BE49-F238E27FC236}">
                <a16:creationId xmlns:a16="http://schemas.microsoft.com/office/drawing/2014/main" id="{C9EFACED-7176-4B4F-AC46-AB24219109FB}"/>
              </a:ext>
            </a:extLst>
          </p:cNvPr>
          <p:cNvSpPr/>
          <p:nvPr/>
        </p:nvSpPr>
        <p:spPr>
          <a:xfrm>
            <a:off x="3328929" y="4626761"/>
            <a:ext cx="1159292" cy="369332"/>
          </a:xfrm>
          <a:prstGeom prst="rect">
            <a:avLst/>
          </a:prstGeom>
        </p:spPr>
        <p:txBody>
          <a:bodyPr wrap="none">
            <a:spAutoFit/>
          </a:bodyPr>
          <a:lstStyle/>
          <a:p>
            <a:pPr marL="285750" indent="-285750">
              <a:buFont typeface="Arial" panose="020B0604020202020204" pitchFamily="34" charset="0"/>
              <a:buChar char="•"/>
            </a:pPr>
            <a:r>
              <a:rPr lang="nl-NL" b="1" dirty="0"/>
              <a:t>Scale</a:t>
            </a:r>
            <a:endParaRPr lang="nl-NL" b="1" dirty="0">
              <a:solidFill>
                <a:schemeClr val="accent2"/>
              </a:solidFill>
            </a:endParaRPr>
          </a:p>
        </p:txBody>
      </p:sp>
      <p:sp>
        <p:nvSpPr>
          <p:cNvPr id="9" name="Rectangle 8">
            <a:extLst>
              <a:ext uri="{FF2B5EF4-FFF2-40B4-BE49-F238E27FC236}">
                <a16:creationId xmlns:a16="http://schemas.microsoft.com/office/drawing/2014/main" id="{54BD8A21-92E5-494E-8BD9-504385C99B4F}"/>
              </a:ext>
            </a:extLst>
          </p:cNvPr>
          <p:cNvSpPr/>
          <p:nvPr/>
        </p:nvSpPr>
        <p:spPr>
          <a:xfrm>
            <a:off x="3328929" y="5286016"/>
            <a:ext cx="2848857" cy="646331"/>
          </a:xfrm>
          <a:prstGeom prst="rect">
            <a:avLst/>
          </a:prstGeom>
        </p:spPr>
        <p:txBody>
          <a:bodyPr wrap="none">
            <a:spAutoFit/>
          </a:bodyPr>
          <a:lstStyle/>
          <a:p>
            <a:pPr marL="285750" indent="-285750">
              <a:buFont typeface="Arial" panose="020B0604020202020204" pitchFamily="34" charset="0"/>
              <a:buChar char="•"/>
            </a:pPr>
            <a:r>
              <a:rPr lang="nl-NL" b="1" dirty="0"/>
              <a:t>Monitor &amp; Analyze</a:t>
            </a:r>
          </a:p>
          <a:p>
            <a:pPr marL="285750" indent="-285750">
              <a:buFont typeface="Arial" panose="020B0604020202020204" pitchFamily="34" charset="0"/>
              <a:buChar char="•"/>
            </a:pPr>
            <a:endParaRPr lang="nl-NL" b="1" dirty="0">
              <a:solidFill>
                <a:schemeClr val="accent2"/>
              </a:solidFill>
            </a:endParaRPr>
          </a:p>
        </p:txBody>
      </p:sp>
      <p:sp>
        <p:nvSpPr>
          <p:cNvPr id="10" name="Rectangle 9">
            <a:extLst>
              <a:ext uri="{FF2B5EF4-FFF2-40B4-BE49-F238E27FC236}">
                <a16:creationId xmlns:a16="http://schemas.microsoft.com/office/drawing/2014/main" id="{63009F01-D6E9-4774-8487-27B56211FA84}"/>
              </a:ext>
            </a:extLst>
          </p:cNvPr>
          <p:cNvSpPr/>
          <p:nvPr/>
        </p:nvSpPr>
        <p:spPr>
          <a:xfrm>
            <a:off x="3328929" y="5609181"/>
            <a:ext cx="1630575" cy="555665"/>
          </a:xfrm>
          <a:prstGeom prst="rect">
            <a:avLst/>
          </a:prstGeom>
        </p:spPr>
        <p:txBody>
          <a:bodyPr wrap="none">
            <a:spAutoFit/>
          </a:bodyPr>
          <a:lstStyle/>
          <a:p>
            <a:pPr marL="342900" indent="-342900">
              <a:lnSpc>
                <a:spcPct val="200000"/>
              </a:lnSpc>
              <a:buFont typeface="Arial" panose="020B0604020202020204" pitchFamily="34" charset="0"/>
              <a:buChar char="•"/>
            </a:pPr>
            <a:r>
              <a:rPr lang="nl-NL" b="1" dirty="0"/>
              <a:t>Monitze</a:t>
            </a:r>
            <a:r>
              <a:rPr lang="nl-NL" dirty="0"/>
              <a:t> </a:t>
            </a:r>
          </a:p>
        </p:txBody>
      </p:sp>
      <p:sp>
        <p:nvSpPr>
          <p:cNvPr id="11" name="Rounded Rectangle 7">
            <a:extLst>
              <a:ext uri="{FF2B5EF4-FFF2-40B4-BE49-F238E27FC236}">
                <a16:creationId xmlns:a16="http://schemas.microsoft.com/office/drawing/2014/main" id="{0DBF98E3-DF59-487A-A44E-90E309995122}"/>
              </a:ext>
            </a:extLst>
          </p:cNvPr>
          <p:cNvSpPr/>
          <p:nvPr/>
        </p:nvSpPr>
        <p:spPr bwMode="auto">
          <a:xfrm>
            <a:off x="1668823" y="5738780"/>
            <a:ext cx="7823200" cy="550155"/>
          </a:xfrm>
          <a:prstGeom prst="roundRect">
            <a:avLst>
              <a:gd name="adj" fmla="val 50000"/>
            </a:avLst>
          </a:prstGeom>
          <a:noFill/>
          <a:ln w="28575" cap="flat" cmpd="sng" algn="ctr">
            <a:solidFill>
              <a:schemeClr val="accent2"/>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algn="ctr" defTabSz="685800" eaLnBrk="0" fontAlgn="base" hangingPunct="0">
              <a:spcBef>
                <a:spcPct val="0"/>
              </a:spcBef>
              <a:spcAft>
                <a:spcPct val="0"/>
              </a:spcAft>
            </a:pPr>
            <a:endParaRPr lang="en-US" sz="1400" b="1" dirty="0">
              <a:cs typeface="Arial" charset="0"/>
            </a:endParaRPr>
          </a:p>
        </p:txBody>
      </p:sp>
    </p:spTree>
    <p:extLst>
      <p:ext uri="{BB962C8B-B14F-4D97-AF65-F5344CB8AC3E}">
        <p14:creationId xmlns:p14="http://schemas.microsoft.com/office/powerpoint/2010/main" val="9485851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8D80A-6AD3-4800-A2C7-00CACB568182}"/>
              </a:ext>
            </a:extLst>
          </p:cNvPr>
          <p:cNvSpPr>
            <a:spLocks noGrp="1"/>
          </p:cNvSpPr>
          <p:nvPr>
            <p:ph type="title"/>
          </p:nvPr>
        </p:nvSpPr>
        <p:spPr/>
        <p:txBody>
          <a:bodyPr/>
          <a:lstStyle/>
          <a:p>
            <a:r>
              <a:rPr lang="nl-NL" b="1" dirty="0"/>
              <a:t>Monitzation</a:t>
            </a:r>
          </a:p>
        </p:txBody>
      </p:sp>
      <p:graphicFrame>
        <p:nvGraphicFramePr>
          <p:cNvPr id="4" name="Diagram 3">
            <a:extLst>
              <a:ext uri="{FF2B5EF4-FFF2-40B4-BE49-F238E27FC236}">
                <a16:creationId xmlns:a16="http://schemas.microsoft.com/office/drawing/2014/main" id="{67E86FA2-BC36-4A4A-9E50-940CF3CDBC57}"/>
              </a:ext>
            </a:extLst>
          </p:cNvPr>
          <p:cNvGraphicFramePr/>
          <p:nvPr>
            <p:extLst>
              <p:ext uri="{D42A27DB-BD31-4B8C-83A1-F6EECF244321}">
                <p14:modId xmlns:p14="http://schemas.microsoft.com/office/powerpoint/2010/main" val="3802914257"/>
              </p:ext>
            </p:extLst>
          </p:nvPr>
        </p:nvGraphicFramePr>
        <p:xfrm>
          <a:off x="2416629" y="2209800"/>
          <a:ext cx="9176657" cy="38317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980599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8D80A-6AD3-4800-A2C7-00CACB568182}"/>
              </a:ext>
            </a:extLst>
          </p:cNvPr>
          <p:cNvSpPr>
            <a:spLocks noGrp="1"/>
          </p:cNvSpPr>
          <p:nvPr>
            <p:ph type="title"/>
          </p:nvPr>
        </p:nvSpPr>
        <p:spPr/>
        <p:txBody>
          <a:bodyPr/>
          <a:lstStyle/>
          <a:p>
            <a:r>
              <a:rPr lang="nl-NL" b="1" dirty="0"/>
              <a:t>Agenda</a:t>
            </a:r>
            <a:endParaRPr lang="nl-NL" dirty="0"/>
          </a:p>
        </p:txBody>
      </p:sp>
      <p:sp>
        <p:nvSpPr>
          <p:cNvPr id="3" name="Rectangle 2">
            <a:extLst>
              <a:ext uri="{FF2B5EF4-FFF2-40B4-BE49-F238E27FC236}">
                <a16:creationId xmlns:a16="http://schemas.microsoft.com/office/drawing/2014/main" id="{41C846D7-1C76-4657-AF3A-EAEE565432A9}"/>
              </a:ext>
            </a:extLst>
          </p:cNvPr>
          <p:cNvSpPr/>
          <p:nvPr/>
        </p:nvSpPr>
        <p:spPr>
          <a:xfrm>
            <a:off x="3297873" y="1862574"/>
            <a:ext cx="1361270" cy="369332"/>
          </a:xfrm>
          <a:prstGeom prst="rect">
            <a:avLst/>
          </a:prstGeom>
        </p:spPr>
        <p:txBody>
          <a:bodyPr wrap="none">
            <a:spAutoFit/>
          </a:bodyPr>
          <a:lstStyle/>
          <a:p>
            <a:pPr marL="285750" indent="-285750">
              <a:buFont typeface="Arial" panose="020B0604020202020204" pitchFamily="34" charset="0"/>
              <a:buChar char="•"/>
            </a:pPr>
            <a:r>
              <a:rPr lang="nl-NL" b="1" dirty="0"/>
              <a:t>Design</a:t>
            </a:r>
            <a:endParaRPr lang="nl-NL" b="1" dirty="0">
              <a:solidFill>
                <a:schemeClr val="tx2">
                  <a:lumMod val="50000"/>
                </a:schemeClr>
              </a:solidFill>
            </a:endParaRPr>
          </a:p>
        </p:txBody>
      </p:sp>
      <p:sp>
        <p:nvSpPr>
          <p:cNvPr id="4" name="Rectangle 3">
            <a:extLst>
              <a:ext uri="{FF2B5EF4-FFF2-40B4-BE49-F238E27FC236}">
                <a16:creationId xmlns:a16="http://schemas.microsoft.com/office/drawing/2014/main" id="{DEE5B597-6618-4996-BE03-61500D0AE34B}"/>
              </a:ext>
            </a:extLst>
          </p:cNvPr>
          <p:cNvSpPr/>
          <p:nvPr/>
        </p:nvSpPr>
        <p:spPr>
          <a:xfrm>
            <a:off x="3297873" y="2461260"/>
            <a:ext cx="1523174"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nl-NL" b="1" dirty="0"/>
              <a:t>Develop</a:t>
            </a:r>
            <a:endParaRPr lang="en-US" b="1" dirty="0">
              <a:solidFill>
                <a:schemeClr val="accent2"/>
              </a:solidFill>
            </a:endParaRPr>
          </a:p>
        </p:txBody>
      </p:sp>
      <p:sp>
        <p:nvSpPr>
          <p:cNvPr id="5" name="Rectangle 4">
            <a:extLst>
              <a:ext uri="{FF2B5EF4-FFF2-40B4-BE49-F238E27FC236}">
                <a16:creationId xmlns:a16="http://schemas.microsoft.com/office/drawing/2014/main" id="{06A55B2D-7129-413F-AF4B-0A14DC8932E2}"/>
              </a:ext>
            </a:extLst>
          </p:cNvPr>
          <p:cNvSpPr/>
          <p:nvPr/>
        </p:nvSpPr>
        <p:spPr>
          <a:xfrm>
            <a:off x="3320315" y="3208678"/>
            <a:ext cx="1361270"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nl-NL" b="1" dirty="0"/>
              <a:t>Secure</a:t>
            </a:r>
            <a:endParaRPr lang="en-US" b="1" dirty="0">
              <a:solidFill>
                <a:schemeClr val="accent2"/>
              </a:solidFill>
            </a:endParaRPr>
          </a:p>
        </p:txBody>
      </p:sp>
      <p:sp>
        <p:nvSpPr>
          <p:cNvPr id="7" name="Rectangle 6">
            <a:extLst>
              <a:ext uri="{FF2B5EF4-FFF2-40B4-BE49-F238E27FC236}">
                <a16:creationId xmlns:a16="http://schemas.microsoft.com/office/drawing/2014/main" id="{5D9D6645-0143-46AB-AA6E-68E7B8903DD3}"/>
              </a:ext>
            </a:extLst>
          </p:cNvPr>
          <p:cNvSpPr/>
          <p:nvPr/>
        </p:nvSpPr>
        <p:spPr>
          <a:xfrm>
            <a:off x="3334743" y="3769763"/>
            <a:ext cx="1486304" cy="555665"/>
          </a:xfrm>
          <a:prstGeom prst="rect">
            <a:avLst/>
          </a:prstGeom>
        </p:spPr>
        <p:txBody>
          <a:bodyPr wrap="none">
            <a:spAutoFit/>
          </a:bodyPr>
          <a:lstStyle/>
          <a:p>
            <a:pPr marL="342900" indent="-342900">
              <a:lnSpc>
                <a:spcPct val="200000"/>
              </a:lnSpc>
              <a:buFont typeface="Arial" panose="020B0604020202020204" pitchFamily="34" charset="0"/>
              <a:buChar char="•"/>
            </a:pPr>
            <a:r>
              <a:rPr lang="nl-NL" b="1" dirty="0"/>
              <a:t>Publish</a:t>
            </a:r>
          </a:p>
        </p:txBody>
      </p:sp>
      <p:sp>
        <p:nvSpPr>
          <p:cNvPr id="8" name="Rectangle 7">
            <a:extLst>
              <a:ext uri="{FF2B5EF4-FFF2-40B4-BE49-F238E27FC236}">
                <a16:creationId xmlns:a16="http://schemas.microsoft.com/office/drawing/2014/main" id="{C9EFACED-7176-4B4F-AC46-AB24219109FB}"/>
              </a:ext>
            </a:extLst>
          </p:cNvPr>
          <p:cNvSpPr/>
          <p:nvPr/>
        </p:nvSpPr>
        <p:spPr>
          <a:xfrm>
            <a:off x="3297873" y="4621056"/>
            <a:ext cx="1159292" cy="369332"/>
          </a:xfrm>
          <a:prstGeom prst="rect">
            <a:avLst/>
          </a:prstGeom>
        </p:spPr>
        <p:txBody>
          <a:bodyPr wrap="none">
            <a:spAutoFit/>
          </a:bodyPr>
          <a:lstStyle/>
          <a:p>
            <a:pPr marL="285750" indent="-285750">
              <a:buFont typeface="Arial" panose="020B0604020202020204" pitchFamily="34" charset="0"/>
              <a:buChar char="•"/>
            </a:pPr>
            <a:r>
              <a:rPr lang="nl-NL" b="1" dirty="0"/>
              <a:t>Scale</a:t>
            </a:r>
            <a:endParaRPr lang="nl-NL" b="1" dirty="0">
              <a:solidFill>
                <a:schemeClr val="accent2"/>
              </a:solidFill>
            </a:endParaRPr>
          </a:p>
        </p:txBody>
      </p:sp>
      <p:sp>
        <p:nvSpPr>
          <p:cNvPr id="9" name="Rectangle 8">
            <a:extLst>
              <a:ext uri="{FF2B5EF4-FFF2-40B4-BE49-F238E27FC236}">
                <a16:creationId xmlns:a16="http://schemas.microsoft.com/office/drawing/2014/main" id="{54BD8A21-92E5-494E-8BD9-504385C99B4F}"/>
              </a:ext>
            </a:extLst>
          </p:cNvPr>
          <p:cNvSpPr/>
          <p:nvPr/>
        </p:nvSpPr>
        <p:spPr>
          <a:xfrm>
            <a:off x="3328929" y="5286016"/>
            <a:ext cx="2848857" cy="646331"/>
          </a:xfrm>
          <a:prstGeom prst="rect">
            <a:avLst/>
          </a:prstGeom>
        </p:spPr>
        <p:txBody>
          <a:bodyPr wrap="none">
            <a:spAutoFit/>
          </a:bodyPr>
          <a:lstStyle/>
          <a:p>
            <a:pPr marL="285750" indent="-285750">
              <a:buFont typeface="Arial" panose="020B0604020202020204" pitchFamily="34" charset="0"/>
              <a:buChar char="•"/>
            </a:pPr>
            <a:r>
              <a:rPr lang="nl-NL" b="1" dirty="0"/>
              <a:t>Monitor &amp; Analyze</a:t>
            </a:r>
          </a:p>
          <a:p>
            <a:pPr marL="285750" indent="-285750">
              <a:buFont typeface="Arial" panose="020B0604020202020204" pitchFamily="34" charset="0"/>
              <a:buChar char="•"/>
            </a:pPr>
            <a:endParaRPr lang="nl-NL" b="1" dirty="0">
              <a:solidFill>
                <a:schemeClr val="accent2"/>
              </a:solidFill>
            </a:endParaRPr>
          </a:p>
        </p:txBody>
      </p:sp>
      <p:sp>
        <p:nvSpPr>
          <p:cNvPr id="10" name="Rectangle 9">
            <a:extLst>
              <a:ext uri="{FF2B5EF4-FFF2-40B4-BE49-F238E27FC236}">
                <a16:creationId xmlns:a16="http://schemas.microsoft.com/office/drawing/2014/main" id="{63009F01-D6E9-4774-8487-27B56211FA84}"/>
              </a:ext>
            </a:extLst>
          </p:cNvPr>
          <p:cNvSpPr/>
          <p:nvPr/>
        </p:nvSpPr>
        <p:spPr>
          <a:xfrm>
            <a:off x="3328929" y="5609181"/>
            <a:ext cx="1617751" cy="555665"/>
          </a:xfrm>
          <a:prstGeom prst="rect">
            <a:avLst/>
          </a:prstGeom>
        </p:spPr>
        <p:txBody>
          <a:bodyPr wrap="none">
            <a:spAutoFit/>
          </a:bodyPr>
          <a:lstStyle/>
          <a:p>
            <a:pPr marL="342900" indent="-342900">
              <a:lnSpc>
                <a:spcPct val="200000"/>
              </a:lnSpc>
              <a:buFont typeface="Arial" panose="020B0604020202020204" pitchFamily="34" charset="0"/>
              <a:buChar char="•"/>
            </a:pPr>
            <a:r>
              <a:rPr lang="nl-NL" b="1" dirty="0"/>
              <a:t>CI &amp; CD </a:t>
            </a:r>
            <a:endParaRPr lang="nl-NL" dirty="0"/>
          </a:p>
        </p:txBody>
      </p:sp>
      <p:sp>
        <p:nvSpPr>
          <p:cNvPr id="11" name="Rounded Rectangle 7">
            <a:extLst>
              <a:ext uri="{FF2B5EF4-FFF2-40B4-BE49-F238E27FC236}">
                <a16:creationId xmlns:a16="http://schemas.microsoft.com/office/drawing/2014/main" id="{0DBF98E3-DF59-487A-A44E-90E309995122}"/>
              </a:ext>
            </a:extLst>
          </p:cNvPr>
          <p:cNvSpPr/>
          <p:nvPr/>
        </p:nvSpPr>
        <p:spPr bwMode="auto">
          <a:xfrm>
            <a:off x="1699646" y="5705357"/>
            <a:ext cx="7823200" cy="550155"/>
          </a:xfrm>
          <a:prstGeom prst="roundRect">
            <a:avLst>
              <a:gd name="adj" fmla="val 50000"/>
            </a:avLst>
          </a:prstGeom>
          <a:noFill/>
          <a:ln w="28575" cap="flat" cmpd="sng" algn="ctr">
            <a:solidFill>
              <a:schemeClr val="accent2"/>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algn="ctr" defTabSz="685800" eaLnBrk="0" fontAlgn="base" hangingPunct="0">
              <a:spcBef>
                <a:spcPct val="0"/>
              </a:spcBef>
              <a:spcAft>
                <a:spcPct val="0"/>
              </a:spcAft>
            </a:pPr>
            <a:endParaRPr lang="en-US" sz="1400" b="1" dirty="0">
              <a:cs typeface="Arial" charset="0"/>
            </a:endParaRPr>
          </a:p>
        </p:txBody>
      </p:sp>
    </p:spTree>
    <p:extLst>
      <p:ext uri="{BB962C8B-B14F-4D97-AF65-F5344CB8AC3E}">
        <p14:creationId xmlns:p14="http://schemas.microsoft.com/office/powerpoint/2010/main" val="18597461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8D80A-6AD3-4800-A2C7-00CACB568182}"/>
              </a:ext>
            </a:extLst>
          </p:cNvPr>
          <p:cNvSpPr>
            <a:spLocks noGrp="1"/>
          </p:cNvSpPr>
          <p:nvPr>
            <p:ph type="title"/>
          </p:nvPr>
        </p:nvSpPr>
        <p:spPr/>
        <p:txBody>
          <a:bodyPr/>
          <a:lstStyle/>
          <a:p>
            <a:r>
              <a:rPr lang="nl-NL" b="1" dirty="0"/>
              <a:t>API Proxy Template</a:t>
            </a:r>
          </a:p>
        </p:txBody>
      </p:sp>
      <p:graphicFrame>
        <p:nvGraphicFramePr>
          <p:cNvPr id="12" name="Diagram 11">
            <a:extLst>
              <a:ext uri="{FF2B5EF4-FFF2-40B4-BE49-F238E27FC236}">
                <a16:creationId xmlns:a16="http://schemas.microsoft.com/office/drawing/2014/main" id="{8452772D-BCBA-496B-9AB2-EC52B446F20C}"/>
              </a:ext>
            </a:extLst>
          </p:cNvPr>
          <p:cNvGraphicFramePr/>
          <p:nvPr/>
        </p:nvGraphicFramePr>
        <p:xfrm>
          <a:off x="2824654" y="1393371"/>
          <a:ext cx="8365859" cy="499846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739490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8D80A-6AD3-4800-A2C7-00CACB568182}"/>
              </a:ext>
            </a:extLst>
          </p:cNvPr>
          <p:cNvSpPr>
            <a:spLocks noGrp="1"/>
          </p:cNvSpPr>
          <p:nvPr>
            <p:ph type="title"/>
          </p:nvPr>
        </p:nvSpPr>
        <p:spPr/>
        <p:txBody>
          <a:bodyPr/>
          <a:lstStyle/>
          <a:p>
            <a:r>
              <a:rPr lang="nl-NL" b="1" dirty="0"/>
              <a:t>CI and CD Cycle </a:t>
            </a:r>
          </a:p>
        </p:txBody>
      </p:sp>
      <p:graphicFrame>
        <p:nvGraphicFramePr>
          <p:cNvPr id="4" name="Diagram 3">
            <a:extLst>
              <a:ext uri="{FF2B5EF4-FFF2-40B4-BE49-F238E27FC236}">
                <a16:creationId xmlns:a16="http://schemas.microsoft.com/office/drawing/2014/main" id="{0BE296C9-E69E-45E6-AA96-F466CEA9AA1B}"/>
              </a:ext>
            </a:extLst>
          </p:cNvPr>
          <p:cNvGraphicFramePr/>
          <p:nvPr>
            <p:extLst>
              <p:ext uri="{D42A27DB-BD31-4B8C-83A1-F6EECF244321}">
                <p14:modId xmlns:p14="http://schemas.microsoft.com/office/powerpoint/2010/main" val="3302643153"/>
              </p:ext>
            </p:extLst>
          </p:nvPr>
        </p:nvGraphicFramePr>
        <p:xfrm>
          <a:off x="1337809" y="957943"/>
          <a:ext cx="9516382" cy="55408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357067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8D80A-6AD3-4800-A2C7-00CACB568182}"/>
              </a:ext>
            </a:extLst>
          </p:cNvPr>
          <p:cNvSpPr>
            <a:spLocks noGrp="1"/>
          </p:cNvSpPr>
          <p:nvPr>
            <p:ph type="title"/>
          </p:nvPr>
        </p:nvSpPr>
        <p:spPr/>
        <p:txBody>
          <a:bodyPr/>
          <a:lstStyle/>
          <a:p>
            <a:r>
              <a:rPr lang="nl-NL" b="1" dirty="0"/>
              <a:t>Digital Transformation – </a:t>
            </a:r>
            <a:r>
              <a:rPr lang="en-US" b="1" dirty="0"/>
              <a:t>Go Digital or Go Bust</a:t>
            </a:r>
            <a:endParaRPr lang="nl-NL" dirty="0"/>
          </a:p>
        </p:txBody>
      </p:sp>
      <p:pic>
        <p:nvPicPr>
          <p:cNvPr id="11" name="Content Placeholder 4" descr="A picture containing logo&#10;&#10;Description automatically generated">
            <a:extLst>
              <a:ext uri="{FF2B5EF4-FFF2-40B4-BE49-F238E27FC236}">
                <a16:creationId xmlns:a16="http://schemas.microsoft.com/office/drawing/2014/main" id="{84546156-5B6F-4F7A-8DC8-1E29638E86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69420" y="2169494"/>
            <a:ext cx="5198364" cy="3825707"/>
          </a:xfrm>
          <a:prstGeom prst="rect">
            <a:avLst/>
          </a:prstGeom>
        </p:spPr>
      </p:pic>
      <p:sp>
        <p:nvSpPr>
          <p:cNvPr id="12" name="Rectangle 11">
            <a:extLst>
              <a:ext uri="{FF2B5EF4-FFF2-40B4-BE49-F238E27FC236}">
                <a16:creationId xmlns:a16="http://schemas.microsoft.com/office/drawing/2014/main" id="{CDE38A54-CCEB-4279-A25E-FD2A8CC986A0}"/>
              </a:ext>
            </a:extLst>
          </p:cNvPr>
          <p:cNvSpPr/>
          <p:nvPr/>
        </p:nvSpPr>
        <p:spPr>
          <a:xfrm>
            <a:off x="439281" y="2693476"/>
            <a:ext cx="5077932" cy="3046988"/>
          </a:xfrm>
          <a:prstGeom prst="rect">
            <a:avLst/>
          </a:prstGeom>
        </p:spPr>
        <p:txBody>
          <a:bodyPr wrap="square">
            <a:spAutoFit/>
          </a:bodyPr>
          <a:lstStyle/>
          <a:p>
            <a:r>
              <a:rPr lang="en-US" sz="2400" dirty="0">
                <a:solidFill>
                  <a:srgbClr val="222222"/>
                </a:solidFill>
                <a:latin typeface="SalesforceSansRegular"/>
              </a:rPr>
              <a:t>Digital transformation is the process of using digital technologies to create new — or modify existing — business processes, culture, and customer experiences to meet changing business and market</a:t>
            </a:r>
            <a:r>
              <a:rPr lang="en-US" sz="2400" dirty="0">
                <a:solidFill>
                  <a:srgbClr val="FF0000"/>
                </a:solidFill>
                <a:latin typeface="SalesforceSansRegular"/>
              </a:rPr>
              <a:t> </a:t>
            </a:r>
            <a:r>
              <a:rPr lang="en-US" sz="2400" dirty="0">
                <a:solidFill>
                  <a:srgbClr val="222222"/>
                </a:solidFill>
                <a:latin typeface="SalesforceSansRegular"/>
              </a:rPr>
              <a:t>requirements. This reimagining of business in the digital age is digital transformation.</a:t>
            </a:r>
            <a:endParaRPr lang="nl-NL" sz="2400" dirty="0"/>
          </a:p>
        </p:txBody>
      </p:sp>
    </p:spTree>
    <p:extLst>
      <p:ext uri="{BB962C8B-B14F-4D97-AF65-F5344CB8AC3E}">
        <p14:creationId xmlns:p14="http://schemas.microsoft.com/office/powerpoint/2010/main" val="316866435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8D80A-6AD3-4800-A2C7-00CACB568182}"/>
              </a:ext>
            </a:extLst>
          </p:cNvPr>
          <p:cNvSpPr>
            <a:spLocks noGrp="1"/>
          </p:cNvSpPr>
          <p:nvPr>
            <p:ph type="title"/>
          </p:nvPr>
        </p:nvSpPr>
        <p:spPr/>
        <p:txBody>
          <a:bodyPr/>
          <a:lstStyle/>
          <a:p>
            <a:r>
              <a:rPr lang="nl-NL" b="1" dirty="0"/>
              <a:t>Tools involved in CI and CD Process</a:t>
            </a:r>
          </a:p>
        </p:txBody>
      </p:sp>
      <p:graphicFrame>
        <p:nvGraphicFramePr>
          <p:cNvPr id="11" name="Diagram 10">
            <a:extLst>
              <a:ext uri="{FF2B5EF4-FFF2-40B4-BE49-F238E27FC236}">
                <a16:creationId xmlns:a16="http://schemas.microsoft.com/office/drawing/2014/main" id="{30215F21-4128-4ABE-A0B5-58C7B406B369}"/>
              </a:ext>
            </a:extLst>
          </p:cNvPr>
          <p:cNvGraphicFramePr/>
          <p:nvPr>
            <p:extLst>
              <p:ext uri="{D42A27DB-BD31-4B8C-83A1-F6EECF244321}">
                <p14:modId xmlns:p14="http://schemas.microsoft.com/office/powerpoint/2010/main" val="1283462867"/>
              </p:ext>
            </p:extLst>
          </p:nvPr>
        </p:nvGraphicFramePr>
        <p:xfrm>
          <a:off x="1462881" y="1083935"/>
          <a:ext cx="9266238" cy="536925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769357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8D80A-6AD3-4800-A2C7-00CACB568182}"/>
              </a:ext>
            </a:extLst>
          </p:cNvPr>
          <p:cNvSpPr>
            <a:spLocks noGrp="1"/>
          </p:cNvSpPr>
          <p:nvPr>
            <p:ph type="title"/>
          </p:nvPr>
        </p:nvSpPr>
        <p:spPr/>
        <p:txBody>
          <a:bodyPr/>
          <a:lstStyle/>
          <a:p>
            <a:r>
              <a:rPr lang="nl-NL" b="1" dirty="0"/>
              <a:t>CI and CD Step by Step</a:t>
            </a:r>
          </a:p>
        </p:txBody>
      </p:sp>
      <p:graphicFrame>
        <p:nvGraphicFramePr>
          <p:cNvPr id="4" name="Diagram 3">
            <a:extLst>
              <a:ext uri="{FF2B5EF4-FFF2-40B4-BE49-F238E27FC236}">
                <a16:creationId xmlns:a16="http://schemas.microsoft.com/office/drawing/2014/main" id="{748F56A1-8875-4C8A-98FD-AAA5AD25228F}"/>
              </a:ext>
            </a:extLst>
          </p:cNvPr>
          <p:cNvGraphicFramePr/>
          <p:nvPr>
            <p:extLst>
              <p:ext uri="{D42A27DB-BD31-4B8C-83A1-F6EECF244321}">
                <p14:modId xmlns:p14="http://schemas.microsoft.com/office/powerpoint/2010/main" val="2360548781"/>
              </p:ext>
            </p:extLst>
          </p:nvPr>
        </p:nvGraphicFramePr>
        <p:xfrm>
          <a:off x="1450974" y="1412876"/>
          <a:ext cx="9434739" cy="50403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3813112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1353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8D80A-6AD3-4800-A2C7-00CACB568182}"/>
              </a:ext>
            </a:extLst>
          </p:cNvPr>
          <p:cNvSpPr>
            <a:spLocks noGrp="1"/>
          </p:cNvSpPr>
          <p:nvPr>
            <p:ph type="title"/>
          </p:nvPr>
        </p:nvSpPr>
        <p:spPr>
          <a:xfrm>
            <a:off x="329897" y="164387"/>
            <a:ext cx="6085087" cy="1084529"/>
          </a:xfrm>
        </p:spPr>
        <p:txBody>
          <a:bodyPr/>
          <a:lstStyle/>
          <a:p>
            <a:r>
              <a:rPr lang="nl-NL" b="1" dirty="0"/>
              <a:t>Digital Transformation Cont...</a:t>
            </a:r>
            <a:br>
              <a:rPr lang="nl-NL" b="1" dirty="0"/>
            </a:br>
            <a:r>
              <a:rPr lang="en-US" sz="1800" dirty="0">
                <a:solidFill>
                  <a:schemeClr val="bg2"/>
                </a:solidFill>
              </a:rPr>
              <a:t>How APIs Drive Innovation through Customer Centricity</a:t>
            </a:r>
            <a:br>
              <a:rPr lang="nl-NL" sz="2800" dirty="0">
                <a:solidFill>
                  <a:schemeClr val="tx2"/>
                </a:solidFill>
              </a:rPr>
            </a:br>
            <a:endParaRPr lang="nl-NL" b="1" dirty="0"/>
          </a:p>
        </p:txBody>
      </p:sp>
      <p:sp>
        <p:nvSpPr>
          <p:cNvPr id="5" name="Text Placeholder 1">
            <a:extLst>
              <a:ext uri="{FF2B5EF4-FFF2-40B4-BE49-F238E27FC236}">
                <a16:creationId xmlns:a16="http://schemas.microsoft.com/office/drawing/2014/main" id="{156930DF-76C8-48FA-AAC4-B5DF1ADB6D82}"/>
              </a:ext>
            </a:extLst>
          </p:cNvPr>
          <p:cNvSpPr txBox="1">
            <a:spLocks/>
          </p:cNvSpPr>
          <p:nvPr/>
        </p:nvSpPr>
        <p:spPr>
          <a:xfrm>
            <a:off x="2630855" y="3484330"/>
            <a:ext cx="2500191" cy="1883698"/>
          </a:xfrm>
          <a:prstGeom prst="rect">
            <a:avLst/>
          </a:prstGeom>
        </p:spPr>
        <p:txBody>
          <a:bodyPr/>
          <a:lstStyle/>
          <a:p>
            <a:pPr>
              <a:spcBef>
                <a:spcPts val="200"/>
              </a:spcBef>
              <a:buClr>
                <a:schemeClr val="accent1"/>
              </a:buClr>
            </a:pPr>
            <a:r>
              <a:rPr lang="en-US" dirty="0">
                <a:solidFill>
                  <a:srgbClr val="222222"/>
                </a:solidFill>
                <a:latin typeface="SalesforceSansRegular"/>
              </a:rPr>
              <a:t>Customer Centricity</a:t>
            </a:r>
            <a:endParaRPr lang="en-US"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6" name="SmartArt Placeholder 11">
            <a:extLst>
              <a:ext uri="{FF2B5EF4-FFF2-40B4-BE49-F238E27FC236}">
                <a16:creationId xmlns:a16="http://schemas.microsoft.com/office/drawing/2014/main" id="{44DD1847-14B3-417B-B6FF-23B16219AA12}"/>
              </a:ext>
            </a:extLst>
          </p:cNvPr>
          <p:cNvGraphicFramePr>
            <a:graphicFrameLocks/>
          </p:cNvGraphicFramePr>
          <p:nvPr>
            <p:extLst>
              <p:ext uri="{D42A27DB-BD31-4B8C-83A1-F6EECF244321}">
                <p14:modId xmlns:p14="http://schemas.microsoft.com/office/powerpoint/2010/main" val="149498052"/>
              </p:ext>
            </p:extLst>
          </p:nvPr>
        </p:nvGraphicFramePr>
        <p:xfrm>
          <a:off x="2339191" y="2420196"/>
          <a:ext cx="9168228" cy="8068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 Placeholder 5">
            <a:extLst>
              <a:ext uri="{FF2B5EF4-FFF2-40B4-BE49-F238E27FC236}">
                <a16:creationId xmlns:a16="http://schemas.microsoft.com/office/drawing/2014/main" id="{956028E8-9AC0-4BEC-B04D-A7EF50AE96FB}"/>
              </a:ext>
            </a:extLst>
          </p:cNvPr>
          <p:cNvSpPr txBox="1">
            <a:spLocks/>
          </p:cNvSpPr>
          <p:nvPr/>
        </p:nvSpPr>
        <p:spPr>
          <a:xfrm>
            <a:off x="5590442" y="3484330"/>
            <a:ext cx="2500191" cy="1883698"/>
          </a:xfrm>
          <a:prstGeom prst="rect">
            <a:avLst/>
          </a:prstGeom>
        </p:spPr>
        <p:txBody>
          <a:bodyPr/>
          <a:lstStyle/>
          <a:p>
            <a:pPr>
              <a:spcBef>
                <a:spcPts val="200"/>
              </a:spcBef>
              <a:buClr>
                <a:schemeClr val="accent1"/>
              </a:buClr>
            </a:pPr>
            <a:r>
              <a:rPr lang="en-US" dirty="0">
                <a:solidFill>
                  <a:srgbClr val="222222"/>
                </a:solidFill>
                <a:latin typeface="SalesforceSansRegular"/>
              </a:rPr>
              <a:t>Using API’s for every step in the Customer Journey </a:t>
            </a:r>
          </a:p>
        </p:txBody>
      </p:sp>
      <p:sp>
        <p:nvSpPr>
          <p:cNvPr id="8" name="Text Placeholder 6">
            <a:extLst>
              <a:ext uri="{FF2B5EF4-FFF2-40B4-BE49-F238E27FC236}">
                <a16:creationId xmlns:a16="http://schemas.microsoft.com/office/drawing/2014/main" id="{4F788E10-C039-4980-A218-4C4A1B2201E4}"/>
              </a:ext>
            </a:extLst>
          </p:cNvPr>
          <p:cNvSpPr txBox="1">
            <a:spLocks/>
          </p:cNvSpPr>
          <p:nvPr/>
        </p:nvSpPr>
        <p:spPr>
          <a:xfrm>
            <a:off x="8550028" y="3463965"/>
            <a:ext cx="2957379" cy="1883698"/>
          </a:xfrm>
          <a:prstGeom prst="rect">
            <a:avLst/>
          </a:prstGeom>
        </p:spPr>
        <p:txBody>
          <a:bodyPr/>
          <a:lstStyle/>
          <a:p>
            <a:r>
              <a:rPr lang="en-US" dirty="0">
                <a:solidFill>
                  <a:srgbClr val="222222"/>
                </a:solidFill>
                <a:latin typeface="SalesforceSansRegular"/>
              </a:rPr>
              <a:t>API’s drive Innovation</a:t>
            </a:r>
          </a:p>
          <a:p>
            <a:r>
              <a:rPr lang="en-US" dirty="0">
                <a:solidFill>
                  <a:srgbClr val="222222"/>
                </a:solidFill>
                <a:latin typeface="SalesforceSansRegular"/>
              </a:rPr>
              <a:t>Fast time to market enhance customer experience</a:t>
            </a:r>
          </a:p>
          <a:p>
            <a:r>
              <a:rPr lang="en-US" dirty="0">
                <a:solidFill>
                  <a:srgbClr val="222222"/>
                </a:solidFill>
                <a:latin typeface="SalesforceSansRegular"/>
              </a:rPr>
              <a:t>opening new partner opportunities</a:t>
            </a:r>
          </a:p>
        </p:txBody>
      </p:sp>
      <p:cxnSp>
        <p:nvCxnSpPr>
          <p:cNvPr id="9" name="Conector reto 49">
            <a:extLst>
              <a:ext uri="{FF2B5EF4-FFF2-40B4-BE49-F238E27FC236}">
                <a16:creationId xmlns:a16="http://schemas.microsoft.com/office/drawing/2014/main" id="{0B25F5EE-A2CC-49D3-ACAA-2A9B06A75056}"/>
              </a:ext>
            </a:extLst>
          </p:cNvPr>
          <p:cNvCxnSpPr>
            <a:cxnSpLocks/>
          </p:cNvCxnSpPr>
          <p:nvPr/>
        </p:nvCxnSpPr>
        <p:spPr>
          <a:xfrm>
            <a:off x="5258336" y="3264571"/>
            <a:ext cx="0" cy="1276606"/>
          </a:xfrm>
          <a:prstGeom prst="line">
            <a:avLst/>
          </a:prstGeom>
          <a:solidFill>
            <a:schemeClr val="tx1"/>
          </a:solidFill>
          <a:ln w="47625" cap="flat">
            <a:solidFill>
              <a:srgbClr val="C7C7C7"/>
            </a:solidFill>
            <a:round/>
          </a:ln>
        </p:spPr>
        <p:style>
          <a:lnRef idx="1">
            <a:schemeClr val="accent1"/>
          </a:lnRef>
          <a:fillRef idx="0">
            <a:schemeClr val="accent1"/>
          </a:fillRef>
          <a:effectRef idx="0">
            <a:schemeClr val="accent1"/>
          </a:effectRef>
          <a:fontRef idx="minor">
            <a:schemeClr val="tx1"/>
          </a:fontRef>
        </p:style>
      </p:cxnSp>
      <p:cxnSp>
        <p:nvCxnSpPr>
          <p:cNvPr id="10" name="Conector reto 49">
            <a:extLst>
              <a:ext uri="{FF2B5EF4-FFF2-40B4-BE49-F238E27FC236}">
                <a16:creationId xmlns:a16="http://schemas.microsoft.com/office/drawing/2014/main" id="{ADFA1ABE-74B2-4164-80DF-BB3190FEE99F}"/>
              </a:ext>
            </a:extLst>
          </p:cNvPr>
          <p:cNvCxnSpPr>
            <a:cxnSpLocks/>
          </p:cNvCxnSpPr>
          <p:nvPr/>
        </p:nvCxnSpPr>
        <p:spPr>
          <a:xfrm>
            <a:off x="8217923" y="3328643"/>
            <a:ext cx="0" cy="1212534"/>
          </a:xfrm>
          <a:prstGeom prst="line">
            <a:avLst/>
          </a:prstGeom>
          <a:solidFill>
            <a:schemeClr val="tx1"/>
          </a:solidFill>
          <a:ln w="47625" cap="flat">
            <a:solidFill>
              <a:srgbClr val="C7C7C7"/>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8169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1B855243-4E7B-48CA-A031-5D7F9507CBAB}"/>
              </a:ext>
            </a:extLst>
          </p:cNvPr>
          <p:cNvGraphicFramePr/>
          <p:nvPr/>
        </p:nvGraphicFramePr>
        <p:xfrm>
          <a:off x="334599" y="2205319"/>
          <a:ext cx="5396909" cy="43519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274F02BD-89BC-4ACC-83C9-E21B463A619C}"/>
              </a:ext>
            </a:extLst>
          </p:cNvPr>
          <p:cNvGraphicFramePr/>
          <p:nvPr/>
        </p:nvGraphicFramePr>
        <p:xfrm>
          <a:off x="336548" y="1420989"/>
          <a:ext cx="5394960" cy="74398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Diagram 10">
            <a:extLst>
              <a:ext uri="{FF2B5EF4-FFF2-40B4-BE49-F238E27FC236}">
                <a16:creationId xmlns:a16="http://schemas.microsoft.com/office/drawing/2014/main" id="{E9E7A6C3-03CD-4ADD-9308-1C9421A279A9}"/>
              </a:ext>
            </a:extLst>
          </p:cNvPr>
          <p:cNvGraphicFramePr/>
          <p:nvPr/>
        </p:nvGraphicFramePr>
        <p:xfrm>
          <a:off x="6462441" y="1420989"/>
          <a:ext cx="5394960" cy="743987"/>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5" name="Title 4">
            <a:extLst>
              <a:ext uri="{FF2B5EF4-FFF2-40B4-BE49-F238E27FC236}">
                <a16:creationId xmlns:a16="http://schemas.microsoft.com/office/drawing/2014/main" id="{3456F6F3-4CDB-42E4-8CF1-2706D956C84B}"/>
              </a:ext>
            </a:extLst>
          </p:cNvPr>
          <p:cNvSpPr>
            <a:spLocks noGrp="1"/>
          </p:cNvSpPr>
          <p:nvPr>
            <p:ph type="title"/>
          </p:nvPr>
        </p:nvSpPr>
        <p:spPr/>
        <p:txBody>
          <a:bodyPr/>
          <a:lstStyle/>
          <a:p>
            <a:br>
              <a:rPr lang="nl-NL" sz="2400" b="1" dirty="0">
                <a:solidFill>
                  <a:schemeClr val="tx2">
                    <a:lumMod val="50000"/>
                  </a:schemeClr>
                </a:solidFill>
                <a:latin typeface="Verdana" panose="020B0604030504040204" pitchFamily="34" charset="0"/>
                <a:ea typeface="Verdana" panose="020B0604030504040204" pitchFamily="34" charset="0"/>
              </a:rPr>
            </a:br>
            <a:r>
              <a:rPr lang="en-US" sz="2400" b="1" dirty="0"/>
              <a:t>Power of API’s  - </a:t>
            </a:r>
            <a:r>
              <a:rPr lang="nl-NL" sz="2400" b="1" dirty="0"/>
              <a:t>Connectivity Benchmark Report</a:t>
            </a:r>
          </a:p>
        </p:txBody>
      </p:sp>
      <p:graphicFrame>
        <p:nvGraphicFramePr>
          <p:cNvPr id="8" name="Diagram 7">
            <a:extLst>
              <a:ext uri="{FF2B5EF4-FFF2-40B4-BE49-F238E27FC236}">
                <a16:creationId xmlns:a16="http://schemas.microsoft.com/office/drawing/2014/main" id="{575D3908-4ACB-4969-AE1E-B6A5CD670AF7}"/>
              </a:ext>
            </a:extLst>
          </p:cNvPr>
          <p:cNvGraphicFramePr/>
          <p:nvPr/>
        </p:nvGraphicFramePr>
        <p:xfrm>
          <a:off x="6574201" y="2523730"/>
          <a:ext cx="5394960" cy="3677321"/>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Tree>
    <p:extLst>
      <p:ext uri="{BB962C8B-B14F-4D97-AF65-F5344CB8AC3E}">
        <p14:creationId xmlns:p14="http://schemas.microsoft.com/office/powerpoint/2010/main" val="36606262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360C1D-726E-4A3E-BDF6-88BD374FB81A}"/>
              </a:ext>
            </a:extLst>
          </p:cNvPr>
          <p:cNvSpPr>
            <a:spLocks noGrp="1"/>
          </p:cNvSpPr>
          <p:nvPr>
            <p:ph type="title"/>
          </p:nvPr>
        </p:nvSpPr>
        <p:spPr/>
        <p:txBody>
          <a:bodyPr/>
          <a:lstStyle/>
          <a:p>
            <a:r>
              <a:rPr lang="en-US" b="1" dirty="0"/>
              <a:t>Questions Unanswered </a:t>
            </a:r>
            <a:endParaRPr lang="nl-NL" b="1" dirty="0"/>
          </a:p>
        </p:txBody>
      </p:sp>
      <p:sp>
        <p:nvSpPr>
          <p:cNvPr id="5" name="Google Shape;221;p42">
            <a:extLst>
              <a:ext uri="{FF2B5EF4-FFF2-40B4-BE49-F238E27FC236}">
                <a16:creationId xmlns:a16="http://schemas.microsoft.com/office/drawing/2014/main" id="{1E03D248-5E54-484C-8A2E-0060C110C22A}"/>
              </a:ext>
            </a:extLst>
          </p:cNvPr>
          <p:cNvSpPr txBox="1">
            <a:spLocks/>
          </p:cNvSpPr>
          <p:nvPr/>
        </p:nvSpPr>
        <p:spPr>
          <a:xfrm>
            <a:off x="905829" y="2342508"/>
            <a:ext cx="10958513" cy="3739793"/>
          </a:xfrm>
          <a:prstGeom prst="rect">
            <a:avLst/>
          </a:prstGeom>
          <a:noFill/>
          <a:ln>
            <a:noFill/>
          </a:ln>
        </p:spPr>
        <p:txBody>
          <a:bodyPr spcFirstLastPara="1" wrap="square" lIns="0" tIns="0" rIns="0" bIns="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28650">
              <a:spcBef>
                <a:spcPts val="600"/>
              </a:spcBef>
            </a:pPr>
            <a:endParaRPr lang="nl-NL"/>
          </a:p>
          <a:p>
            <a:pPr marL="225425" indent="-73025" algn="ctr">
              <a:spcBef>
                <a:spcPts val="0"/>
              </a:spcBef>
              <a:buClr>
                <a:srgbClr val="000000"/>
              </a:buClr>
              <a:buSzPts val="2400"/>
            </a:pPr>
            <a:endParaRPr lang="nl-NL" b="1" dirty="0">
              <a:solidFill>
                <a:srgbClr val="E6E7E9"/>
              </a:solidFill>
              <a:latin typeface="Tw Cen MT" panose="020B0602020104020603" pitchFamily="34" charset="0"/>
              <a:ea typeface="Arial"/>
              <a:cs typeface="Arial"/>
              <a:sym typeface="Arial"/>
            </a:endParaRPr>
          </a:p>
        </p:txBody>
      </p:sp>
      <p:grpSp>
        <p:nvGrpSpPr>
          <p:cNvPr id="6" name="Group 5">
            <a:extLst>
              <a:ext uri="{FF2B5EF4-FFF2-40B4-BE49-F238E27FC236}">
                <a16:creationId xmlns:a16="http://schemas.microsoft.com/office/drawing/2014/main" id="{64620EEF-05A4-435D-8B74-7D115490C75A}"/>
              </a:ext>
            </a:extLst>
          </p:cNvPr>
          <p:cNvGrpSpPr/>
          <p:nvPr/>
        </p:nvGrpSpPr>
        <p:grpSpPr>
          <a:xfrm>
            <a:off x="1071642" y="3096532"/>
            <a:ext cx="2501489" cy="1791640"/>
            <a:chOff x="2026295" y="3657473"/>
            <a:chExt cx="1915627" cy="1484244"/>
          </a:xfrm>
        </p:grpSpPr>
        <p:sp>
          <p:nvSpPr>
            <p:cNvPr id="7" name="Rectangle: Rounded Corners 20">
              <a:extLst>
                <a:ext uri="{FF2B5EF4-FFF2-40B4-BE49-F238E27FC236}">
                  <a16:creationId xmlns:a16="http://schemas.microsoft.com/office/drawing/2014/main" id="{4CFB751E-7C79-4083-AB89-AB506DBCBA5A}"/>
                </a:ext>
              </a:extLst>
            </p:cNvPr>
            <p:cNvSpPr/>
            <p:nvPr/>
          </p:nvSpPr>
          <p:spPr>
            <a:xfrm rot="2700000">
              <a:off x="2307222" y="3657473"/>
              <a:ext cx="1484244" cy="1484244"/>
            </a:xfrm>
            <a:prstGeom prst="roundRect">
              <a:avLst>
                <a:gd name="adj" fmla="val 13096"/>
              </a:avLst>
            </a:prstGeom>
            <a:solidFill>
              <a:srgbClr val="EF3078"/>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00BBED9B-2568-45CB-8E1F-929DFAB8DE57}"/>
                </a:ext>
              </a:extLst>
            </p:cNvPr>
            <p:cNvSpPr txBox="1"/>
            <p:nvPr/>
          </p:nvSpPr>
          <p:spPr>
            <a:xfrm>
              <a:off x="2026295" y="4100452"/>
              <a:ext cx="1915627" cy="433450"/>
            </a:xfrm>
            <a:prstGeom prst="rect">
              <a:avLst/>
            </a:prstGeom>
            <a:noFill/>
          </p:spPr>
          <p:txBody>
            <a:bodyPr wrap="square" rtlCol="0">
              <a:spAutoFit/>
            </a:bodyPr>
            <a:lstStyle/>
            <a:p>
              <a:pPr algn="ctr"/>
              <a:r>
                <a:rPr lang="en-US" sz="2800" b="1" dirty="0">
                  <a:solidFill>
                    <a:srgbClr val="E6E7E9"/>
                  </a:solidFill>
                  <a:latin typeface="Tw Cen MT" panose="020B0602020104020603" pitchFamily="34" charset="0"/>
                </a:rPr>
                <a:t>Security</a:t>
              </a:r>
            </a:p>
          </p:txBody>
        </p:sp>
      </p:grpSp>
      <p:grpSp>
        <p:nvGrpSpPr>
          <p:cNvPr id="10" name="Group 9">
            <a:extLst>
              <a:ext uri="{FF2B5EF4-FFF2-40B4-BE49-F238E27FC236}">
                <a16:creationId xmlns:a16="http://schemas.microsoft.com/office/drawing/2014/main" id="{4B7C4382-FD5B-4066-AEE3-2E25F04255C3}"/>
              </a:ext>
            </a:extLst>
          </p:cNvPr>
          <p:cNvGrpSpPr/>
          <p:nvPr/>
        </p:nvGrpSpPr>
        <p:grpSpPr>
          <a:xfrm>
            <a:off x="4030918" y="3099380"/>
            <a:ext cx="2079851" cy="1915911"/>
            <a:chOff x="3816926" y="2407791"/>
            <a:chExt cx="1679210" cy="1484244"/>
          </a:xfrm>
        </p:grpSpPr>
        <p:sp>
          <p:nvSpPr>
            <p:cNvPr id="11" name="Rectangle: Rounded Corners 21">
              <a:extLst>
                <a:ext uri="{FF2B5EF4-FFF2-40B4-BE49-F238E27FC236}">
                  <a16:creationId xmlns:a16="http://schemas.microsoft.com/office/drawing/2014/main" id="{3DDAC81A-3BDE-45CA-9D9F-C3CE7BE02AE5}"/>
                </a:ext>
              </a:extLst>
            </p:cNvPr>
            <p:cNvSpPr/>
            <p:nvPr/>
          </p:nvSpPr>
          <p:spPr>
            <a:xfrm rot="2700000">
              <a:off x="3884202" y="2407791"/>
              <a:ext cx="1484244" cy="1484244"/>
            </a:xfrm>
            <a:prstGeom prst="roundRect">
              <a:avLst>
                <a:gd name="adj" fmla="val 13096"/>
              </a:avLst>
            </a:prstGeom>
            <a:solidFill>
              <a:srgbClr val="03A1A4"/>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C0F63642-C01A-4DB3-8010-8D4BC74199F7}"/>
                </a:ext>
              </a:extLst>
            </p:cNvPr>
            <p:cNvSpPr txBox="1"/>
            <p:nvPr/>
          </p:nvSpPr>
          <p:spPr>
            <a:xfrm>
              <a:off x="3816926" y="2670299"/>
              <a:ext cx="1679210" cy="739141"/>
            </a:xfrm>
            <a:prstGeom prst="rect">
              <a:avLst/>
            </a:prstGeom>
            <a:noFill/>
          </p:spPr>
          <p:txBody>
            <a:bodyPr wrap="square" rtlCol="0">
              <a:spAutoFit/>
            </a:bodyPr>
            <a:lstStyle/>
            <a:p>
              <a:pPr algn="ctr"/>
              <a:r>
                <a:rPr lang="en-US" sz="2800" b="1" dirty="0">
                  <a:solidFill>
                    <a:srgbClr val="E6E7E9"/>
                  </a:solidFill>
                  <a:latin typeface="Tw Cen MT" panose="020B0602020104020603" pitchFamily="34" charset="0"/>
                </a:rPr>
                <a:t>Developer Engagement</a:t>
              </a:r>
            </a:p>
          </p:txBody>
        </p:sp>
      </p:grpSp>
      <p:grpSp>
        <p:nvGrpSpPr>
          <p:cNvPr id="14" name="Group 13">
            <a:extLst>
              <a:ext uri="{FF2B5EF4-FFF2-40B4-BE49-F238E27FC236}">
                <a16:creationId xmlns:a16="http://schemas.microsoft.com/office/drawing/2014/main" id="{CA5C1718-7F8F-49D6-BEF7-DF5A4FA80D1C}"/>
              </a:ext>
            </a:extLst>
          </p:cNvPr>
          <p:cNvGrpSpPr/>
          <p:nvPr/>
        </p:nvGrpSpPr>
        <p:grpSpPr>
          <a:xfrm>
            <a:off x="6604280" y="2964785"/>
            <a:ext cx="2301790" cy="2008874"/>
            <a:chOff x="4355469" y="2684256"/>
            <a:chExt cx="2209772" cy="1923735"/>
          </a:xfrm>
        </p:grpSpPr>
        <p:sp>
          <p:nvSpPr>
            <p:cNvPr id="15" name="Rectangle: Rounded Corners 22">
              <a:extLst>
                <a:ext uri="{FF2B5EF4-FFF2-40B4-BE49-F238E27FC236}">
                  <a16:creationId xmlns:a16="http://schemas.microsoft.com/office/drawing/2014/main" id="{2E8D8D75-BB90-4C53-B309-9CC88B5F6F8A}"/>
                </a:ext>
              </a:extLst>
            </p:cNvPr>
            <p:cNvSpPr/>
            <p:nvPr/>
          </p:nvSpPr>
          <p:spPr>
            <a:xfrm rot="2700000">
              <a:off x="4418649" y="2668044"/>
              <a:ext cx="1923735" cy="1956159"/>
            </a:xfrm>
            <a:prstGeom prst="roundRect">
              <a:avLst>
                <a:gd name="adj" fmla="val 13096"/>
              </a:avLst>
            </a:prstGeom>
            <a:solidFill>
              <a:srgbClr val="EE9524"/>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a:extLst>
                <a:ext uri="{FF2B5EF4-FFF2-40B4-BE49-F238E27FC236}">
                  <a16:creationId xmlns:a16="http://schemas.microsoft.com/office/drawing/2014/main" id="{5165A09A-0B0D-403A-895B-0C934431ED1B}"/>
                </a:ext>
              </a:extLst>
            </p:cNvPr>
            <p:cNvSpPr txBox="1"/>
            <p:nvPr/>
          </p:nvSpPr>
          <p:spPr>
            <a:xfrm>
              <a:off x="4355469" y="3409679"/>
              <a:ext cx="2209772" cy="501045"/>
            </a:xfrm>
            <a:prstGeom prst="rect">
              <a:avLst/>
            </a:prstGeom>
            <a:noFill/>
          </p:spPr>
          <p:txBody>
            <a:bodyPr wrap="square" rtlCol="0">
              <a:spAutoFit/>
            </a:bodyPr>
            <a:lstStyle/>
            <a:p>
              <a:pPr algn="ctr"/>
              <a:r>
                <a:rPr lang="en-US" sz="2800" b="1" dirty="0">
                  <a:solidFill>
                    <a:srgbClr val="E6E7E9"/>
                  </a:solidFill>
                  <a:latin typeface="Tw Cen MT" panose="020B0602020104020603" pitchFamily="34" charset="0"/>
                </a:rPr>
                <a:t>Two Speed IT</a:t>
              </a:r>
            </a:p>
          </p:txBody>
        </p:sp>
      </p:grpSp>
      <p:grpSp>
        <p:nvGrpSpPr>
          <p:cNvPr id="18" name="Group 17">
            <a:extLst>
              <a:ext uri="{FF2B5EF4-FFF2-40B4-BE49-F238E27FC236}">
                <a16:creationId xmlns:a16="http://schemas.microsoft.com/office/drawing/2014/main" id="{BF9404FE-400A-4C79-A694-D4323A5BCBB3}"/>
              </a:ext>
            </a:extLst>
          </p:cNvPr>
          <p:cNvGrpSpPr/>
          <p:nvPr/>
        </p:nvGrpSpPr>
        <p:grpSpPr>
          <a:xfrm>
            <a:off x="8906070" y="2902761"/>
            <a:ext cx="2738810" cy="2503428"/>
            <a:chOff x="7726299" y="2529155"/>
            <a:chExt cx="2312326" cy="1912760"/>
          </a:xfrm>
        </p:grpSpPr>
        <p:sp>
          <p:nvSpPr>
            <p:cNvPr id="19" name="Rectangle: Rounded Corners 23">
              <a:extLst>
                <a:ext uri="{FF2B5EF4-FFF2-40B4-BE49-F238E27FC236}">
                  <a16:creationId xmlns:a16="http://schemas.microsoft.com/office/drawing/2014/main" id="{455E65D7-F36C-423E-9891-F7C5A4BBD1E2}"/>
                </a:ext>
              </a:extLst>
            </p:cNvPr>
            <p:cNvSpPr/>
            <p:nvPr/>
          </p:nvSpPr>
          <p:spPr>
            <a:xfrm rot="2700000">
              <a:off x="8269825" y="2520799"/>
              <a:ext cx="1558160" cy="1707274"/>
            </a:xfrm>
            <a:prstGeom prst="roundRect">
              <a:avLst>
                <a:gd name="adj" fmla="val 13096"/>
              </a:avLst>
            </a:prstGeom>
            <a:solidFill>
              <a:srgbClr val="00B0F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39A27B82-EE52-462C-8D4C-1551A542F15C}"/>
                </a:ext>
              </a:extLst>
            </p:cNvPr>
            <p:cNvSpPr txBox="1"/>
            <p:nvPr/>
          </p:nvSpPr>
          <p:spPr>
            <a:xfrm>
              <a:off x="7726299" y="2529155"/>
              <a:ext cx="1970289" cy="352738"/>
            </a:xfrm>
            <a:prstGeom prst="rect">
              <a:avLst/>
            </a:prstGeom>
            <a:noFill/>
          </p:spPr>
          <p:txBody>
            <a:bodyPr wrap="square" rtlCol="0">
              <a:spAutoFit/>
            </a:bodyPr>
            <a:lstStyle/>
            <a:p>
              <a:pPr marL="225425" indent="-73025">
                <a:spcBef>
                  <a:spcPts val="1200"/>
                </a:spcBef>
                <a:buSzPts val="2400"/>
              </a:pPr>
              <a:endParaRPr lang="en-US" sz="2400" b="1" dirty="0">
                <a:solidFill>
                  <a:srgbClr val="E6E7E9"/>
                </a:solidFill>
                <a:latin typeface="Tw Cen MT" panose="020B0602020104020603" pitchFamily="34" charset="0"/>
              </a:endParaRPr>
            </a:p>
          </p:txBody>
        </p:sp>
        <p:sp>
          <p:nvSpPr>
            <p:cNvPr id="21" name="TextBox 20">
              <a:extLst>
                <a:ext uri="{FF2B5EF4-FFF2-40B4-BE49-F238E27FC236}">
                  <a16:creationId xmlns:a16="http://schemas.microsoft.com/office/drawing/2014/main" id="{380F8F5A-5564-432D-9F4B-2B3A919FA43E}"/>
                </a:ext>
              </a:extLst>
            </p:cNvPr>
            <p:cNvSpPr txBox="1"/>
            <p:nvPr/>
          </p:nvSpPr>
          <p:spPr>
            <a:xfrm>
              <a:off x="8423480" y="4206756"/>
              <a:ext cx="1615145" cy="235159"/>
            </a:xfrm>
            <a:prstGeom prst="rect">
              <a:avLst/>
            </a:prstGeom>
            <a:noFill/>
          </p:spPr>
          <p:txBody>
            <a:bodyPr wrap="square" rtlCol="0">
              <a:spAutoFit/>
            </a:bodyPr>
            <a:lstStyle/>
            <a:p>
              <a:pPr algn="ctr"/>
              <a:endParaRPr lang="en-US" sz="1400" b="1" dirty="0">
                <a:solidFill>
                  <a:srgbClr val="E6E7E9"/>
                </a:solidFill>
                <a:latin typeface="Tw Cen MT" panose="020B0602020104020603" pitchFamily="34" charset="0"/>
              </a:endParaRPr>
            </a:p>
          </p:txBody>
        </p:sp>
      </p:grpSp>
      <p:sp>
        <p:nvSpPr>
          <p:cNvPr id="23" name="TextBox 22">
            <a:extLst>
              <a:ext uri="{FF2B5EF4-FFF2-40B4-BE49-F238E27FC236}">
                <a16:creationId xmlns:a16="http://schemas.microsoft.com/office/drawing/2014/main" id="{F2A84924-137A-4762-8BEC-6DDC85CCA962}"/>
              </a:ext>
            </a:extLst>
          </p:cNvPr>
          <p:cNvSpPr txBox="1"/>
          <p:nvPr/>
        </p:nvSpPr>
        <p:spPr>
          <a:xfrm>
            <a:off x="9579386" y="3625221"/>
            <a:ext cx="1624856" cy="523220"/>
          </a:xfrm>
          <a:prstGeom prst="rect">
            <a:avLst/>
          </a:prstGeom>
          <a:noFill/>
        </p:spPr>
        <p:txBody>
          <a:bodyPr wrap="square" rtlCol="0">
            <a:spAutoFit/>
          </a:bodyPr>
          <a:lstStyle/>
          <a:p>
            <a:pPr algn="ctr"/>
            <a:r>
              <a:rPr lang="en-US" sz="2800" b="1" dirty="0">
                <a:solidFill>
                  <a:srgbClr val="E6E7E9"/>
                </a:solidFill>
                <a:latin typeface="Tw Cen MT" panose="020B0602020104020603" pitchFamily="34" charset="0"/>
              </a:rPr>
              <a:t>Analytics</a:t>
            </a:r>
          </a:p>
        </p:txBody>
      </p:sp>
    </p:spTree>
    <p:extLst>
      <p:ext uri="{BB962C8B-B14F-4D97-AF65-F5344CB8AC3E}">
        <p14:creationId xmlns:p14="http://schemas.microsoft.com/office/powerpoint/2010/main" val="4243088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nodeType="after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anim calcmode="lin" valueType="num">
                                      <p:cBhvr>
                                        <p:cTn id="14" dur="500" fill="hold"/>
                                        <p:tgtEl>
                                          <p:spTgt spid="10"/>
                                        </p:tgtEl>
                                        <p:attrNameLst>
                                          <p:attrName>ppt_x</p:attrName>
                                        </p:attrNameLst>
                                      </p:cBhvr>
                                      <p:tavLst>
                                        <p:tav tm="0">
                                          <p:val>
                                            <p:strVal val="#ppt_x"/>
                                          </p:val>
                                        </p:tav>
                                        <p:tav tm="100000">
                                          <p:val>
                                            <p:strVal val="#ppt_x"/>
                                          </p:val>
                                        </p:tav>
                                      </p:tavLst>
                                    </p:anim>
                                    <p:anim calcmode="lin" valueType="num">
                                      <p:cBhvr>
                                        <p:cTn id="15" dur="500" fill="hold"/>
                                        <p:tgtEl>
                                          <p:spTgt spid="10"/>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anim calcmode="lin" valueType="num">
                                      <p:cBhvr>
                                        <p:cTn id="20" dur="500" fill="hold"/>
                                        <p:tgtEl>
                                          <p:spTgt spid="14"/>
                                        </p:tgtEl>
                                        <p:attrNameLst>
                                          <p:attrName>ppt_x</p:attrName>
                                        </p:attrNameLst>
                                      </p:cBhvr>
                                      <p:tavLst>
                                        <p:tav tm="0">
                                          <p:val>
                                            <p:strVal val="#ppt_x"/>
                                          </p:val>
                                        </p:tav>
                                        <p:tav tm="100000">
                                          <p:val>
                                            <p:strVal val="#ppt_x"/>
                                          </p:val>
                                        </p:tav>
                                      </p:tavLst>
                                    </p:anim>
                                    <p:anim calcmode="lin" valueType="num">
                                      <p:cBhvr>
                                        <p:cTn id="21" dur="500" fill="hold"/>
                                        <p:tgtEl>
                                          <p:spTgt spid="14"/>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nodeType="after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500"/>
                                        <p:tgtEl>
                                          <p:spTgt spid="18"/>
                                        </p:tgtEl>
                                      </p:cBhvr>
                                    </p:animEffect>
                                    <p:anim calcmode="lin" valueType="num">
                                      <p:cBhvr>
                                        <p:cTn id="26" dur="500" fill="hold"/>
                                        <p:tgtEl>
                                          <p:spTgt spid="18"/>
                                        </p:tgtEl>
                                        <p:attrNameLst>
                                          <p:attrName>ppt_x</p:attrName>
                                        </p:attrNameLst>
                                      </p:cBhvr>
                                      <p:tavLst>
                                        <p:tav tm="0">
                                          <p:val>
                                            <p:strVal val="#ppt_x"/>
                                          </p:val>
                                        </p:tav>
                                        <p:tav tm="100000">
                                          <p:val>
                                            <p:strVal val="#ppt_x"/>
                                          </p:val>
                                        </p:tav>
                                      </p:tavLst>
                                    </p:anim>
                                    <p:anim calcmode="lin" valueType="num">
                                      <p:cBhvr>
                                        <p:cTn id="27" dur="5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8D80A-6AD3-4800-A2C7-00CACB568182}"/>
              </a:ext>
            </a:extLst>
          </p:cNvPr>
          <p:cNvSpPr>
            <a:spLocks noGrp="1"/>
          </p:cNvSpPr>
          <p:nvPr>
            <p:ph type="title"/>
          </p:nvPr>
        </p:nvSpPr>
        <p:spPr/>
        <p:txBody>
          <a:bodyPr/>
          <a:lstStyle/>
          <a:p>
            <a:r>
              <a:rPr lang="nl-NL" b="1" dirty="0"/>
              <a:t>Agenda</a:t>
            </a:r>
            <a:endParaRPr lang="nl-NL" dirty="0"/>
          </a:p>
        </p:txBody>
      </p:sp>
      <p:sp>
        <p:nvSpPr>
          <p:cNvPr id="3" name="Rectangle 2">
            <a:extLst>
              <a:ext uri="{FF2B5EF4-FFF2-40B4-BE49-F238E27FC236}">
                <a16:creationId xmlns:a16="http://schemas.microsoft.com/office/drawing/2014/main" id="{41C846D7-1C76-4657-AF3A-EAEE565432A9}"/>
              </a:ext>
            </a:extLst>
          </p:cNvPr>
          <p:cNvSpPr/>
          <p:nvPr/>
        </p:nvSpPr>
        <p:spPr>
          <a:xfrm>
            <a:off x="3297873" y="1862574"/>
            <a:ext cx="5971507" cy="369332"/>
          </a:xfrm>
          <a:prstGeom prst="rect">
            <a:avLst/>
          </a:prstGeom>
        </p:spPr>
        <p:txBody>
          <a:bodyPr wrap="none">
            <a:spAutoFit/>
          </a:bodyPr>
          <a:lstStyle/>
          <a:p>
            <a:pPr marL="285750" indent="-285750">
              <a:buFont typeface="Arial" panose="020B0604020202020204" pitchFamily="34" charset="0"/>
              <a:buChar char="•"/>
            </a:pPr>
            <a:r>
              <a:rPr lang="en-US" b="1" dirty="0">
                <a:solidFill>
                  <a:schemeClr val="tx2">
                    <a:lumMod val="50000"/>
                  </a:schemeClr>
                </a:solidFill>
              </a:rPr>
              <a:t>Digital Transformation and Power of API’s</a:t>
            </a:r>
            <a:endParaRPr lang="nl-NL" b="1" dirty="0">
              <a:solidFill>
                <a:schemeClr val="tx2">
                  <a:lumMod val="50000"/>
                </a:schemeClr>
              </a:solidFill>
            </a:endParaRPr>
          </a:p>
        </p:txBody>
      </p:sp>
      <p:sp>
        <p:nvSpPr>
          <p:cNvPr id="4" name="Rectangle 3">
            <a:extLst>
              <a:ext uri="{FF2B5EF4-FFF2-40B4-BE49-F238E27FC236}">
                <a16:creationId xmlns:a16="http://schemas.microsoft.com/office/drawing/2014/main" id="{DEE5B597-6618-4996-BE03-61500D0AE34B}"/>
              </a:ext>
            </a:extLst>
          </p:cNvPr>
          <p:cNvSpPr/>
          <p:nvPr/>
        </p:nvSpPr>
        <p:spPr>
          <a:xfrm>
            <a:off x="3297873" y="2461260"/>
            <a:ext cx="5150769"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en-US" b="1" dirty="0">
                <a:solidFill>
                  <a:schemeClr val="tx2">
                    <a:lumMod val="50000"/>
                  </a:schemeClr>
                </a:solidFill>
              </a:rPr>
              <a:t>API Management Platform - </a:t>
            </a:r>
            <a:r>
              <a:rPr lang="en-GB" b="1" dirty="0">
                <a:solidFill>
                  <a:schemeClr val="tx2">
                    <a:lumMod val="50000"/>
                  </a:schemeClr>
                </a:solidFill>
              </a:rPr>
              <a:t>APIGEE</a:t>
            </a:r>
            <a:endParaRPr lang="en-US" b="1" dirty="0">
              <a:solidFill>
                <a:schemeClr val="accent2"/>
              </a:solidFill>
            </a:endParaRPr>
          </a:p>
        </p:txBody>
      </p:sp>
      <p:sp>
        <p:nvSpPr>
          <p:cNvPr id="5" name="Rectangle 4">
            <a:extLst>
              <a:ext uri="{FF2B5EF4-FFF2-40B4-BE49-F238E27FC236}">
                <a16:creationId xmlns:a16="http://schemas.microsoft.com/office/drawing/2014/main" id="{06A55B2D-7129-413F-AF4B-0A14DC8932E2}"/>
              </a:ext>
            </a:extLst>
          </p:cNvPr>
          <p:cNvSpPr/>
          <p:nvPr/>
        </p:nvSpPr>
        <p:spPr>
          <a:xfrm>
            <a:off x="3320315" y="3208678"/>
            <a:ext cx="4461478" cy="451790"/>
          </a:xfrm>
          <a:prstGeom prst="rect">
            <a:avLst/>
          </a:prstGeom>
        </p:spPr>
        <p:txBody>
          <a:bodyPr wrap="none">
            <a:spAutoFit/>
          </a:bodyPr>
          <a:lstStyle/>
          <a:p>
            <a:pPr marL="285750" indent="-285750" defTabSz="333375">
              <a:lnSpc>
                <a:spcPct val="150000"/>
              </a:lnSpc>
              <a:spcBef>
                <a:spcPct val="0"/>
              </a:spcBef>
              <a:spcAft>
                <a:spcPct val="35000"/>
              </a:spcAft>
              <a:buFont typeface="Arial" panose="020B0604020202020204" pitchFamily="34" charset="0"/>
              <a:buChar char="•"/>
              <a:tabLst>
                <a:tab pos="3644504" algn="l"/>
              </a:tabLst>
            </a:pPr>
            <a:r>
              <a:rPr lang="en-US" b="1" dirty="0">
                <a:solidFill>
                  <a:schemeClr val="tx2">
                    <a:lumMod val="50000"/>
                  </a:schemeClr>
                </a:solidFill>
              </a:rPr>
              <a:t>APIGEE Product and Offerings </a:t>
            </a:r>
            <a:endParaRPr lang="en-US" b="1" dirty="0">
              <a:solidFill>
                <a:schemeClr val="accent2"/>
              </a:solidFill>
            </a:endParaRPr>
          </a:p>
        </p:txBody>
      </p:sp>
      <p:sp>
        <p:nvSpPr>
          <p:cNvPr id="7" name="Rectangle 6">
            <a:extLst>
              <a:ext uri="{FF2B5EF4-FFF2-40B4-BE49-F238E27FC236}">
                <a16:creationId xmlns:a16="http://schemas.microsoft.com/office/drawing/2014/main" id="{5D9D6645-0143-46AB-AA6E-68E7B8903DD3}"/>
              </a:ext>
            </a:extLst>
          </p:cNvPr>
          <p:cNvSpPr/>
          <p:nvPr/>
        </p:nvSpPr>
        <p:spPr>
          <a:xfrm>
            <a:off x="3328929" y="3956096"/>
            <a:ext cx="5832046" cy="369332"/>
          </a:xfrm>
          <a:prstGeom prst="rect">
            <a:avLst/>
          </a:prstGeom>
        </p:spPr>
        <p:txBody>
          <a:bodyPr wrap="none">
            <a:spAutoFit/>
          </a:bodyPr>
          <a:lstStyle/>
          <a:p>
            <a:pPr marL="285750" indent="-285750">
              <a:buFont typeface="Arial" panose="020B0604020202020204" pitchFamily="34" charset="0"/>
              <a:buChar char="•"/>
            </a:pPr>
            <a:r>
              <a:rPr lang="en-US" b="1" dirty="0">
                <a:solidFill>
                  <a:schemeClr val="tx2">
                    <a:lumMod val="50000"/>
                  </a:schemeClr>
                </a:solidFill>
              </a:rPr>
              <a:t>API Components and Deployment Models</a:t>
            </a:r>
            <a:endParaRPr lang="nl-NL" b="1" dirty="0">
              <a:solidFill>
                <a:schemeClr val="tx2">
                  <a:lumMod val="50000"/>
                </a:schemeClr>
              </a:solidFill>
            </a:endParaRPr>
          </a:p>
        </p:txBody>
      </p:sp>
      <p:sp>
        <p:nvSpPr>
          <p:cNvPr id="9" name="Rectangle 8">
            <a:extLst>
              <a:ext uri="{FF2B5EF4-FFF2-40B4-BE49-F238E27FC236}">
                <a16:creationId xmlns:a16="http://schemas.microsoft.com/office/drawing/2014/main" id="{54BD8A21-92E5-494E-8BD9-504385C99B4F}"/>
              </a:ext>
            </a:extLst>
          </p:cNvPr>
          <p:cNvSpPr/>
          <p:nvPr/>
        </p:nvSpPr>
        <p:spPr>
          <a:xfrm>
            <a:off x="3328929" y="4652613"/>
            <a:ext cx="2170787" cy="369332"/>
          </a:xfrm>
          <a:prstGeom prst="rect">
            <a:avLst/>
          </a:prstGeom>
        </p:spPr>
        <p:txBody>
          <a:bodyPr wrap="none">
            <a:spAutoFit/>
          </a:bodyPr>
          <a:lstStyle/>
          <a:p>
            <a:pPr marL="285750" indent="-285750">
              <a:buFont typeface="Arial" panose="020B0604020202020204" pitchFamily="34" charset="0"/>
              <a:buChar char="•"/>
            </a:pPr>
            <a:r>
              <a:rPr lang="en-US" b="1" dirty="0">
                <a:solidFill>
                  <a:schemeClr val="tx2">
                    <a:lumMod val="50000"/>
                  </a:schemeClr>
                </a:solidFill>
              </a:rPr>
              <a:t>API lifecycle </a:t>
            </a:r>
            <a:endParaRPr lang="nl-NL" b="1" dirty="0">
              <a:solidFill>
                <a:schemeClr val="tx2">
                  <a:lumMod val="50000"/>
                </a:schemeClr>
              </a:solidFill>
            </a:endParaRPr>
          </a:p>
        </p:txBody>
      </p:sp>
      <p:sp>
        <p:nvSpPr>
          <p:cNvPr id="10" name="Rectangle 9">
            <a:extLst>
              <a:ext uri="{FF2B5EF4-FFF2-40B4-BE49-F238E27FC236}">
                <a16:creationId xmlns:a16="http://schemas.microsoft.com/office/drawing/2014/main" id="{63009F01-D6E9-4774-8487-27B56211FA84}"/>
              </a:ext>
            </a:extLst>
          </p:cNvPr>
          <p:cNvSpPr/>
          <p:nvPr/>
        </p:nvSpPr>
        <p:spPr>
          <a:xfrm>
            <a:off x="3297873" y="5199992"/>
            <a:ext cx="4044697" cy="369332"/>
          </a:xfrm>
          <a:prstGeom prst="rect">
            <a:avLst/>
          </a:prstGeom>
        </p:spPr>
        <p:txBody>
          <a:bodyPr wrap="none">
            <a:spAutoFit/>
          </a:bodyPr>
          <a:lstStyle/>
          <a:p>
            <a:pPr marL="285750" indent="-285750">
              <a:buFont typeface="Arial" panose="020B0604020202020204" pitchFamily="34" charset="0"/>
              <a:buChar char="•"/>
            </a:pPr>
            <a:r>
              <a:rPr lang="en-US" b="1" dirty="0">
                <a:solidFill>
                  <a:schemeClr val="tx2">
                    <a:lumMod val="50000"/>
                  </a:schemeClr>
                </a:solidFill>
              </a:rPr>
              <a:t>Demo : </a:t>
            </a:r>
            <a:r>
              <a:rPr lang="nl-NL" b="1" dirty="0">
                <a:solidFill>
                  <a:schemeClr val="tx2">
                    <a:lumMod val="50000"/>
                  </a:schemeClr>
                </a:solidFill>
              </a:rPr>
              <a:t>Real Time Use case </a:t>
            </a:r>
          </a:p>
        </p:txBody>
      </p:sp>
      <p:sp>
        <p:nvSpPr>
          <p:cNvPr id="11" name="Rounded Rectangle 7">
            <a:extLst>
              <a:ext uri="{FF2B5EF4-FFF2-40B4-BE49-F238E27FC236}">
                <a16:creationId xmlns:a16="http://schemas.microsoft.com/office/drawing/2014/main" id="{E008399B-3AAE-41BB-AFD1-E210BCFC9887}"/>
              </a:ext>
            </a:extLst>
          </p:cNvPr>
          <p:cNvSpPr/>
          <p:nvPr/>
        </p:nvSpPr>
        <p:spPr bwMode="auto">
          <a:xfrm>
            <a:off x="2513659" y="2488625"/>
            <a:ext cx="7823200" cy="550155"/>
          </a:xfrm>
          <a:prstGeom prst="roundRect">
            <a:avLst>
              <a:gd name="adj" fmla="val 50000"/>
            </a:avLst>
          </a:prstGeom>
          <a:noFill/>
          <a:ln w="28575" cap="flat" cmpd="sng" algn="ctr">
            <a:solidFill>
              <a:schemeClr val="accent2"/>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algn="ctr" defTabSz="685800" eaLnBrk="0" fontAlgn="base" hangingPunct="0">
              <a:spcBef>
                <a:spcPct val="0"/>
              </a:spcBef>
              <a:spcAft>
                <a:spcPct val="0"/>
              </a:spcAft>
            </a:pPr>
            <a:endParaRPr lang="en-US" sz="1400" b="1" dirty="0">
              <a:cs typeface="Arial" charset="0"/>
            </a:endParaRPr>
          </a:p>
        </p:txBody>
      </p:sp>
    </p:spTree>
    <p:extLst>
      <p:ext uri="{BB962C8B-B14F-4D97-AF65-F5344CB8AC3E}">
        <p14:creationId xmlns:p14="http://schemas.microsoft.com/office/powerpoint/2010/main" val="7261177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360C1D-726E-4A3E-BDF6-88BD374FB81A}"/>
              </a:ext>
            </a:extLst>
          </p:cNvPr>
          <p:cNvSpPr>
            <a:spLocks noGrp="1"/>
          </p:cNvSpPr>
          <p:nvPr>
            <p:ph type="title"/>
          </p:nvPr>
        </p:nvSpPr>
        <p:spPr/>
        <p:txBody>
          <a:bodyPr/>
          <a:lstStyle/>
          <a:p>
            <a:r>
              <a:rPr lang="nl-NL" b="1" dirty="0"/>
              <a:t>What is API Management </a:t>
            </a:r>
          </a:p>
        </p:txBody>
      </p:sp>
      <p:graphicFrame>
        <p:nvGraphicFramePr>
          <p:cNvPr id="4" name="Diagram 3">
            <a:extLst>
              <a:ext uri="{FF2B5EF4-FFF2-40B4-BE49-F238E27FC236}">
                <a16:creationId xmlns:a16="http://schemas.microsoft.com/office/drawing/2014/main" id="{2ED360E9-9AFE-4134-B61D-5CB725DD0810}"/>
              </a:ext>
            </a:extLst>
          </p:cNvPr>
          <p:cNvGraphicFramePr/>
          <p:nvPr>
            <p:extLst>
              <p:ext uri="{D42A27DB-BD31-4B8C-83A1-F6EECF244321}">
                <p14:modId xmlns:p14="http://schemas.microsoft.com/office/powerpoint/2010/main" val="2435482326"/>
              </p:ext>
            </p:extLst>
          </p:nvPr>
        </p:nvGraphicFramePr>
        <p:xfrm>
          <a:off x="2636463" y="1846723"/>
          <a:ext cx="8636000" cy="38303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68775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2017 New Brand Colors">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2.xml><?xml version="1.0" encoding="utf-8"?>
<a:theme xmlns:a="http://schemas.openxmlformats.org/drawingml/2006/main" name="Cover options">
  <a:themeElements>
    <a:clrScheme name="2017 New Brand Colors">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DF2FCECD-420A-4E93-ACD9-79FA685C707C}"/>
    </a:ext>
  </a:extLst>
</a:theme>
</file>

<file path=ppt/theme/theme3.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amp;D_Capgemini 2018_Final" id="{58273E4D-44F6-4630-BD60-0A280929A610}" vid="{B17A1CF2-2015-4984-A14E-5140410A4C97}"/>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94766A4A3AE7D449F5136074FE5773C" ma:contentTypeVersion="8" ma:contentTypeDescription="Create a new document." ma:contentTypeScope="" ma:versionID="2f06b379c01bbbb404802ae62a2e686f">
  <xsd:schema xmlns:xsd="http://www.w3.org/2001/XMLSchema" xmlns:xs="http://www.w3.org/2001/XMLSchema" xmlns:p="http://schemas.microsoft.com/office/2006/metadata/properties" xmlns:ns2="2a2b4408-2bb2-44b7-abf8-1bd794be9731" targetNamespace="http://schemas.microsoft.com/office/2006/metadata/properties" ma:root="true" ma:fieldsID="741607ba32a888c8fa46d9255e7bcefd" ns2:_="">
    <xsd:import namespace="2a2b4408-2bb2-44b7-abf8-1bd794be973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2b4408-2bb2-44b7-abf8-1bd794be97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FBF72AD-E856-420A-B993-2AACFBCC4ED1}">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A5EE85E-C2CD-46DD-8F3F-F8684AD19C6E}">
  <ds:schemaRefs>
    <ds:schemaRef ds:uri="http://schemas.microsoft.com/sharepoint/v3/contenttype/forms"/>
  </ds:schemaRefs>
</ds:datastoreItem>
</file>

<file path=customXml/itemProps3.xml><?xml version="1.0" encoding="utf-8"?>
<ds:datastoreItem xmlns:ds="http://schemas.openxmlformats.org/officeDocument/2006/customXml" ds:itemID="{FA42B85D-AC0D-4BEA-B92E-B56C0D3880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a2b4408-2bb2-44b7-abf8-1bd794be97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8703</TotalTime>
  <Words>1510</Words>
  <Application>Microsoft Office PowerPoint</Application>
  <PresentationFormat>Widescreen</PresentationFormat>
  <Paragraphs>421</Paragraphs>
  <Slides>42</Slides>
  <Notes>0</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42</vt:i4>
      </vt:variant>
    </vt:vector>
  </HeadingPairs>
  <TitlesOfParts>
    <vt:vector size="54" baseType="lpstr">
      <vt:lpstr>Arial</vt:lpstr>
      <vt:lpstr>Calibri</vt:lpstr>
      <vt:lpstr>IBM Plex Sans</vt:lpstr>
      <vt:lpstr>inherit</vt:lpstr>
      <vt:lpstr>SalesforceSansRegular</vt:lpstr>
      <vt:lpstr>Tw Cen MT</vt:lpstr>
      <vt:lpstr>Verdana</vt:lpstr>
      <vt:lpstr>Wingdings</vt:lpstr>
      <vt:lpstr>Capgemini Master</vt:lpstr>
      <vt:lpstr>Cover options</vt:lpstr>
      <vt:lpstr>Capgemini 2017_Cover slides</vt:lpstr>
      <vt:lpstr>think-cell Slide</vt:lpstr>
      <vt:lpstr>Unlocking Digital  Transformation With APIGEE</vt:lpstr>
      <vt:lpstr>Introduction</vt:lpstr>
      <vt:lpstr>Agenda</vt:lpstr>
      <vt:lpstr>Digital Transformation – Go Digital or Go Bust</vt:lpstr>
      <vt:lpstr>Digital Transformation Cont... How APIs Drive Innovation through Customer Centricity </vt:lpstr>
      <vt:lpstr> Power of API’s  - Connectivity Benchmark Report</vt:lpstr>
      <vt:lpstr>Questions Unanswered </vt:lpstr>
      <vt:lpstr>Agenda</vt:lpstr>
      <vt:lpstr>What is API Management </vt:lpstr>
      <vt:lpstr>APIGEE Products</vt:lpstr>
      <vt:lpstr>Agenda</vt:lpstr>
      <vt:lpstr>APIGEE Edge offerings </vt:lpstr>
      <vt:lpstr>APP Developer Services</vt:lpstr>
      <vt:lpstr>API Gateway Service </vt:lpstr>
      <vt:lpstr>Analytics Services</vt:lpstr>
      <vt:lpstr>Agenda</vt:lpstr>
      <vt:lpstr> </vt:lpstr>
      <vt:lpstr>  </vt:lpstr>
      <vt:lpstr>  </vt:lpstr>
      <vt:lpstr>Agenda</vt:lpstr>
      <vt:lpstr> Real Time Use case  </vt:lpstr>
      <vt:lpstr>API Life Cycle </vt:lpstr>
      <vt:lpstr>Agenda</vt:lpstr>
      <vt:lpstr> </vt:lpstr>
      <vt:lpstr>Agenda</vt:lpstr>
      <vt:lpstr>Develop</vt:lpstr>
      <vt:lpstr>Develop</vt:lpstr>
      <vt:lpstr>Agenda</vt:lpstr>
      <vt:lpstr>Security in Digital Value chain </vt:lpstr>
      <vt:lpstr>Agenda</vt:lpstr>
      <vt:lpstr>Publish – Developer portal </vt:lpstr>
      <vt:lpstr>Agenda</vt:lpstr>
      <vt:lpstr>Monitoring</vt:lpstr>
      <vt:lpstr>Analytics </vt:lpstr>
      <vt:lpstr>Agenda</vt:lpstr>
      <vt:lpstr>Monitzation</vt:lpstr>
      <vt:lpstr>Agenda</vt:lpstr>
      <vt:lpstr>API Proxy Template</vt:lpstr>
      <vt:lpstr>CI and CD Cycle </vt:lpstr>
      <vt:lpstr>Tools involved in CI and CD Process</vt:lpstr>
      <vt:lpstr>CI and CD Step by Step</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Dwivedi, Kapil</cp:lastModifiedBy>
  <cp:revision>280</cp:revision>
  <dcterms:created xsi:type="dcterms:W3CDTF">2017-11-02T14:01:05Z</dcterms:created>
  <dcterms:modified xsi:type="dcterms:W3CDTF">2020-11-10T13:46: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4766A4A3AE7D449F5136074FE5773C</vt:lpwstr>
  </property>
</Properties>
</file>